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4707" r:id="rId2"/>
    <p:sldMasterId id="2147484857" r:id="rId3"/>
  </p:sldMasterIdLst>
  <p:notesMasterIdLst>
    <p:notesMasterId r:id="rId14"/>
  </p:notesMasterIdLst>
  <p:sldIdLst>
    <p:sldId id="256" r:id="rId4"/>
    <p:sldId id="359" r:id="rId5"/>
    <p:sldId id="344" r:id="rId6"/>
    <p:sldId id="346" r:id="rId7"/>
    <p:sldId id="347" r:id="rId8"/>
    <p:sldId id="355" r:id="rId9"/>
    <p:sldId id="357" r:id="rId10"/>
    <p:sldId id="358" r:id="rId11"/>
    <p:sldId id="348" r:id="rId12"/>
    <p:sldId id="260" r:id="rId13"/>
  </p:sldIdLst>
  <p:sldSz cx="9144000" cy="6858000" type="screen4x3"/>
  <p:notesSz cx="6985000" cy="9283700"/>
  <p:custDataLst>
    <p:tags r:id="rId1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799" userDrawn="1">
          <p15:clr>
            <a:srgbClr val="A4A3A4"/>
          </p15:clr>
        </p15:guide>
        <p15:guide id="2" orient="horz" pos="3997">
          <p15:clr>
            <a:srgbClr val="A4A3A4"/>
          </p15:clr>
        </p15:guide>
        <p15:guide id="3" pos="181">
          <p15:clr>
            <a:srgbClr val="A4A3A4"/>
          </p15:clr>
        </p15:guide>
        <p15:guide id="4" pos="5579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 autoAdjust="0"/>
    <p:restoredTop sz="94660" autoAdjust="0"/>
  </p:normalViewPr>
  <p:slideViewPr>
    <p:cSldViewPr showGuides="1">
      <p:cViewPr>
        <p:scale>
          <a:sx n="75" d="100"/>
          <a:sy n="75" d="100"/>
        </p:scale>
        <p:origin x="-1236" y="-66"/>
      </p:cViewPr>
      <p:guideLst>
        <p:guide orient="horz" pos="799"/>
        <p:guide orient="horz" pos="3997"/>
        <p:guide pos="181"/>
        <p:guide pos="55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CF3C2522-2C18-4D5C-BB6E-BD86F8E37C43}" type="datetimeFigureOut">
              <a:rPr lang="ru-RU" smtClean="0"/>
              <a:t>01.12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71575" y="696913"/>
            <a:ext cx="4641850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98500" y="4409758"/>
            <a:ext cx="5588000" cy="4177665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DE738BD4-AE89-4964-8F09-6DCFD21CB34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49108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&#1056;&#1072;&#1079;&#1074;&#1080;&#1090;&#1080;&#1077;\AppData\Roaming\OOO%20Proector\PowerLexis%20Panel%20for%20GPN\Resources\images\bg\bg15speech.jpg" TargetMode="External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OOO%20Proector\PowerLexis%20Panel%20for%20GPN\Resources\images\bg\bg15speech.jpg" TargetMode="External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file:///C:\Program%20Files\PowerLexis\Resources\images\bg\bg28plazma.jpg" TargetMode="External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BackGroundTitleSlide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572000" y="3608388"/>
            <a:ext cx="4284663" cy="2160587"/>
          </a:xfrm>
        </p:spPr>
        <p:txBody>
          <a:bodyPr anchor="t">
            <a:noAutofit/>
          </a:bodyPr>
          <a:lstStyle>
            <a:lvl1pPr>
              <a:defRPr sz="22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endParaRPr lang="ru-RU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38" y="5445124"/>
            <a:ext cx="4140646" cy="216000"/>
          </a:xfrm>
        </p:spPr>
        <p:txBody>
          <a:bodyPr>
            <a:normAutofit/>
          </a:bodyPr>
          <a:lstStyle>
            <a:lvl1pPr marL="0" indent="0" algn="l">
              <a:buNone/>
              <a:defRPr sz="1400" b="0" baseline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673039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900398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6127756"/>
            <a:ext cx="4140000" cy="215444"/>
          </a:xfrm>
        </p:spPr>
        <p:txBody>
          <a:bodyPr vert="horz" lIns="0" tIns="0" rIns="0" bIns="0" rtlCol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lang="en-US" sz="14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ru-RU" sz="1400" b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>
              <a:spcBef>
                <a:spcPts val="300"/>
              </a:spcBef>
              <a:spcAft>
                <a:spcPts val="300"/>
              </a:spcAft>
            </a:pPr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11" name="TitleLogoRus"/>
          <p:cNvGrpSpPr>
            <a:grpSpLocks noChangeAspect="1"/>
          </p:cNvGrpSpPr>
          <p:nvPr/>
        </p:nvGrpSpPr>
        <p:grpSpPr bwMode="auto">
          <a:xfrm>
            <a:off x="7884368" y="5886796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12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9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1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25" name="TitleLogoEng" hidden="1"/>
          <p:cNvSpPr>
            <a:spLocks noEditPoints="1"/>
          </p:cNvSpPr>
          <p:nvPr/>
        </p:nvSpPr>
        <p:spPr bwMode="auto">
          <a:xfrm>
            <a:off x="7869333" y="5885827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31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12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32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</a:pPr>
            <a:r>
              <a:rPr lang="ru-RU" sz="1200" b="1" dirty="0" smtClean="0">
                <a:solidFill>
                  <a:schemeClr val="bg2"/>
                </a:solidFill>
              </a:rPr>
              <a:t>Конфиденциально</a:t>
            </a:r>
            <a:endParaRPr lang="ru-RU" sz="1100" b="1" baseline="0" dirty="0" smtClean="0">
              <a:solidFill>
                <a:schemeClr val="bg2"/>
              </a:solidFill>
            </a:endParaRPr>
          </a:p>
        </p:txBody>
      </p:sp>
      <p:sp>
        <p:nvSpPr>
          <p:cNvPr id="33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900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900" baseline="0" dirty="0" smtClean="0">
                <a:solidFill>
                  <a:schemeClr val="bg2"/>
                </a:solidFill>
              </a:rPr>
            </a:br>
            <a:r>
              <a:rPr lang="ru-RU" sz="900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9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7927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40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14363932"/>
      </p:ext>
    </p:extLst>
  </p:cSld>
  <p:clrMapOvr>
    <a:masterClrMapping/>
  </p:clrMapOvr>
  <p:hf sldNum="0" hdr="0" ft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0"/>
          </p:nvPr>
        </p:nvSpPr>
        <p:spPr>
          <a:xfrm>
            <a:off x="287342" y="1267885"/>
            <a:ext cx="4213222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4637090" y="1267885"/>
            <a:ext cx="4213222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78389701"/>
      </p:ext>
    </p:extLst>
  </p:cSld>
  <p:clrMapOvr>
    <a:masterClrMapping/>
  </p:clrMapOvr>
  <p:hf sldNum="0" hdr="0" ft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7341" y="1267886"/>
            <a:ext cx="8569325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1"/>
          </p:nvPr>
        </p:nvSpPr>
        <p:spPr>
          <a:xfrm>
            <a:off x="287341" y="3932770"/>
            <a:ext cx="8569325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1296105"/>
      </p:ext>
    </p:extLst>
  </p:cSld>
  <p:clrMapOvr>
    <a:masterClrMapping/>
  </p:clrMapOvr>
  <p:hf sldNum="0" hdr="0" ft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4821155"/>
            <a:ext cx="8569325" cy="1488629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sz="1800" b="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1"/>
          </p:nvPr>
        </p:nvSpPr>
        <p:spPr>
          <a:xfrm>
            <a:off x="287341" y="1267886"/>
            <a:ext cx="8569325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56894045"/>
      </p:ext>
    </p:extLst>
  </p:cSld>
  <p:clrMapOvr>
    <a:masterClrMapping/>
  </p:clrMapOvr>
  <p:hf sldNum="0" hdr="0" ft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4643438" y="1267886"/>
            <a:ext cx="4213228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643438" y="3932770"/>
            <a:ext cx="4213228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287342" y="1267885"/>
            <a:ext cx="4213222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7979155"/>
      </p:ext>
    </p:extLst>
  </p:cSld>
  <p:clrMapOvr>
    <a:masterClrMapping/>
  </p:clrMapOvr>
  <p:hf sldNum="0" hdr="0" ft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5" y="1267886"/>
            <a:ext cx="4213228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283515" y="3932770"/>
            <a:ext cx="4213228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4634434" y="1267885"/>
            <a:ext cx="4213222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61606894"/>
      </p:ext>
    </p:extLst>
  </p:cSld>
  <p:clrMapOvr>
    <a:masterClrMapping/>
  </p:clrMapOvr>
  <p:hf sldNum="0" hdr="0" ft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4" y="1267885"/>
            <a:ext cx="2736000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3200891" y="1267885"/>
            <a:ext cx="2736000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2"/>
          </p:nvPr>
        </p:nvSpPr>
        <p:spPr>
          <a:xfrm>
            <a:off x="6137275" y="1267885"/>
            <a:ext cx="2736000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57958523"/>
      </p:ext>
    </p:extLst>
  </p:cSld>
  <p:clrMapOvr>
    <a:masterClrMapping/>
  </p:clrMapOvr>
  <p:hf sldNum="0" hdr="0" ft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4639615" y="126788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62877" y="3934884"/>
            <a:ext cx="8593786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6770157"/>
      </p:ext>
    </p:extLst>
  </p:cSld>
  <p:clrMapOvr>
    <a:masterClrMapping/>
  </p:clrMapOvr>
  <p:hf sldNum="0" hdr="0" ft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62877" y="1267885"/>
            <a:ext cx="8593786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3932770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39615" y="3932770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33312109"/>
      </p:ext>
    </p:extLst>
  </p:cSld>
  <p:clrMapOvr>
    <a:masterClrMapping/>
  </p:clrMapOvr>
  <p:hf sldNum="0" hdr="0" ft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4"/>
          </p:nvPr>
        </p:nvSpPr>
        <p:spPr>
          <a:xfrm>
            <a:off x="4639615" y="126788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5"/>
          </p:nvPr>
        </p:nvSpPr>
        <p:spPr>
          <a:xfrm>
            <a:off x="283513" y="393230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6"/>
          </p:nvPr>
        </p:nvSpPr>
        <p:spPr>
          <a:xfrm>
            <a:off x="4639615" y="3932306"/>
            <a:ext cx="4217049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93790697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4716463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3959873"/>
            <a:ext cx="4213224" cy="432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4413789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3959873"/>
            <a:ext cx="4213224" cy="432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1276561"/>
            <a:ext cx="4213224" cy="432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732221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1276561"/>
            <a:ext cx="4213224" cy="432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811752"/>
            <a:ext cx="4213224" cy="18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811752"/>
            <a:ext cx="4213226" cy="1824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4493351"/>
            <a:ext cx="4213224" cy="182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4493351"/>
            <a:ext cx="4213226" cy="182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>
          <a:xfrm>
            <a:off x="4643439" y="4413789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4643439" y="1732221"/>
            <a:ext cx="421322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  <p:sp>
        <p:nvSpPr>
          <p:cNvPr id="1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53926450"/>
      </p:ext>
    </p:extLst>
  </p:cSld>
  <p:clrMapOvr>
    <a:masterClrMapping/>
  </p:clrMapOvr>
  <p:hf sldNum="0" hdr="0" ft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5864620"/>
            <a:ext cx="4213224" cy="432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43440" y="5864620"/>
            <a:ext cx="4213224" cy="432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3171369"/>
            <a:ext cx="4213224" cy="432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43440" y="3171369"/>
            <a:ext cx="4213224" cy="432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254296"/>
            <a:ext cx="4213224" cy="182545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43439" y="1254296"/>
            <a:ext cx="4213226" cy="182545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945805"/>
            <a:ext cx="4213224" cy="182656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43439" y="3945805"/>
            <a:ext cx="4213226" cy="182656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2813392"/>
      </p:ext>
    </p:extLst>
  </p:cSld>
  <p:clrMapOvr>
    <a:masterClrMapping/>
  </p:clrMapOvr>
  <p:hf sldNum="0" hdr="0" ft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1267887"/>
            <a:ext cx="8569325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16419"/>
            <a:ext cx="856932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54527127"/>
      </p:ext>
    </p:extLst>
  </p:cSld>
  <p:clrMapOvr>
    <a:masterClrMapping/>
  </p:clrMapOvr>
  <p:hf sldNum="0" hdr="0" ft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43438" y="1268762"/>
            <a:ext cx="4213224" cy="504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16421"/>
            <a:ext cx="856932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5"/>
            <a:ext cx="4217049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84915906"/>
      </p:ext>
    </p:extLst>
  </p:cSld>
  <p:clrMapOvr>
    <a:masterClrMapping/>
  </p:clrMapOvr>
  <p:hf sldNum="0" hdr="0" ft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282166" y="1268762"/>
            <a:ext cx="4218397" cy="50410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 smtClean="0"/>
          </a:p>
          <a:p>
            <a:pPr lvl="0"/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4639615" y="1267885"/>
            <a:ext cx="4217049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35146058"/>
      </p:ext>
    </p:extLst>
  </p:cSld>
  <p:clrMapOvr>
    <a:masterClrMapping/>
  </p:clrMapOvr>
  <p:hf sldNum="0" hdr="0" ft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932767"/>
            <a:ext cx="8569324" cy="237701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85731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35606172"/>
      </p:ext>
    </p:extLst>
  </p:cSld>
  <p:clrMapOvr>
    <a:masterClrMapping/>
  </p:clrMapOvr>
  <p:hf sldNum="0" hdr="0" ft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34887"/>
            <a:ext cx="2717802" cy="237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3934887"/>
            <a:ext cx="2700338" cy="237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29449" y="3934887"/>
            <a:ext cx="2727214" cy="237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16421"/>
            <a:ext cx="8569325" cy="81630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85731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11087282"/>
      </p:ext>
    </p:extLst>
  </p:cSld>
  <p:clrMapOvr>
    <a:masterClrMapping/>
  </p:clrMapOvr>
  <p:hf sldNum="0" hdr="0" ft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43438" y="1267887"/>
            <a:ext cx="4204218" cy="5041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19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42170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3513" y="3932773"/>
            <a:ext cx="42170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67245461"/>
      </p:ext>
    </p:extLst>
  </p:cSld>
  <p:clrMapOvr>
    <a:masterClrMapping/>
  </p:clrMapOvr>
  <p:hf sldNum="0" hdr="0" ft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1267885"/>
            <a:ext cx="4204218" cy="23770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3934887"/>
            <a:ext cx="4204218" cy="237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16421"/>
            <a:ext cx="856932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6"/>
            <a:ext cx="42170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3"/>
          </p:nvPr>
        </p:nvSpPr>
        <p:spPr>
          <a:xfrm>
            <a:off x="283513" y="3932773"/>
            <a:ext cx="4217050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68514640"/>
      </p:ext>
    </p:extLst>
  </p:cSld>
  <p:clrMapOvr>
    <a:masterClrMapping/>
  </p:clrMapOvr>
  <p:hf sldNum="0" hdr="0" ft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8" y="1268760"/>
            <a:ext cx="4204218" cy="23761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8" y="3934887"/>
            <a:ext cx="4204218" cy="23749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0318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0"/>
          </p:nvPr>
        </p:nvSpPr>
        <p:spPr>
          <a:xfrm>
            <a:off x="283513" y="1267885"/>
            <a:ext cx="4217050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0794748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4008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6192839" y="1268413"/>
            <a:ext cx="26638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43439" y="1267885"/>
            <a:ext cx="4212513" cy="23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43439" y="3933784"/>
            <a:ext cx="4212513" cy="23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7" y="1268760"/>
            <a:ext cx="4213941" cy="237614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40" y="3933784"/>
            <a:ext cx="4213223" cy="237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116421"/>
            <a:ext cx="856932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73087164"/>
      </p:ext>
    </p:extLst>
  </p:cSld>
  <p:clrMapOvr>
    <a:masterClrMapping/>
  </p:clrMapOvr>
  <p:hf sldNum="0" hdr="0" ft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16417"/>
            <a:ext cx="8560318" cy="817035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1267887"/>
            <a:ext cx="5635625" cy="50419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Объект 3"/>
          <p:cNvSpPr>
            <a:spLocks noGrp="1"/>
          </p:cNvSpPr>
          <p:nvPr>
            <p:ph sz="quarter" idx="10"/>
          </p:nvPr>
        </p:nvSpPr>
        <p:spPr>
          <a:xfrm>
            <a:off x="6137275" y="1267885"/>
            <a:ext cx="2714626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93253940"/>
      </p:ext>
    </p:extLst>
  </p:cSld>
  <p:clrMapOvr>
    <a:masterClrMapping/>
  </p:clrMapOvr>
  <p:hf sldNum="0" hdr="0" ft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9" y="1892829"/>
            <a:ext cx="5292725" cy="4416955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795963" y="5060953"/>
            <a:ext cx="3060700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ru-RU" sz="2200" dirty="0"/>
            </a:lvl3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1258268"/>
            <a:ext cx="5292725" cy="624416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5795963" y="1267886"/>
            <a:ext cx="3055938" cy="35051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83565411"/>
      </p:ext>
    </p:extLst>
  </p:cSld>
  <p:clrMapOvr>
    <a:masterClrMapping/>
  </p:clrMapOvr>
  <p:hf sldNum="0" hdr="0" ft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1" y="1267887"/>
            <a:ext cx="8569325" cy="50419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44927" y="3967130"/>
            <a:ext cx="5580062" cy="2112433"/>
          </a:xfrm>
          <a:solidFill>
            <a:srgbClr val="FFFFFF">
              <a:alpha val="80000"/>
            </a:srgbClr>
          </a:solidFill>
        </p:spPr>
        <p:txBody>
          <a:bodyPr vert="horz" lIns="144000" tIns="108000" rIns="72000" bIns="7200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400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21553671"/>
      </p:ext>
    </p:extLst>
  </p:cSld>
  <p:clrMapOvr>
    <a:masterClrMapping/>
  </p:clrMapOvr>
  <p:hf sldNum="0" hdr="0" ft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7884"/>
            <a:ext cx="4176712" cy="3553883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4679953" y="1267884"/>
            <a:ext cx="4176713" cy="3553883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5060953"/>
            <a:ext cx="4176712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5060953"/>
            <a:ext cx="4176712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75545543"/>
      </p:ext>
    </p:extLst>
  </p:cSld>
  <p:clrMapOvr>
    <a:masterClrMapping/>
  </p:clrMapOvr>
  <p:hf sldNum="0" hdr="0" ft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40" y="1267884"/>
            <a:ext cx="2717800" cy="355364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ru-RU" dirty="0"/>
          </a:p>
        </p:txBody>
      </p:sp>
      <p:sp>
        <p:nvSpPr>
          <p:cNvPr id="6" name="Picture Placeholder 4"/>
          <p:cNvSpPr>
            <a:spLocks noGrp="1"/>
          </p:cNvSpPr>
          <p:nvPr>
            <p:ph type="pic" sz="quarter" idx="12" hasCustomPrompt="1"/>
          </p:nvPr>
        </p:nvSpPr>
        <p:spPr>
          <a:xfrm>
            <a:off x="3225254" y="1267884"/>
            <a:ext cx="2700000" cy="355364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 hasCustomPrompt="1"/>
          </p:nvPr>
        </p:nvSpPr>
        <p:spPr>
          <a:xfrm>
            <a:off x="6137277" y="1250372"/>
            <a:ext cx="2719389" cy="3571395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87340" y="5060953"/>
            <a:ext cx="2717800" cy="1248833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</a:t>
            </a:r>
          </a:p>
          <a:p>
            <a:pPr lvl="0"/>
            <a:endParaRPr lang="ru-RU" dirty="0" smtClean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3222001" y="5060953"/>
            <a:ext cx="2700000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6137277" y="5060953"/>
            <a:ext cx="2719389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25200350"/>
      </p:ext>
    </p:extLst>
  </p:cSld>
  <p:clrMapOvr>
    <a:masterClrMapping/>
  </p:clrMapOvr>
  <p:hf sldNum="0" hdr="0" ft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локов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883"/>
            <a:ext cx="4176712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baseline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044832"/>
            <a:ext cx="4176712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3891" y="4821784"/>
            <a:ext cx="4176712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83401" y="1267883"/>
            <a:ext cx="4173265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4683401" y="3044832"/>
            <a:ext cx="4173265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4683401" y="4821784"/>
            <a:ext cx="4173265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15" name="Прямая соединительная линия 5"/>
          <p:cNvCxnSpPr/>
          <p:nvPr/>
        </p:nvCxnSpPr>
        <p:spPr>
          <a:xfrm>
            <a:off x="287339" y="2900357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1"/>
          <p:cNvCxnSpPr/>
          <p:nvPr/>
        </p:nvCxnSpPr>
        <p:spPr>
          <a:xfrm>
            <a:off x="4716463" y="2900357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5"/>
          <p:cNvCxnSpPr/>
          <p:nvPr/>
        </p:nvCxnSpPr>
        <p:spPr>
          <a:xfrm>
            <a:off x="287339" y="467730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1"/>
          <p:cNvCxnSpPr/>
          <p:nvPr/>
        </p:nvCxnSpPr>
        <p:spPr>
          <a:xfrm>
            <a:off x="4716463" y="4677308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7135924"/>
      </p:ext>
    </p:extLst>
  </p:cSld>
  <p:clrMapOvr>
    <a:masterClrMapping/>
  </p:clrMapOvr>
  <p:hf sldNum="0" hdr="0" ft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41" y="1267884"/>
            <a:ext cx="8569325" cy="108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1" y="2584273"/>
            <a:ext cx="8569325" cy="108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287341" y="3900663"/>
            <a:ext cx="8569325" cy="108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4" hasCustomPrompt="1"/>
          </p:nvPr>
        </p:nvSpPr>
        <p:spPr>
          <a:xfrm>
            <a:off x="287341" y="5217051"/>
            <a:ext cx="8569325" cy="1080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5" name="Прямая соединительная линия 4"/>
          <p:cNvCxnSpPr/>
          <p:nvPr/>
        </p:nvCxnSpPr>
        <p:spPr>
          <a:xfrm>
            <a:off x="287341" y="2468893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0"/>
          <p:cNvCxnSpPr/>
          <p:nvPr/>
        </p:nvCxnSpPr>
        <p:spPr>
          <a:xfrm>
            <a:off x="287341" y="3786811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2"/>
          <p:cNvCxnSpPr/>
          <p:nvPr/>
        </p:nvCxnSpPr>
        <p:spPr>
          <a:xfrm>
            <a:off x="287341" y="5104728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70667914"/>
      </p:ext>
    </p:extLst>
  </p:cSld>
  <p:clrMapOvr>
    <a:masterClrMapping/>
  </p:clrMapOvr>
  <p:hf sldNum="0" hdr="0" ft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3563940" y="2180862"/>
            <a:ext cx="5292725" cy="312138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3563940" y="1258267"/>
            <a:ext cx="5292725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8" hasCustomPrompt="1"/>
          </p:nvPr>
        </p:nvSpPr>
        <p:spPr>
          <a:xfrm>
            <a:off x="3563940" y="5589241"/>
            <a:ext cx="5292725" cy="720544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3563940" y="2105171"/>
            <a:ext cx="52927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0"/>
          </p:nvPr>
        </p:nvSpPr>
        <p:spPr>
          <a:xfrm>
            <a:off x="287338" y="1267885"/>
            <a:ext cx="3097212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18583937"/>
      </p:ext>
    </p:extLst>
  </p:cSld>
  <p:clrMapOvr>
    <a:masterClrMapping/>
  </p:clrMapOvr>
  <p:hf sldNum="0" hdr="0" ft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5060953"/>
            <a:ext cx="8569325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0"/>
          </p:nvPr>
        </p:nvSpPr>
        <p:spPr>
          <a:xfrm>
            <a:off x="281025" y="1267886"/>
            <a:ext cx="5299038" cy="35051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5795963" y="1267886"/>
            <a:ext cx="3060700" cy="35051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2211389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7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1" y="5060953"/>
            <a:ext cx="8569325" cy="12488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0"/>
          </p:nvPr>
        </p:nvSpPr>
        <p:spPr>
          <a:xfrm>
            <a:off x="281025" y="1267886"/>
            <a:ext cx="8575638" cy="35051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09062093"/>
      </p:ext>
    </p:extLst>
  </p:cSld>
  <p:clrMapOvr>
    <a:masterClrMapping/>
  </p:clrMapOvr>
  <p:hf sldNum="0" hdr="0" ftr="0" dt="0"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2180865"/>
            <a:ext cx="4176000" cy="259222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1258268"/>
            <a:ext cx="4176000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2105171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2180865"/>
            <a:ext cx="4176000" cy="2592223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1255712"/>
            <a:ext cx="4176000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aseline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4680026" y="2105171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5060951"/>
            <a:ext cx="4176000" cy="124627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22" hasCustomPrompt="1"/>
          </p:nvPr>
        </p:nvSpPr>
        <p:spPr>
          <a:xfrm>
            <a:off x="4678441" y="5060951"/>
            <a:ext cx="4176000" cy="1246277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smtClean="0"/>
            </a:lvl1pPr>
            <a:lvl2pPr>
              <a:defRPr lang="en-US" sz="2400" smtClean="0"/>
            </a:lvl2pPr>
            <a:lvl3pPr>
              <a:defRPr lang="en-US" sz="2200" smtClean="0"/>
            </a:lvl3pPr>
            <a:lvl4pPr>
              <a:defRPr lang="en-US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66108940"/>
      </p:ext>
    </p:extLst>
  </p:cSld>
  <p:clrMapOvr>
    <a:masterClrMapping/>
  </p:clrMapOvr>
  <p:hf sldNum="0" hdr="0" ftr="0" dt="0"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1" hasCustomPrompt="1"/>
          </p:nvPr>
        </p:nvSpPr>
        <p:spPr>
          <a:xfrm>
            <a:off x="287338" y="1267885"/>
            <a:ext cx="3060700" cy="237701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3932770"/>
            <a:ext cx="3060700" cy="2367724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4"/>
          </p:nvPr>
        </p:nvSpPr>
        <p:spPr>
          <a:xfrm>
            <a:off x="3563938" y="1267886"/>
            <a:ext cx="5292725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5"/>
          </p:nvPr>
        </p:nvSpPr>
        <p:spPr>
          <a:xfrm>
            <a:off x="3563938" y="3923479"/>
            <a:ext cx="5292725" cy="237701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31868939"/>
      </p:ext>
    </p:extLst>
  </p:cSld>
  <p:clrMapOvr>
    <a:masterClrMapping/>
  </p:clrMapOvr>
  <p:hf sldNum="0" hdr="0" ftr="0" dt="0"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, те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7885"/>
            <a:ext cx="3060700" cy="237701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Рисун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932770"/>
            <a:ext cx="3060700" cy="24003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4"/>
          </p:nvPr>
        </p:nvSpPr>
        <p:spPr>
          <a:xfrm>
            <a:off x="3563938" y="1267885"/>
            <a:ext cx="5292725" cy="50418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04976080"/>
      </p:ext>
    </p:extLst>
  </p:cSld>
  <p:clrMapOvr>
    <a:masterClrMapping/>
  </p:clrMapOvr>
  <p:hf sldNum="0" hdr="0" ftr="0" dt="0"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41" y="1267884"/>
            <a:ext cx="8569325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2200" b="0" dirty="0" smtClean="0"/>
            </a:lvl1pPr>
            <a:lvl2pPr>
              <a:defRPr lang="en-US" dirty="0" smtClean="0"/>
            </a:lvl2pPr>
            <a:lvl3pPr>
              <a:defRPr lang="en-US" sz="2200" dirty="0" smtClean="0"/>
            </a:lvl3pPr>
            <a:lvl4pPr>
              <a:defRPr lang="en-US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44835"/>
            <a:ext cx="2718000" cy="1488000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/>
            </a:lvl1pPr>
          </a:lstStyle>
          <a:p>
            <a:pPr lvl="0"/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4821784"/>
            <a:ext cx="2718000" cy="14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3222625" y="3044835"/>
            <a:ext cx="2700338" cy="14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3222625" y="4821784"/>
            <a:ext cx="2700338" cy="14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6" hasCustomPrompt="1"/>
          </p:nvPr>
        </p:nvSpPr>
        <p:spPr>
          <a:xfrm>
            <a:off x="6138663" y="3044835"/>
            <a:ext cx="2718000" cy="14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7" hasCustomPrompt="1"/>
          </p:nvPr>
        </p:nvSpPr>
        <p:spPr>
          <a:xfrm>
            <a:off x="6138663" y="4821784"/>
            <a:ext cx="2718000" cy="148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5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69411761"/>
      </p:ext>
    </p:extLst>
  </p:cSld>
  <p:clrMapOvr>
    <a:masterClrMapping/>
  </p:clrMapOvr>
  <p:hf sldNum="0" hdr="0" ftr="0" dt="0"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338" y="116632"/>
            <a:ext cx="8560318" cy="817035"/>
          </a:xfrm>
        </p:spPr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4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40" y="2181076"/>
            <a:ext cx="4176000" cy="2592008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5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0" y="1258481"/>
            <a:ext cx="4176000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6" name="Прямая соединительная линия 14"/>
          <p:cNvCxnSpPr/>
          <p:nvPr/>
        </p:nvCxnSpPr>
        <p:spPr>
          <a:xfrm>
            <a:off x="287339" y="2105385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4680030" y="2181076"/>
            <a:ext cx="4176000" cy="2592008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8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4680027" y="1258481"/>
            <a:ext cx="4176000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9" name="Прямая соединительная линия 14"/>
          <p:cNvCxnSpPr/>
          <p:nvPr/>
        </p:nvCxnSpPr>
        <p:spPr>
          <a:xfrm>
            <a:off x="4680026" y="2105385"/>
            <a:ext cx="4176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40" y="5060951"/>
            <a:ext cx="8568689" cy="1249048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 smtClean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36589101"/>
      </p:ext>
    </p:extLst>
  </p:cSld>
  <p:clrMapOvr>
    <a:masterClrMapping/>
  </p:clrMapOvr>
  <p:hf sldNum="0" hdr="0" ftr="0" dt="0"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2" hasCustomPrompt="1"/>
          </p:nvPr>
        </p:nvSpPr>
        <p:spPr>
          <a:xfrm>
            <a:off x="287338" y="2180862"/>
            <a:ext cx="5635626" cy="413147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7" name="Text Placeholder 15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1258267"/>
            <a:ext cx="5635626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8" name="Прямая соединительная линия 14"/>
          <p:cNvCxnSpPr/>
          <p:nvPr/>
        </p:nvCxnSpPr>
        <p:spPr>
          <a:xfrm>
            <a:off x="287337" y="2105171"/>
            <a:ext cx="5634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ontent Placeholder 4"/>
          <p:cNvSpPr>
            <a:spLocks noGrp="1"/>
          </p:cNvSpPr>
          <p:nvPr>
            <p:ph sz="quarter" idx="18" hasCustomPrompt="1"/>
          </p:nvPr>
        </p:nvSpPr>
        <p:spPr>
          <a:xfrm>
            <a:off x="6137279" y="2180862"/>
            <a:ext cx="2718751" cy="4131479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en-US" sz="2200" b="0" dirty="0" smtClean="0"/>
            </a:lvl1pPr>
            <a:lvl2pPr>
              <a:defRPr lang="en-US" sz="2200" dirty="0" smtClean="0"/>
            </a:lvl2pPr>
            <a:lvl3pPr>
              <a:defRPr lang="ru-RU" sz="2200" dirty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  <a:endParaRPr lang="ru-RU" dirty="0"/>
          </a:p>
        </p:txBody>
      </p:sp>
      <p:sp>
        <p:nvSpPr>
          <p:cNvPr id="10" name="Text Placeholder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7276" y="1258267"/>
            <a:ext cx="2718751" cy="768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1" name="Прямая соединительная линия 14"/>
          <p:cNvCxnSpPr/>
          <p:nvPr/>
        </p:nvCxnSpPr>
        <p:spPr>
          <a:xfrm>
            <a:off x="6137276" y="2105171"/>
            <a:ext cx="271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уровней текста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спользу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ыделение+</a:t>
            </a:r>
            <a:r>
              <a:rPr lang="en-US" sz="1000" smtClean="0">
                <a:solidFill>
                  <a:srgbClr val="3C3C3C"/>
                </a:solidFill>
              </a:rPr>
              <a:t>Tab</a:t>
            </a:r>
            <a:r>
              <a:rPr lang="ru-RU" sz="100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000" dirty="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 предыдущий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троку </a:t>
            </a:r>
            <a:r>
              <a:rPr lang="ru-RU" sz="1000" dirty="0" smtClean="0">
                <a:solidFill>
                  <a:srgbClr val="3C3C3C"/>
                </a:solidFill>
              </a:rPr>
              <a:t>и </a:t>
            </a:r>
            <a:r>
              <a:rPr lang="ru-RU" sz="1000" smtClean="0">
                <a:solidFill>
                  <a:srgbClr val="3C3C3C"/>
                </a:solidFill>
              </a:rPr>
              <a:t>нажми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en-US" sz="1000" smtClean="0">
                <a:solidFill>
                  <a:srgbClr val="3C3C3C"/>
                </a:solidFill>
              </a:rPr>
              <a:t>Shift+Tab</a:t>
            </a:r>
            <a:r>
              <a:rPr lang="en-US" sz="1000" dirty="0" smtClean="0">
                <a:solidFill>
                  <a:srgbClr val="3C3C3C"/>
                </a:solidFill>
              </a:rPr>
              <a:t>.</a:t>
            </a:r>
            <a:endParaRPr lang="ru-RU" sz="10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0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54254922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1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7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2063750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2063750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13518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3913518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4582180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4699000" y="4582180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4710068"/>
            <a:ext cx="4157662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4710068"/>
            <a:ext cx="4157663" cy="161766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39211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08823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308823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26841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26841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4" name="Текст 4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772946"/>
            <a:ext cx="4157662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5" name="Текст 6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772946"/>
            <a:ext cx="4157663" cy="568800"/>
          </a:xfrm>
        </p:spPr>
        <p:txBody>
          <a:bodyPr bIns="0"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8" name="Объект 14"/>
          <p:cNvSpPr>
            <a:spLocks noGrp="1"/>
          </p:cNvSpPr>
          <p:nvPr>
            <p:ph sz="quarter" idx="17" hasCustomPrompt="1"/>
          </p:nvPr>
        </p:nvSpPr>
        <p:spPr>
          <a:xfrm>
            <a:off x="287338" y="3953123"/>
            <a:ext cx="4157662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29" name="Объект 16"/>
          <p:cNvSpPr>
            <a:spLocks noGrp="1"/>
          </p:cNvSpPr>
          <p:nvPr>
            <p:ph sz="quarter" idx="18" hasCustomPrompt="1"/>
          </p:nvPr>
        </p:nvSpPr>
        <p:spPr>
          <a:xfrm>
            <a:off x="4699000" y="3953123"/>
            <a:ext cx="4157663" cy="172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01146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9325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96856" y="1268759"/>
            <a:ext cx="4159807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 baseline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528900"/>
            <a:ext cx="8569325" cy="697303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87338" y="3429000"/>
            <a:ext cx="856932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9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10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717031"/>
            <a:ext cx="8569325" cy="2304257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2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23618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8925" y="1268412"/>
            <a:ext cx="4156075" cy="5076825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4716463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8130" y="3924300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35893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4299"/>
            <a:ext cx="2664000" cy="242093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>
          <a:xfrm>
            <a:off x="288000" y="260350"/>
            <a:ext cx="8568000" cy="608400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7"/>
          </p:nvPr>
        </p:nvSpPr>
        <p:spPr>
          <a:xfrm>
            <a:off x="287337" y="1268413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4696856" y="1268759"/>
            <a:ext cx="4150800" cy="50616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055"/>
            <a:ext cx="4150800" cy="239484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8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5675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9110" y="1268759"/>
            <a:ext cx="4150800" cy="24048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9110" y="3933824"/>
            <a:ext cx="4150800" cy="2411499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040312" cy="50403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5616575" y="1268414"/>
            <a:ext cx="3240087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20837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7020"/>
            <a:ext cx="5040312" cy="43558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1267003"/>
            <a:ext cx="5040745" cy="576001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 baseline="0"/>
            </a:lvl1pPr>
          </a:lstStyle>
          <a:p>
            <a:pPr lvl="0"/>
            <a:r>
              <a:rPr lang="ru-RU" dirty="0" smtClean="0"/>
              <a:t>Вставьте заголовок</a:t>
            </a: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87338" y="1931946"/>
            <a:ext cx="504074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Объект 3"/>
          <p:cNvSpPr>
            <a:spLocks noGrp="1"/>
          </p:cNvSpPr>
          <p:nvPr>
            <p:ph sz="quarter" idx="18"/>
          </p:nvPr>
        </p:nvSpPr>
        <p:spPr>
          <a:xfrm>
            <a:off x="5616575" y="1268414"/>
            <a:ext cx="3240087" cy="334803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9"/>
          </p:nvPr>
        </p:nvSpPr>
        <p:spPr>
          <a:xfrm>
            <a:off x="5616575" y="4833938"/>
            <a:ext cx="3240087" cy="15113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11781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0350"/>
            <a:ext cx="8569326" cy="607021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20"/>
          </p:nvPr>
        </p:nvSpPr>
        <p:spPr>
          <a:xfrm>
            <a:off x="287338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21"/>
          </p:nvPr>
        </p:nvSpPr>
        <p:spPr>
          <a:xfrm>
            <a:off x="4716463" y="1268414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22"/>
          </p:nvPr>
        </p:nvSpPr>
        <p:spPr>
          <a:xfrm>
            <a:off x="4716463" y="3911600"/>
            <a:ext cx="4140200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054886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708919"/>
            <a:ext cx="8569324" cy="3631556"/>
          </a:xfrm>
        </p:spPr>
        <p:txBody>
          <a:bodyPr vert="horz" lIns="0" tIns="0" rIns="0" bIns="0" rtlCol="0">
            <a:noAutofit/>
          </a:bodyPr>
          <a:lstStyle>
            <a:lvl1pPr>
              <a:defRPr lang="ru-RU" sz="2200" b="0" dirty="0"/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952836"/>
            <a:ext cx="8569325" cy="680297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400" b="1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8566352" y="6522320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8633637" y="6469800"/>
            <a:ext cx="304660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5922101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8569325" cy="5040312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467148" y="4545014"/>
            <a:ext cx="5581227" cy="1583418"/>
          </a:xfrm>
          <a:solidFill>
            <a:srgbClr val="FFFFFF">
              <a:alpha val="80000"/>
            </a:srgbClr>
          </a:solidFill>
        </p:spPr>
        <p:txBody>
          <a:bodyPr lIns="144000" tIns="108000" rIns="72000" bIns="72000"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78233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4157662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4699000" y="1268413"/>
            <a:ext cx="4157663" cy="3313112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830564"/>
            <a:ext cx="4157662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0" y="4830564"/>
            <a:ext cx="4157663" cy="151130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994163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20" name="Рисунок 19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681287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2" name="Рисунок 21"/>
          <p:cNvSpPr>
            <a:spLocks noGrp="1"/>
          </p:cNvSpPr>
          <p:nvPr>
            <p:ph type="pic" sz="quarter" idx="12" hasCustomPrompt="1"/>
          </p:nvPr>
        </p:nvSpPr>
        <p:spPr>
          <a:xfrm>
            <a:off x="3240088" y="1268413"/>
            <a:ext cx="2663825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4" name="Рисунок 23"/>
          <p:cNvSpPr>
            <a:spLocks noGrp="1"/>
          </p:cNvSpPr>
          <p:nvPr>
            <p:ph type="pic" sz="quarter" idx="13" hasCustomPrompt="1"/>
          </p:nvPr>
        </p:nvSpPr>
        <p:spPr>
          <a:xfrm>
            <a:off x="6175375" y="1268413"/>
            <a:ext cx="2681288" cy="3313112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</a:lstStyle>
          <a:p>
            <a:r>
              <a:rPr lang="ru-RU" dirty="0" smtClean="0"/>
              <a:t>Вставьте рисунок</a:t>
            </a:r>
          </a:p>
          <a:p>
            <a:endParaRPr lang="ru-RU" dirty="0"/>
          </a:p>
        </p:txBody>
      </p:sp>
      <p:sp>
        <p:nvSpPr>
          <p:cNvPr id="26" name="Текст 2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4833938"/>
            <a:ext cx="2681287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28" name="Текст 27"/>
          <p:cNvSpPr>
            <a:spLocks noGrp="1"/>
          </p:cNvSpPr>
          <p:nvPr>
            <p:ph type="body" sz="quarter" idx="15" hasCustomPrompt="1"/>
          </p:nvPr>
        </p:nvSpPr>
        <p:spPr>
          <a:xfrm>
            <a:off x="3240088" y="4833938"/>
            <a:ext cx="2663825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30" name="Текст 29"/>
          <p:cNvSpPr>
            <a:spLocks noGrp="1"/>
          </p:cNvSpPr>
          <p:nvPr>
            <p:ph type="body" sz="quarter" idx="16" hasCustomPrompt="1"/>
          </p:nvPr>
        </p:nvSpPr>
        <p:spPr>
          <a:xfrm>
            <a:off x="6175375" y="4833938"/>
            <a:ext cx="2681288" cy="151129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200" b="0" baseline="0"/>
            </a:lvl1pPr>
          </a:lstStyle>
          <a:p>
            <a:r>
              <a:rPr lang="ru-RU" dirty="0" smtClean="0"/>
              <a:t>Введите текст</a:t>
            </a:r>
            <a:endParaRPr lang="ru-RU" dirty="0"/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99118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блоков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4157662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051174"/>
            <a:ext cx="4157662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4833937"/>
            <a:ext cx="4157662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4699000" y="1268412"/>
            <a:ext cx="4157663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0" y="3051174"/>
            <a:ext cx="4157663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4833936"/>
            <a:ext cx="4157663" cy="1512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2915793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4716463" y="2915793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единительная линия 13"/>
          <p:cNvCxnSpPr/>
          <p:nvPr/>
        </p:nvCxnSpPr>
        <p:spPr>
          <a:xfrm>
            <a:off x="287338" y="4698555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единительная линия 15"/>
          <p:cNvCxnSpPr/>
          <p:nvPr/>
        </p:nvCxnSpPr>
        <p:spPr>
          <a:xfrm>
            <a:off x="4716463" y="4698555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0707954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Тези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53545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586789"/>
            <a:ext cx="8569325" cy="1081088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287338" y="3921121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254363"/>
            <a:ext cx="8569325" cy="1080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287338" y="2460167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>
            <a:off x="287338" y="3794499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287338" y="5127743"/>
            <a:ext cx="85693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4425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3221038" y="1268413"/>
            <a:ext cx="5635625" cy="576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40088" y="1988430"/>
            <a:ext cx="5616575" cy="334874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3221038" y="1933356"/>
            <a:ext cx="56356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3240088" y="5589240"/>
            <a:ext cx="561657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2663825" cy="507682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920583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, текс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9240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561657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6175376" y="1268414"/>
            <a:ext cx="2681288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334282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5588724"/>
            <a:ext cx="8569325" cy="756513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4"/>
            <a:ext cx="8569325" cy="410527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169217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е подпис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7200"/>
            <a:ext cx="4157662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99000" y="1267200"/>
            <a:ext cx="4157663" cy="568800"/>
          </a:xfrm>
        </p:spPr>
        <p:txBody>
          <a:bodyPr bIns="0"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200" b="1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935862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/>
          <p:cNvCxnSpPr/>
          <p:nvPr/>
        </p:nvCxnSpPr>
        <p:spPr>
          <a:xfrm>
            <a:off x="4699000" y="1935862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14"/>
          <p:cNvSpPr>
            <a:spLocks noGrp="1"/>
          </p:cNvSpPr>
          <p:nvPr>
            <p:ph sz="quarter" idx="13" hasCustomPrompt="1"/>
          </p:nvPr>
        </p:nvSpPr>
        <p:spPr>
          <a:xfrm>
            <a:off x="287338" y="1990936"/>
            <a:ext cx="4157662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99000" y="1990936"/>
            <a:ext cx="4157663" cy="2988332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  <a:lvl3pPr>
              <a:defRPr sz="2200" b="0"/>
            </a:lvl3pPr>
            <a:lvl4pPr marL="1371600" indent="0">
              <a:buNone/>
              <a:defRPr/>
            </a:lvl4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9" name="Текст 18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5229200"/>
            <a:ext cx="4157662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21" name="Текст 20"/>
          <p:cNvSpPr>
            <a:spLocks noGrp="1"/>
          </p:cNvSpPr>
          <p:nvPr>
            <p:ph type="body" sz="quarter" idx="16" hasCustomPrompt="1"/>
          </p:nvPr>
        </p:nvSpPr>
        <p:spPr>
          <a:xfrm>
            <a:off x="4699000" y="5229200"/>
            <a:ext cx="4157663" cy="111603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smtClean="0"/>
              <a:t>Текст</a:t>
            </a:r>
            <a:endParaRPr lang="ru-RU" dirty="0" smtClean="0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654296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два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2681287" cy="2413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/>
            </a:lvl1pPr>
            <a:lvl2pPr>
              <a:defRPr sz="2200" b="0"/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2" hasCustomPrompt="1"/>
          </p:nvPr>
        </p:nvSpPr>
        <p:spPr>
          <a:xfrm>
            <a:off x="287338" y="3933825"/>
            <a:ext cx="2681287" cy="24034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sz="2200" b="0"/>
            </a:lvl1pPr>
            <a:lvl2pPr>
              <a:defRPr sz="2200" b="0"/>
            </a:lvl2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</p:txBody>
      </p:sp>
      <p:sp>
        <p:nvSpPr>
          <p:cNvPr id="11" name="Объект 3"/>
          <p:cNvSpPr>
            <a:spLocks noGrp="1"/>
          </p:cNvSpPr>
          <p:nvPr>
            <p:ph sz="quarter" idx="16"/>
          </p:nvPr>
        </p:nvSpPr>
        <p:spPr>
          <a:xfrm>
            <a:off x="3239852" y="1268413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7"/>
          </p:nvPr>
        </p:nvSpPr>
        <p:spPr>
          <a:xfrm>
            <a:off x="3239852" y="3924301"/>
            <a:ext cx="5616811" cy="241299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063868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Рисунок 11"/>
          <p:cNvSpPr>
            <a:spLocks noGrp="1"/>
          </p:cNvSpPr>
          <p:nvPr>
            <p:ph type="pic" sz="quarter" idx="11" hasCustomPrompt="1"/>
          </p:nvPr>
        </p:nvSpPr>
        <p:spPr>
          <a:xfrm>
            <a:off x="287053" y="1268413"/>
            <a:ext cx="2681566" cy="1765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284983"/>
            <a:ext cx="2681287" cy="3060255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Объект 3"/>
          <p:cNvSpPr>
            <a:spLocks noGrp="1"/>
          </p:cNvSpPr>
          <p:nvPr>
            <p:ph sz="quarter" idx="17"/>
          </p:nvPr>
        </p:nvSpPr>
        <p:spPr>
          <a:xfrm>
            <a:off x="3239852" y="1268413"/>
            <a:ext cx="5616811" cy="5068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83818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1512887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35202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78302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6" hasCustomPrompt="1"/>
          </p:nvPr>
        </p:nvSpPr>
        <p:spPr>
          <a:xfrm>
            <a:off x="3235201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8" name="Рисунок 17"/>
          <p:cNvSpPr>
            <a:spLocks noGrp="1"/>
          </p:cNvSpPr>
          <p:nvPr>
            <p:ph type="pic" sz="quarter" idx="17" hasCustomPrompt="1"/>
          </p:nvPr>
        </p:nvSpPr>
        <p:spPr>
          <a:xfrm>
            <a:off x="6178301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9256402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объекта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988095"/>
            <a:ext cx="4157662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4699000" y="1988095"/>
            <a:ext cx="4157663" cy="2592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4" hasCustomPrompt="1"/>
          </p:nvPr>
        </p:nvSpPr>
        <p:spPr>
          <a:xfrm>
            <a:off x="287338" y="1268413"/>
            <a:ext cx="4140200" cy="5688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5" hasCustomPrompt="1"/>
          </p:nvPr>
        </p:nvSpPr>
        <p:spPr>
          <a:xfrm>
            <a:off x="4699000" y="1268413"/>
            <a:ext cx="4157663" cy="5688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240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5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73161" y="4833938"/>
            <a:ext cx="8583501" cy="15113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sz="2200" b="0" dirty="0" smtClean="0"/>
            </a:lvl1pPr>
            <a:lvl2pPr>
              <a:defRPr lang="ru-RU" sz="2200" dirty="0" smtClean="0"/>
            </a:lvl2pPr>
            <a:lvl3pPr>
              <a:defRPr lang="ru-RU" sz="2200" dirty="0" smtClean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,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4698663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0"/>
          <p:cNvCxnSpPr/>
          <p:nvPr/>
        </p:nvCxnSpPr>
        <p:spPr>
          <a:xfrm>
            <a:off x="287338" y="1927131"/>
            <a:ext cx="4158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0139081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BackGroundTitleSlide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26" name="TradeSecret" hidden="1"/>
          <p:cNvSpPr txBox="1"/>
          <p:nvPr/>
        </p:nvSpPr>
        <p:spPr>
          <a:xfrm>
            <a:off x="6899887" y="175973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6967245" y="175973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2" y="404664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89552615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1597767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5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3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4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smtClean="0">
                <a:solidFill>
                  <a:srgbClr val="3C3C3C"/>
                </a:solidFill>
              </a:rPr>
              <a:t>Название раздела</a:t>
            </a:r>
            <a:endParaRPr lang="ru-RU" sz="1600" dirty="0" smtClean="0">
              <a:solidFill>
                <a:srgbClr val="3C3C3C"/>
              </a:solidFill>
            </a:endParaRPr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6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smtClean="0">
                <a:solidFill>
                  <a:srgbClr val="3C3C3C"/>
                </a:solidFill>
              </a:rPr>
              <a:t>Название 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2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>
                <a:solidFill>
                  <a:srgbClr val="706F6F"/>
                </a:solidFill>
              </a:rPr>
              <a:t>7</a:t>
            </a:r>
            <a:endParaRPr lang="ru-RU" dirty="0" smtClean="0">
              <a:solidFill>
                <a:srgbClr val="706F6F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>
                <a:solidFill>
                  <a:srgbClr val="3C3C3C"/>
                </a:solidFill>
              </a:rPr>
              <a:t>Название </a:t>
            </a:r>
            <a:r>
              <a:rPr lang="ru-RU" sz="1600" dirty="0" smtClean="0">
                <a:solidFill>
                  <a:srgbClr val="3C3C3C"/>
                </a:solidFill>
              </a:rPr>
              <a:t>раздела</a:t>
            </a:r>
            <a:endParaRPr lang="ru-RU" sz="1600" dirty="0">
              <a:solidFill>
                <a:srgbClr val="3C3C3C"/>
              </a:solidFill>
            </a:endParaRPr>
          </a:p>
        </p:txBody>
      </p:sp>
      <p:cxnSp>
        <p:nvCxnSpPr>
          <p:cNvPr id="87" name="line10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1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mtClean="0">
                <a:solidFill>
                  <a:srgbClr val="706F6F"/>
                </a:solidFill>
              </a:rPr>
              <a:t>1</a:t>
            </a:r>
            <a:endParaRPr lang="ru-RU" dirty="0" smtClean="0">
              <a:solidFill>
                <a:srgbClr val="706F6F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6248391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9299401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21972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533682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1750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>
          <a:xfrm>
            <a:off x="287524" y="260350"/>
            <a:ext cx="8569657" cy="605514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2" name="line5"/>
          <p:cNvCxnSpPr/>
          <p:nvPr/>
        </p:nvCxnSpPr>
        <p:spPr>
          <a:xfrm>
            <a:off x="297656" y="290587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4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5" name="line3"/>
          <p:cNvCxnSpPr/>
          <p:nvPr/>
        </p:nvCxnSpPr>
        <p:spPr>
          <a:xfrm>
            <a:off x="297656" y="221804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8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8" name="line4"/>
          <p:cNvCxnSpPr/>
          <p:nvPr/>
        </p:nvCxnSpPr>
        <p:spPr>
          <a:xfrm>
            <a:off x="297656" y="256196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0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91" name="line6"/>
          <p:cNvCxnSpPr/>
          <p:nvPr/>
        </p:nvCxnSpPr>
        <p:spPr>
          <a:xfrm>
            <a:off x="297656" y="324979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3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94" name="line2"/>
          <p:cNvCxnSpPr/>
          <p:nvPr/>
        </p:nvCxnSpPr>
        <p:spPr>
          <a:xfrm>
            <a:off x="297656" y="187413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6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97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98" name="line7"/>
          <p:cNvCxnSpPr/>
          <p:nvPr/>
        </p:nvCxnSpPr>
        <p:spPr>
          <a:xfrm>
            <a:off x="297656" y="359371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0" name="line8"/>
          <p:cNvCxnSpPr/>
          <p:nvPr/>
        </p:nvCxnSpPr>
        <p:spPr>
          <a:xfrm>
            <a:off x="297656" y="393762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10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3" name="line13"/>
          <p:cNvCxnSpPr/>
          <p:nvPr/>
        </p:nvCxnSpPr>
        <p:spPr>
          <a:xfrm>
            <a:off x="297656" y="565720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105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6" name="line11"/>
          <p:cNvCxnSpPr/>
          <p:nvPr/>
        </p:nvCxnSpPr>
        <p:spPr>
          <a:xfrm>
            <a:off x="297656" y="496937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108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09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111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2" name="line12"/>
          <p:cNvCxnSpPr/>
          <p:nvPr/>
        </p:nvCxnSpPr>
        <p:spPr>
          <a:xfrm>
            <a:off x="297656" y="531329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114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115" name="line9"/>
          <p:cNvCxnSpPr/>
          <p:nvPr/>
        </p:nvCxnSpPr>
        <p:spPr>
          <a:xfrm>
            <a:off x="297656" y="428154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117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18" name="line14"/>
          <p:cNvCxnSpPr/>
          <p:nvPr/>
        </p:nvCxnSpPr>
        <p:spPr>
          <a:xfrm>
            <a:off x="297656" y="6001123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9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120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1" name="line10"/>
          <p:cNvCxnSpPr/>
          <p:nvPr/>
        </p:nvCxnSpPr>
        <p:spPr>
          <a:xfrm>
            <a:off x="297656" y="462545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46" name="ContentsTitle1"/>
          <p:cNvSpPr txBox="1"/>
          <p:nvPr/>
        </p:nvSpPr>
        <p:spPr>
          <a:xfrm>
            <a:off x="641276" y="1298289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47" name="line1"/>
          <p:cNvCxnSpPr/>
          <p:nvPr/>
        </p:nvCxnSpPr>
        <p:spPr>
          <a:xfrm>
            <a:off x="297656" y="153021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sNumber1"/>
          <p:cNvSpPr txBox="1"/>
          <p:nvPr/>
        </p:nvSpPr>
        <p:spPr>
          <a:xfrm>
            <a:off x="287524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1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9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0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1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2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3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4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5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6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7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8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59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0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1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2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3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32600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978589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9653892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226545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129604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0173675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5646676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313929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2613493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393447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8" y="4371456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393447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1" y="4371456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124122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8" y="1679949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124122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1" y="1679949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776413"/>
            <a:ext cx="4175125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776413"/>
            <a:ext cx="417671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4467950"/>
            <a:ext cx="4175125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4467950"/>
            <a:ext cx="417671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14038901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8" y="597823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597823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8" y="328498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328498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8" y="1254295"/>
            <a:ext cx="4175125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0" y="1254295"/>
            <a:ext cx="417671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8" y="3945802"/>
            <a:ext cx="4175125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0" y="3945802"/>
            <a:ext cx="417671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73443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3"/>
            <a:ext cx="85693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orient="horz" pos="799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058522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355265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261688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839927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6489480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024769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207202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63272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376240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2534903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702630" y="1268413"/>
            <a:ext cx="414020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7600849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1981746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8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8" y="3055144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8" y="484187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7240841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6644826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279525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1449306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8836491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517657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93539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8" y="1736725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8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978926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260350"/>
            <a:ext cx="8569324" cy="60840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3911600"/>
            <a:ext cx="8569325" cy="2413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717874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6049760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1133223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8553809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8731399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536576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8488735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704445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4240018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42928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 lIns="0" tIns="0" rIns="0" bIns="0" rtlCol="0" anchor="b" anchorCtr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4797425"/>
            <a:ext cx="8569325" cy="1543050"/>
          </a:xfrm>
        </p:spPr>
        <p:txBody>
          <a:bodyPr anchor="t">
            <a:noAutofit/>
          </a:bodyPr>
          <a:lstStyle>
            <a:lvl1pPr algn="ctr">
              <a:spcBef>
                <a:spcPts val="0"/>
              </a:spcBef>
              <a:defRPr sz="2200" b="0" baseline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8" y="1268414"/>
            <a:ext cx="8569325" cy="280828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99225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449035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2471234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</a:t>
            </a:r>
            <a:r>
              <a:rPr lang="ru-RU" sz="1200" dirty="0" smtClean="0">
                <a:solidFill>
                  <a:srgbClr val="3C3C3C"/>
                </a:solidFill>
              </a:rPr>
              <a:t>и </a:t>
            </a:r>
            <a:r>
              <a:rPr lang="ru-RU" sz="1200" smtClean="0">
                <a:solidFill>
                  <a:srgbClr val="3C3C3C"/>
                </a:solidFill>
              </a:rPr>
              <a:t>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</a:t>
            </a:r>
            <a:r>
              <a:rPr lang="en-US" sz="1200" dirty="0" smtClean="0">
                <a:solidFill>
                  <a:srgbClr val="3C3C3C"/>
                </a:solidFill>
              </a:rPr>
              <a:t>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26071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Располага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объекты в рамках модульной сетки,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заданной 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/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  <a:p>
            <a:pPr>
              <a:spcBef>
                <a:spcPts val="18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уровней текста используй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выделение+</a:t>
            </a:r>
            <a:r>
              <a:rPr lang="en-US" sz="1200" smtClean="0">
                <a:solidFill>
                  <a:srgbClr val="3C3C3C"/>
                </a:solidFill>
              </a:rPr>
              <a:t>Tab</a:t>
            </a:r>
            <a:r>
              <a:rPr lang="ru-RU" sz="1200" smtClean="0">
                <a:solidFill>
                  <a:srgbClr val="3C3C3C"/>
                </a:solidFill>
              </a:rPr>
              <a:t>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возврата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на предыдущий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уровень выдел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строку и нажмите </a:t>
            </a:r>
            <a:br>
              <a:rPr lang="ru-RU" sz="1200" smtClean="0">
                <a:solidFill>
                  <a:srgbClr val="3C3C3C"/>
                </a:solidFill>
              </a:rPr>
            </a:br>
            <a:r>
              <a:rPr lang="en-US" sz="1200" smtClean="0">
                <a:solidFill>
                  <a:srgbClr val="3C3C3C"/>
                </a:solidFill>
              </a:rPr>
              <a:t>Shift+Tab.</a:t>
            </a:r>
            <a:endParaRPr lang="ru-RU" sz="120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smtClean="0">
                <a:solidFill>
                  <a:srgbClr val="0070BA"/>
                </a:solidFill>
              </a:rPr>
              <a:t>Первый </a:t>
            </a:r>
            <a:r>
              <a:rPr lang="ru-RU" sz="1200" b="1" dirty="0" smtClean="0">
                <a:solidFill>
                  <a:srgbClr val="0070BA"/>
                </a:solidFill>
              </a:rPr>
              <a:t>уровень</a:t>
            </a:r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smtClean="0">
                <a:solidFill>
                  <a:srgbClr val="3C3C3C"/>
                </a:solidFill>
              </a:rPr>
              <a:t>Для отображения колонтитула Gazprom Neft убедитесь, что выбран </a:t>
            </a:r>
            <a:r>
              <a:rPr lang="en-US" sz="1200" smtClean="0">
                <a:solidFill>
                  <a:srgbClr val="3C3C3C"/>
                </a:solidFill>
              </a:rPr>
              <a:t/>
            </a:r>
            <a:br>
              <a:rPr lang="en-US" sz="1200" smtClean="0">
                <a:solidFill>
                  <a:srgbClr val="3C3C3C"/>
                </a:solidFill>
              </a:rPr>
            </a:br>
            <a:r>
              <a:rPr lang="ru-RU" sz="1200" smtClean="0">
                <a:solidFill>
                  <a:srgbClr val="3C3C3C"/>
                </a:solidFill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9944782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рисунков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1512887"/>
          </a:xfrm>
        </p:spPr>
        <p:txBody>
          <a:bodyPr>
            <a:noAutofit/>
          </a:bodyPr>
          <a:lstStyle>
            <a:lvl1pPr>
              <a:defRPr sz="2200" b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35202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78302" y="3052012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4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6" name="Рисунок 15"/>
          <p:cNvSpPr>
            <a:spLocks noGrp="1"/>
          </p:cNvSpPr>
          <p:nvPr>
            <p:ph type="pic" sz="quarter" idx="16" hasCustomPrompt="1"/>
          </p:nvPr>
        </p:nvSpPr>
        <p:spPr>
          <a:xfrm>
            <a:off x="3235201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8" name="Рисунок 17"/>
          <p:cNvSpPr>
            <a:spLocks noGrp="1"/>
          </p:cNvSpPr>
          <p:nvPr>
            <p:ph type="pic" sz="quarter" idx="17" hasCustomPrompt="1"/>
          </p:nvPr>
        </p:nvSpPr>
        <p:spPr>
          <a:xfrm>
            <a:off x="6178301" y="4834024"/>
            <a:ext cx="2671200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200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Рисунок</a:t>
            </a:r>
          </a:p>
          <a:p>
            <a:pPr lvl="0"/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 dirty="0" smtClean="0">
                <a:solidFill>
                  <a:srgbClr val="3C3C3C"/>
                </a:solidFill>
              </a:rPr>
              <a:t>Tab</a:t>
            </a:r>
            <a:r>
              <a:rPr lang="ru-RU" sz="1200" dirty="0" smtClean="0">
                <a:solidFill>
                  <a:srgbClr val="3C3C3C"/>
                </a:solidFill>
              </a:rPr>
              <a:t/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для смены</a:t>
            </a:r>
          </a:p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стилей текста.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Для возврата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на предыдущий</a:t>
            </a:r>
            <a:br>
              <a:rPr lang="ru-RU" sz="1200" dirty="0" smtClean="0">
                <a:solidFill>
                  <a:srgbClr val="3C3C3C"/>
                </a:solidFill>
              </a:rPr>
            </a:br>
            <a:r>
              <a:rPr lang="ru-RU" sz="1200" dirty="0" smtClean="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 dirty="0" smtClean="0">
                <a:solidFill>
                  <a:srgbClr val="3C3C3C"/>
                </a:solidFill>
              </a:rPr>
              <a:t>Shift+Tab.</a:t>
            </a:r>
            <a:endParaRPr lang="ru-RU" sz="1200" dirty="0" smtClean="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200" b="1" dirty="0" smtClean="0">
                <a:solidFill>
                  <a:srgbClr val="3C3C3C"/>
                </a:solidFill>
              </a:rPr>
              <a:t>Первый уровень</a:t>
            </a:r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Второй уровень</a:t>
            </a:r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 pitchFamily="2" charset="2"/>
              <a:buChar char="§"/>
              <a:defRPr/>
            </a:pPr>
            <a:r>
              <a:rPr lang="ru-RU" sz="1200" dirty="0" smtClean="0">
                <a:solidFill>
                  <a:srgbClr val="3C3C3C"/>
                </a:solidFill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20137125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ackGroundTitleSlide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pSp>
        <p:nvGrpSpPr>
          <p:cNvPr id="20" name="TitleLogoRus"/>
          <p:cNvGrpSpPr>
            <a:grpSpLocks noChangeAspect="1"/>
          </p:cNvGrpSpPr>
          <p:nvPr/>
        </p:nvGrpSpPr>
        <p:grpSpPr bwMode="auto">
          <a:xfrm>
            <a:off x="7895910" y="5938826"/>
            <a:ext cx="957932" cy="603508"/>
            <a:chOff x="264" y="1159"/>
            <a:chExt cx="3492" cy="1650"/>
          </a:xfrm>
          <a:solidFill>
            <a:schemeClr val="accent3"/>
          </a:solidFill>
        </p:grpSpPr>
        <p:sp>
          <p:nvSpPr>
            <p:cNvPr id="24" name="Freeform 6"/>
            <p:cNvSpPr>
              <a:spLocks noEditPoints="1"/>
            </p:cNvSpPr>
            <p:nvPr userDrawn="1"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5" name="Freeform 9"/>
            <p:cNvSpPr>
              <a:spLocks/>
            </p:cNvSpPr>
            <p:nvPr userDrawn="1"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6" name="Freeform 10"/>
            <p:cNvSpPr>
              <a:spLocks noEditPoints="1"/>
            </p:cNvSpPr>
            <p:nvPr userDrawn="1"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7" name="Freeform 11"/>
            <p:cNvSpPr>
              <a:spLocks/>
            </p:cNvSpPr>
            <p:nvPr userDrawn="1"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8" name="Freeform 12"/>
            <p:cNvSpPr>
              <a:spLocks/>
            </p:cNvSpPr>
            <p:nvPr userDrawn="1"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29" name="Freeform 13"/>
            <p:cNvSpPr>
              <a:spLocks noEditPoints="1"/>
            </p:cNvSpPr>
            <p:nvPr userDrawn="1"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0" name="Freeform 14"/>
            <p:cNvSpPr>
              <a:spLocks/>
            </p:cNvSpPr>
            <p:nvPr userDrawn="1"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1" name="Freeform 15"/>
            <p:cNvSpPr>
              <a:spLocks noEditPoints="1"/>
            </p:cNvSpPr>
            <p:nvPr userDrawn="1"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2" name="Freeform 19"/>
            <p:cNvSpPr>
              <a:spLocks/>
            </p:cNvSpPr>
            <p:nvPr userDrawn="1"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3" name="Freeform 20"/>
            <p:cNvSpPr>
              <a:spLocks noEditPoints="1"/>
            </p:cNvSpPr>
            <p:nvPr userDrawn="1"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4" name="Freeform 27"/>
            <p:cNvSpPr>
              <a:spLocks/>
            </p:cNvSpPr>
            <p:nvPr userDrawn="1"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FFFFFF"/>
                </a:solidFill>
              </a:endParaRPr>
            </a:p>
          </p:txBody>
        </p:sp>
      </p:grpSp>
      <p:sp>
        <p:nvSpPr>
          <p:cNvPr id="19" name="Текст 28"/>
          <p:cNvSpPr>
            <a:spLocks noGrp="1"/>
          </p:cNvSpPr>
          <p:nvPr>
            <p:ph type="body" sz="quarter" idx="12" hasCustomPrompt="1"/>
          </p:nvPr>
        </p:nvSpPr>
        <p:spPr>
          <a:xfrm>
            <a:off x="4788002" y="3427200"/>
            <a:ext cx="4068000" cy="2400000"/>
          </a:xfrm>
        </p:spPr>
        <p:txBody>
          <a:bodyPr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sz="22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ведите название презентации</a:t>
            </a:r>
          </a:p>
        </p:txBody>
      </p:sp>
      <p:sp>
        <p:nvSpPr>
          <p:cNvPr id="37" name="TitleLogoEng" hidden="1"/>
          <p:cNvSpPr>
            <a:spLocks noEditPoints="1"/>
          </p:cNvSpPr>
          <p:nvPr/>
        </p:nvSpPr>
        <p:spPr bwMode="auto">
          <a:xfrm>
            <a:off x="7879609" y="5925277"/>
            <a:ext cx="974189" cy="6048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3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342" y="5539200"/>
            <a:ext cx="4283999" cy="192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1400" b="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39" name="Текст 30"/>
          <p:cNvSpPr>
            <a:spLocks noGrp="1"/>
          </p:cNvSpPr>
          <p:nvPr>
            <p:ph type="body" sz="quarter" idx="16" hasCustomPrompt="1"/>
          </p:nvPr>
        </p:nvSpPr>
        <p:spPr>
          <a:xfrm>
            <a:off x="287342" y="6374400"/>
            <a:ext cx="4283999" cy="192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дату</a:t>
            </a:r>
            <a:endParaRPr lang="ru-RU" dirty="0"/>
          </a:p>
        </p:txBody>
      </p:sp>
      <p:sp>
        <p:nvSpPr>
          <p:cNvPr id="40" name="Текст 30"/>
          <p:cNvSpPr>
            <a:spLocks noGrp="1"/>
          </p:cNvSpPr>
          <p:nvPr>
            <p:ph type="body" sz="quarter" idx="17" hasCustomPrompt="1"/>
          </p:nvPr>
        </p:nvSpPr>
        <p:spPr>
          <a:xfrm>
            <a:off x="287342" y="5817600"/>
            <a:ext cx="4283999" cy="192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41" name="Текст 30"/>
          <p:cNvSpPr>
            <a:spLocks noGrp="1"/>
          </p:cNvSpPr>
          <p:nvPr>
            <p:ph type="body" sz="quarter" idx="18" hasCustomPrompt="1"/>
          </p:nvPr>
        </p:nvSpPr>
        <p:spPr>
          <a:xfrm>
            <a:off x="287342" y="6096000"/>
            <a:ext cx="4283999" cy="192000"/>
          </a:xfrm>
        </p:spPr>
        <p:txBody>
          <a:bodyPr anchor="b">
            <a:noAutofit/>
          </a:bodyPr>
          <a:lstStyle>
            <a:lvl1pPr>
              <a:spcBef>
                <a:spcPts val="600"/>
              </a:spcBef>
              <a:defRPr sz="1400" b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45" name="TradeSecret" hidden="1"/>
          <p:cNvSpPr txBox="1"/>
          <p:nvPr/>
        </p:nvSpPr>
        <p:spPr>
          <a:xfrm>
            <a:off x="6899887" y="116632"/>
            <a:ext cx="1575816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ммерческая тайна</a:t>
            </a:r>
          </a:p>
        </p:txBody>
      </p:sp>
      <p:sp>
        <p:nvSpPr>
          <p:cNvPr id="46" name="Confidential" hidden="1"/>
          <p:cNvSpPr txBox="1"/>
          <p:nvPr/>
        </p:nvSpPr>
        <p:spPr>
          <a:xfrm>
            <a:off x="6967245" y="116632"/>
            <a:ext cx="1441100" cy="25853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Aft>
                <a:spcPts val="200"/>
              </a:spcAft>
            </a:pPr>
            <a:r>
              <a:rPr lang="ru-RU" sz="1200" b="1" dirty="0" smtClean="0">
                <a:solidFill>
                  <a:srgbClr val="706F6F"/>
                </a:solidFill>
              </a:rPr>
              <a:t>Конфиденциально</a:t>
            </a:r>
            <a:endParaRPr lang="ru-RU" sz="1100" b="1" dirty="0" smtClean="0">
              <a:solidFill>
                <a:srgbClr val="706F6F"/>
              </a:solidFill>
            </a:endParaRPr>
          </a:p>
        </p:txBody>
      </p:sp>
      <p:sp>
        <p:nvSpPr>
          <p:cNvPr id="42" name="CompanyName" hidden="1"/>
          <p:cNvSpPr txBox="1"/>
          <p:nvPr/>
        </p:nvSpPr>
        <p:spPr>
          <a:xfrm>
            <a:off x="6490352" y="404665"/>
            <a:ext cx="2394886" cy="46628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900" smtClean="0">
                <a:solidFill>
                  <a:srgbClr val="706F6F"/>
                </a:solidFill>
              </a:rPr>
              <a:t>Публичное акционерное </a:t>
            </a:r>
            <a:r>
              <a:rPr lang="ru-RU" sz="900" dirty="0" smtClean="0">
                <a:solidFill>
                  <a:srgbClr val="706F6F"/>
                </a:solidFill>
              </a:rPr>
              <a:t>общество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«Газпром нефть», ул. Галерная, д. 5, лит. А,</a:t>
            </a:r>
            <a:br>
              <a:rPr lang="ru-RU" sz="900" dirty="0" smtClean="0">
                <a:solidFill>
                  <a:srgbClr val="706F6F"/>
                </a:solidFill>
              </a:rPr>
            </a:br>
            <a:r>
              <a:rPr lang="ru-RU" sz="900" dirty="0" smtClean="0">
                <a:solidFill>
                  <a:srgbClr val="706F6F"/>
                </a:solidFill>
              </a:rPr>
              <a:t>г. Санкт-Петербург, 190000</a:t>
            </a:r>
          </a:p>
        </p:txBody>
      </p:sp>
    </p:spTree>
    <p:extLst>
      <p:ext uri="{BB962C8B-B14F-4D97-AF65-F5344CB8AC3E}">
        <p14:creationId xmlns:p14="http://schemas.microsoft.com/office/powerpoint/2010/main" val="1185055193"/>
      </p:ext>
    </p:extLst>
  </p:cSld>
  <p:clrMapOvr>
    <a:masterClrMapping/>
  </p:clrMapOvr>
  <p:hf sldNum="0" hdr="0" ft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9" y="2468893"/>
            <a:ext cx="8562974" cy="940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название раздела</a:t>
            </a:r>
            <a:br>
              <a:rPr lang="ru-RU" dirty="0" smtClean="0"/>
            </a:br>
            <a:r>
              <a:rPr lang="ru-RU" dirty="0" smtClean="0"/>
              <a:t>(максимум две строки)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0" y="3909485"/>
            <a:ext cx="8569324" cy="2400300"/>
          </a:xfrm>
        </p:spPr>
        <p:txBody>
          <a:bodyPr/>
          <a:lstStyle>
            <a:lvl1pPr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</a:p>
        </p:txBody>
      </p:sp>
      <p:cxnSp>
        <p:nvCxnSpPr>
          <p:cNvPr id="7" name="Прямая соединительная линия 7"/>
          <p:cNvCxnSpPr/>
          <p:nvPr/>
        </p:nvCxnSpPr>
        <p:spPr>
          <a:xfrm>
            <a:off x="287339" y="3668184"/>
            <a:ext cx="8547572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8619093" y="6537600"/>
            <a:ext cx="0" cy="16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Номер слайда 6"/>
          <p:cNvSpPr txBox="1">
            <a:spLocks/>
          </p:cNvSpPr>
          <p:nvPr/>
        </p:nvSpPr>
        <p:spPr>
          <a:xfrm>
            <a:off x="8691683" y="6431699"/>
            <a:ext cx="286452" cy="3661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rgbClr val="3C3C3C"/>
                </a:solidFill>
              </a:rPr>
              <a:pPr algn="l"/>
              <a:t>‹#›</a:t>
            </a:fld>
            <a:endParaRPr lang="ru-RU" sz="1000" dirty="0">
              <a:solidFill>
                <a:srgbClr val="3C3C3C"/>
              </a:solidFill>
            </a:endParaRPr>
          </a:p>
        </p:txBody>
      </p:sp>
      <p:sp>
        <p:nvSpPr>
          <p:cNvPr id="11" name="LogoRus"/>
          <p:cNvSpPr txBox="1">
            <a:spLocks/>
          </p:cNvSpPr>
          <p:nvPr/>
        </p:nvSpPr>
        <p:spPr>
          <a:xfrm>
            <a:off x="5292813" y="6464117"/>
            <a:ext cx="3240000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16" name="LogoEng" hidden="1"/>
          <p:cNvSpPr txBox="1">
            <a:spLocks/>
          </p:cNvSpPr>
          <p:nvPr/>
        </p:nvSpPr>
        <p:spPr>
          <a:xfrm>
            <a:off x="5292813" y="6464117"/>
            <a:ext cx="3240000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87338" y="6464117"/>
            <a:ext cx="5040002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10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648196183"/>
      </p:ext>
    </p:extLst>
  </p:cSld>
  <p:clrMapOvr>
    <a:masterClrMapping/>
  </p:clrMapOvr>
  <p:hf sldNum="0" hdr="0" ft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179514" y="644691"/>
            <a:ext cx="8820980" cy="1152128"/>
          </a:xfrm>
          <a:prstGeom prst="rect">
            <a:avLst/>
          </a:prstGeom>
          <a:solidFill>
            <a:srgbClr val="FFFFFF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rgbClr val="3C3C3C"/>
              </a:solidFill>
            </a:endParaRPr>
          </a:p>
        </p:txBody>
      </p:sp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652803"/>
            <a:ext cx="8562975" cy="12001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lnSpc>
                <a:spcPct val="100000"/>
              </a:lnSpc>
              <a:defRPr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287341" y="2948950"/>
            <a:ext cx="8569325" cy="3360839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20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5" name="Footer"/>
          <p:cNvSpPr/>
          <p:nvPr/>
        </p:nvSpPr>
        <p:spPr>
          <a:xfrm>
            <a:off x="287338" y="6464117"/>
            <a:ext cx="5040002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  <p:sp>
        <p:nvSpPr>
          <p:cNvPr id="6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16311764"/>
      </p:ext>
    </p:extLst>
  </p:cSld>
  <p:clrMapOvr>
    <a:masterClrMapping/>
  </p:clrMapOvr>
  <p:hf sldNum="0" hdr="0" ft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3" name="Rectangle 6"/>
          <p:cNvSpPr/>
          <p:nvPr/>
        </p:nvSpPr>
        <p:spPr>
          <a:xfrm>
            <a:off x="9144000" y="-33867"/>
            <a:ext cx="2082800" cy="68580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Располагайте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объекты в рамках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модульной сетки,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заданной 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направляющими. </a:t>
            </a:r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/</a:t>
            </a:r>
            <a:br>
              <a:rPr lang="ru-RU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скрытия направляющих используйте Alt+F9.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21466429"/>
      </p:ext>
    </p:extLst>
  </p:cSld>
  <p:clrMapOvr>
    <a:masterClrMapping/>
  </p:clrMapOvr>
  <p:hf sldNum="0" hdr="0" ft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16421"/>
            <a:ext cx="8562975" cy="81703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4" name="ContentsTitle5" hidden="1"/>
          <p:cNvSpPr txBox="1"/>
          <p:nvPr/>
        </p:nvSpPr>
        <p:spPr>
          <a:xfrm>
            <a:off x="641279" y="266015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75" name="line5" hidden="1"/>
          <p:cNvCxnSpPr/>
          <p:nvPr/>
        </p:nvCxnSpPr>
        <p:spPr>
          <a:xfrm>
            <a:off x="297658" y="284033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5" hidden="1"/>
          <p:cNvSpPr txBox="1"/>
          <p:nvPr/>
        </p:nvSpPr>
        <p:spPr>
          <a:xfrm>
            <a:off x="287524" y="252935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5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77" name="ContentsTitle3">
            <a:hlinkClick r:id="" action="ppaction://noaction"/>
          </p:cNvPr>
          <p:cNvSpPr txBox="1"/>
          <p:nvPr/>
        </p:nvSpPr>
        <p:spPr>
          <a:xfrm>
            <a:off x="641279" y="1968894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78" name="line3"/>
          <p:cNvCxnSpPr/>
          <p:nvPr/>
        </p:nvCxnSpPr>
        <p:spPr>
          <a:xfrm>
            <a:off x="297658" y="2146500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sNumber3">
            <a:hlinkClick r:id="" action="ppaction://noaction"/>
          </p:cNvPr>
          <p:cNvSpPr txBox="1"/>
          <p:nvPr/>
        </p:nvSpPr>
        <p:spPr>
          <a:xfrm>
            <a:off x="287524" y="183809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3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0" name="ContentsTitle4" hidden="1"/>
          <p:cNvSpPr txBox="1"/>
          <p:nvPr/>
        </p:nvSpPr>
        <p:spPr>
          <a:xfrm>
            <a:off x="641279" y="2314525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1" name="line4" hidden="1"/>
          <p:cNvCxnSpPr/>
          <p:nvPr/>
        </p:nvCxnSpPr>
        <p:spPr>
          <a:xfrm>
            <a:off x="297658" y="249341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sNumber4" hidden="1"/>
          <p:cNvSpPr txBox="1"/>
          <p:nvPr/>
        </p:nvSpPr>
        <p:spPr>
          <a:xfrm>
            <a:off x="287524" y="218372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4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3" name="ContentsTitle1">
            <a:hlinkClick r:id="rId2" action="ppaction://hlinksldjump"/>
          </p:cNvPr>
          <p:cNvSpPr txBox="1"/>
          <p:nvPr/>
        </p:nvSpPr>
        <p:spPr>
          <a:xfrm>
            <a:off x="641279" y="127763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cxnSp>
        <p:nvCxnSpPr>
          <p:cNvPr id="84" name="line1"/>
          <p:cNvCxnSpPr/>
          <p:nvPr/>
        </p:nvCxnSpPr>
        <p:spPr>
          <a:xfrm>
            <a:off x="297658" y="1452665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sNumber1">
            <a:hlinkClick r:id="rId2" action="ppaction://hlinksldjump"/>
          </p:cNvPr>
          <p:cNvSpPr txBox="1"/>
          <p:nvPr/>
        </p:nvSpPr>
        <p:spPr>
          <a:xfrm>
            <a:off x="287524" y="114683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86" name="ContentsTitle6" hidden="1"/>
          <p:cNvSpPr txBox="1"/>
          <p:nvPr/>
        </p:nvSpPr>
        <p:spPr>
          <a:xfrm>
            <a:off x="641279" y="300578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87" name="line6" hidden="1"/>
          <p:cNvCxnSpPr/>
          <p:nvPr/>
        </p:nvCxnSpPr>
        <p:spPr>
          <a:xfrm>
            <a:off x="297658" y="3187252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6" hidden="1"/>
          <p:cNvSpPr txBox="1"/>
          <p:nvPr/>
        </p:nvSpPr>
        <p:spPr>
          <a:xfrm>
            <a:off x="287524" y="287498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6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89" name="ContentsTitle2">
            <a:hlinkClick r:id="rId2" action="ppaction://hlinksldjump"/>
          </p:cNvPr>
          <p:cNvSpPr txBox="1"/>
          <p:nvPr/>
        </p:nvSpPr>
        <p:spPr>
          <a:xfrm>
            <a:off x="641279" y="1623263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90" name="line2"/>
          <p:cNvCxnSpPr/>
          <p:nvPr/>
        </p:nvCxnSpPr>
        <p:spPr>
          <a:xfrm>
            <a:off x="297658" y="179958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ontentsNumber2">
            <a:hlinkClick r:id="rId2" action="ppaction://hlinksldjump"/>
          </p:cNvPr>
          <p:cNvSpPr txBox="1"/>
          <p:nvPr/>
        </p:nvSpPr>
        <p:spPr>
          <a:xfrm>
            <a:off x="287524" y="149246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2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92" name="ContentsTitle7" hidden="1"/>
          <p:cNvSpPr txBox="1"/>
          <p:nvPr/>
        </p:nvSpPr>
        <p:spPr>
          <a:xfrm>
            <a:off x="641279" y="335141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sp>
        <p:nvSpPr>
          <p:cNvPr id="93" name="ContentsNumber7" hidden="1"/>
          <p:cNvSpPr txBox="1"/>
          <p:nvPr/>
        </p:nvSpPr>
        <p:spPr>
          <a:xfrm>
            <a:off x="287524" y="322062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>
                <a:solidFill>
                  <a:srgbClr val="706F6F"/>
                </a:solidFill>
              </a:rPr>
              <a:t>7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cxnSp>
        <p:nvCxnSpPr>
          <p:cNvPr id="94" name="line7" hidden="1"/>
          <p:cNvCxnSpPr/>
          <p:nvPr/>
        </p:nvCxnSpPr>
        <p:spPr>
          <a:xfrm>
            <a:off x="297658" y="353416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ContentsTitle8" hidden="1"/>
          <p:cNvSpPr txBox="1"/>
          <p:nvPr/>
        </p:nvSpPr>
        <p:spPr>
          <a:xfrm>
            <a:off x="641279" y="3697047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96" name="line8" hidden="1"/>
          <p:cNvCxnSpPr/>
          <p:nvPr/>
        </p:nvCxnSpPr>
        <p:spPr>
          <a:xfrm>
            <a:off x="297658" y="3881087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ContentsNumber8" hidden="1"/>
          <p:cNvSpPr txBox="1"/>
          <p:nvPr/>
        </p:nvSpPr>
        <p:spPr>
          <a:xfrm>
            <a:off x="287524" y="356625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8</a:t>
            </a:r>
          </a:p>
        </p:txBody>
      </p:sp>
      <p:sp>
        <p:nvSpPr>
          <p:cNvPr id="98" name="ContentsTitle13" hidden="1"/>
          <p:cNvSpPr txBox="1"/>
          <p:nvPr/>
        </p:nvSpPr>
        <p:spPr>
          <a:xfrm>
            <a:off x="649291" y="542520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99" name="line13" hidden="1"/>
          <p:cNvCxnSpPr/>
          <p:nvPr/>
        </p:nvCxnSpPr>
        <p:spPr>
          <a:xfrm>
            <a:off x="297658" y="5615673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ContentsNumber13" hidden="1"/>
          <p:cNvSpPr txBox="1"/>
          <p:nvPr/>
        </p:nvSpPr>
        <p:spPr>
          <a:xfrm>
            <a:off x="287523" y="5294404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3</a:t>
            </a:r>
          </a:p>
        </p:txBody>
      </p:sp>
      <p:sp>
        <p:nvSpPr>
          <p:cNvPr id="101" name="ContentsTitle11" hidden="1"/>
          <p:cNvSpPr txBox="1"/>
          <p:nvPr/>
        </p:nvSpPr>
        <p:spPr>
          <a:xfrm>
            <a:off x="649291" y="473393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2" name="line11" hidden="1"/>
          <p:cNvCxnSpPr/>
          <p:nvPr/>
        </p:nvCxnSpPr>
        <p:spPr>
          <a:xfrm>
            <a:off x="297658" y="4921839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ContentsNumber11" hidden="1"/>
          <p:cNvSpPr txBox="1"/>
          <p:nvPr/>
        </p:nvSpPr>
        <p:spPr>
          <a:xfrm>
            <a:off x="287527" y="4603142"/>
            <a:ext cx="158505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1</a:t>
            </a:r>
          </a:p>
        </p:txBody>
      </p:sp>
      <p:sp>
        <p:nvSpPr>
          <p:cNvPr id="104" name="ContentsTitle15" hidden="1"/>
          <p:cNvSpPr txBox="1"/>
          <p:nvPr/>
        </p:nvSpPr>
        <p:spPr>
          <a:xfrm>
            <a:off x="649291" y="6116466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5" name="line15" hidden="1"/>
          <p:cNvCxnSpPr/>
          <p:nvPr/>
        </p:nvCxnSpPr>
        <p:spPr>
          <a:xfrm>
            <a:off x="297658" y="6309516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ContentsNumber15" hidden="1"/>
          <p:cNvSpPr txBox="1"/>
          <p:nvPr/>
        </p:nvSpPr>
        <p:spPr>
          <a:xfrm>
            <a:off x="287523" y="5985669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5</a:t>
            </a:r>
          </a:p>
        </p:txBody>
      </p:sp>
      <p:sp>
        <p:nvSpPr>
          <p:cNvPr id="107" name="ContentsTitle12" hidden="1"/>
          <p:cNvSpPr txBox="1"/>
          <p:nvPr/>
        </p:nvSpPr>
        <p:spPr>
          <a:xfrm>
            <a:off x="649291" y="5079570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08" name="line12" hidden="1"/>
          <p:cNvCxnSpPr/>
          <p:nvPr/>
        </p:nvCxnSpPr>
        <p:spPr>
          <a:xfrm>
            <a:off x="297658" y="5268756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ContentsNumber12" hidden="1"/>
          <p:cNvSpPr txBox="1"/>
          <p:nvPr/>
        </p:nvSpPr>
        <p:spPr>
          <a:xfrm>
            <a:off x="287523" y="4948773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2</a:t>
            </a:r>
          </a:p>
        </p:txBody>
      </p:sp>
      <p:sp>
        <p:nvSpPr>
          <p:cNvPr id="110" name="ContentsTitle9" hidden="1"/>
          <p:cNvSpPr txBox="1"/>
          <p:nvPr/>
        </p:nvSpPr>
        <p:spPr>
          <a:xfrm>
            <a:off x="649291" y="4042678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1" name="line9" hidden="1"/>
          <p:cNvCxnSpPr/>
          <p:nvPr/>
        </p:nvCxnSpPr>
        <p:spPr>
          <a:xfrm>
            <a:off x="297658" y="4228004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" name="ContentsNumber9" hidden="1"/>
          <p:cNvSpPr txBox="1"/>
          <p:nvPr/>
        </p:nvSpPr>
        <p:spPr>
          <a:xfrm>
            <a:off x="287524" y="391188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9</a:t>
            </a:r>
          </a:p>
        </p:txBody>
      </p:sp>
      <p:sp>
        <p:nvSpPr>
          <p:cNvPr id="113" name="ContentsTitle14" hidden="1"/>
          <p:cNvSpPr txBox="1"/>
          <p:nvPr/>
        </p:nvSpPr>
        <p:spPr>
          <a:xfrm>
            <a:off x="649291" y="5770831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раздела</a:t>
            </a:r>
          </a:p>
        </p:txBody>
      </p:sp>
      <p:cxnSp>
        <p:nvCxnSpPr>
          <p:cNvPr id="114" name="line14" hidden="1"/>
          <p:cNvCxnSpPr/>
          <p:nvPr/>
        </p:nvCxnSpPr>
        <p:spPr>
          <a:xfrm>
            <a:off x="297658" y="596259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ContentsNumber14" hidden="1"/>
          <p:cNvSpPr txBox="1"/>
          <p:nvPr/>
        </p:nvSpPr>
        <p:spPr>
          <a:xfrm>
            <a:off x="287523" y="5640034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4</a:t>
            </a:r>
          </a:p>
        </p:txBody>
      </p:sp>
      <p:sp>
        <p:nvSpPr>
          <p:cNvPr id="116" name="ContentsTitle10" hidden="1"/>
          <p:cNvSpPr txBox="1"/>
          <p:nvPr/>
        </p:nvSpPr>
        <p:spPr>
          <a:xfrm>
            <a:off x="649291" y="4388309"/>
            <a:ext cx="7994027" cy="193318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>
                <a:solidFill>
                  <a:srgbClr val="3C3C3C"/>
                </a:solidFill>
              </a:rPr>
              <a:t>Название </a:t>
            </a:r>
            <a:r>
              <a:rPr lang="ru-RU" sz="1200" dirty="0" smtClean="0">
                <a:solidFill>
                  <a:srgbClr val="3C3C3C"/>
                </a:solidFill>
              </a:rPr>
              <a:t>раздела</a:t>
            </a:r>
            <a:endParaRPr lang="ru-RU" sz="1200" dirty="0">
              <a:solidFill>
                <a:srgbClr val="3C3C3C"/>
              </a:solidFill>
            </a:endParaRPr>
          </a:p>
        </p:txBody>
      </p:sp>
      <p:cxnSp>
        <p:nvCxnSpPr>
          <p:cNvPr id="117" name="line10" hidden="1"/>
          <p:cNvCxnSpPr/>
          <p:nvPr/>
        </p:nvCxnSpPr>
        <p:spPr>
          <a:xfrm>
            <a:off x="297658" y="4574921"/>
            <a:ext cx="855900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ContentsNumber10" hidden="1"/>
          <p:cNvSpPr txBox="1"/>
          <p:nvPr/>
        </p:nvSpPr>
        <p:spPr>
          <a:xfrm>
            <a:off x="287523" y="4257512"/>
            <a:ext cx="169918" cy="293721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200" dirty="0" smtClean="0">
                <a:solidFill>
                  <a:srgbClr val="706F6F"/>
                </a:solidFill>
              </a:rPr>
              <a:t>10</a:t>
            </a:r>
          </a:p>
        </p:txBody>
      </p:sp>
      <p:sp>
        <p:nvSpPr>
          <p:cNvPr id="51" name="Number1"/>
          <p:cNvSpPr txBox="1"/>
          <p:nvPr/>
        </p:nvSpPr>
        <p:spPr>
          <a:xfrm>
            <a:off x="8460434" y="114683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3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2" name="Number2"/>
          <p:cNvSpPr txBox="1"/>
          <p:nvPr/>
        </p:nvSpPr>
        <p:spPr>
          <a:xfrm>
            <a:off x="8460434" y="1495146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6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3" name="Number3"/>
          <p:cNvSpPr txBox="1"/>
          <p:nvPr/>
        </p:nvSpPr>
        <p:spPr>
          <a:xfrm>
            <a:off x="8460434" y="1843457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smtClean="0">
                <a:solidFill>
                  <a:srgbClr val="706F6F"/>
                </a:solidFill>
              </a:rPr>
              <a:t>9</a:t>
            </a:r>
            <a:endParaRPr lang="ru-RU" sz="1200" dirty="0" smtClean="0">
              <a:solidFill>
                <a:srgbClr val="706F6F"/>
              </a:solidFill>
            </a:endParaRPr>
          </a:p>
        </p:txBody>
      </p:sp>
      <p:sp>
        <p:nvSpPr>
          <p:cNvPr id="54" name="Number4" hidden="1"/>
          <p:cNvSpPr txBox="1"/>
          <p:nvPr/>
        </p:nvSpPr>
        <p:spPr>
          <a:xfrm>
            <a:off x="8460434" y="219176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5" name="Number5" hidden="1"/>
          <p:cNvSpPr txBox="1"/>
          <p:nvPr/>
        </p:nvSpPr>
        <p:spPr>
          <a:xfrm>
            <a:off x="8460434" y="254007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6" name="Number6" hidden="1"/>
          <p:cNvSpPr txBox="1"/>
          <p:nvPr/>
        </p:nvSpPr>
        <p:spPr>
          <a:xfrm>
            <a:off x="8460434" y="2888389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7" name="Number7" hidden="1"/>
          <p:cNvSpPr txBox="1"/>
          <p:nvPr/>
        </p:nvSpPr>
        <p:spPr>
          <a:xfrm>
            <a:off x="8460434" y="323670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8" name="Number8" hidden="1"/>
          <p:cNvSpPr txBox="1"/>
          <p:nvPr/>
        </p:nvSpPr>
        <p:spPr>
          <a:xfrm>
            <a:off x="8460434" y="3585010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59" name="Number9" hidden="1"/>
          <p:cNvSpPr txBox="1"/>
          <p:nvPr/>
        </p:nvSpPr>
        <p:spPr>
          <a:xfrm>
            <a:off x="8460434" y="3933321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0" name="Number10" hidden="1"/>
          <p:cNvSpPr txBox="1"/>
          <p:nvPr/>
        </p:nvSpPr>
        <p:spPr>
          <a:xfrm>
            <a:off x="8460434" y="428163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1" name="Number11" hidden="1"/>
          <p:cNvSpPr txBox="1"/>
          <p:nvPr/>
        </p:nvSpPr>
        <p:spPr>
          <a:xfrm>
            <a:off x="8460434" y="4629942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2" name="Number12" hidden="1"/>
          <p:cNvSpPr txBox="1"/>
          <p:nvPr/>
        </p:nvSpPr>
        <p:spPr>
          <a:xfrm>
            <a:off x="8460434" y="4978253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3" name="Number13" hidden="1"/>
          <p:cNvSpPr txBox="1"/>
          <p:nvPr/>
        </p:nvSpPr>
        <p:spPr>
          <a:xfrm>
            <a:off x="8460434" y="532656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4" name="Number14" hidden="1"/>
          <p:cNvSpPr txBox="1"/>
          <p:nvPr/>
        </p:nvSpPr>
        <p:spPr>
          <a:xfrm>
            <a:off x="8460434" y="5674874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5" name="Number15" hidden="1"/>
          <p:cNvSpPr txBox="1"/>
          <p:nvPr/>
        </p:nvSpPr>
        <p:spPr>
          <a:xfrm>
            <a:off x="8460434" y="6023188"/>
            <a:ext cx="383530" cy="293721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200" dirty="0" smtClean="0">
                <a:solidFill>
                  <a:srgbClr val="706F6F"/>
                </a:solidFill>
              </a:rPr>
              <a:t>1</a:t>
            </a:r>
          </a:p>
        </p:txBody>
      </p:sp>
      <p:sp>
        <p:nvSpPr>
          <p:cNvPr id="66" name="Rectangle 6"/>
          <p:cNvSpPr/>
          <p:nvPr/>
        </p:nvSpPr>
        <p:spPr>
          <a:xfrm>
            <a:off x="9144000" y="5252134"/>
            <a:ext cx="2082800" cy="1675373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>
              <a:buClr>
                <a:srgbClr val="004077"/>
              </a:buClr>
              <a:buSzPct val="90000"/>
              <a:buFont typeface="Wingdings" pitchFamily="2" charset="2"/>
              <a:buNone/>
              <a:defRPr/>
            </a:pPr>
            <a:r>
              <a:rPr lang="ru-RU" sz="1000" smtClean="0">
                <a:solidFill>
                  <a:srgbClr val="3C3C3C"/>
                </a:solidFill>
              </a:rPr>
              <a:t>Для отображения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колонтитула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Gazprom Neft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убедитесь, что выбран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его русскоязычный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вариант (Газпром нефть)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и нажмите на кнопку </a:t>
            </a:r>
            <a:r>
              <a:rPr lang="en-US" sz="1000" smtClean="0">
                <a:solidFill>
                  <a:srgbClr val="3C3C3C"/>
                </a:solidFill>
              </a:rPr>
              <a:t/>
            </a:r>
            <a:br>
              <a:rPr lang="en-US" sz="1000" smtClean="0">
                <a:solidFill>
                  <a:srgbClr val="3C3C3C"/>
                </a:solidFill>
              </a:rPr>
            </a:br>
            <a:r>
              <a:rPr lang="ru-RU" sz="1000" smtClean="0">
                <a:solidFill>
                  <a:srgbClr val="3C3C3C"/>
                </a:solidFill>
              </a:rPr>
              <a:t>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32272749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5.xml"/><Relationship Id="rId18" Type="http://schemas.openxmlformats.org/officeDocument/2006/relationships/slideLayout" Target="../slideLayouts/slideLayout60.xml"/><Relationship Id="rId26" Type="http://schemas.openxmlformats.org/officeDocument/2006/relationships/slideLayout" Target="../slideLayouts/slideLayout68.xml"/><Relationship Id="rId39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63.xml"/><Relationship Id="rId34" Type="http://schemas.openxmlformats.org/officeDocument/2006/relationships/slideLayout" Target="../slideLayouts/slideLayout76.xml"/><Relationship Id="rId42" Type="http://schemas.openxmlformats.org/officeDocument/2006/relationships/slideLayout" Target="../slideLayouts/slideLayout84.xml"/><Relationship Id="rId47" Type="http://schemas.openxmlformats.org/officeDocument/2006/relationships/slideLayout" Target="../slideLayouts/slideLayout89.xml"/><Relationship Id="rId50" Type="http://schemas.openxmlformats.org/officeDocument/2006/relationships/slideLayout" Target="../slideLayouts/slideLayout92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6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53.xml"/><Relationship Id="rId24" Type="http://schemas.openxmlformats.org/officeDocument/2006/relationships/slideLayout" Target="../slideLayouts/slideLayout66.xml"/><Relationship Id="rId32" Type="http://schemas.openxmlformats.org/officeDocument/2006/relationships/slideLayout" Target="../slideLayouts/slideLayout74.xml"/><Relationship Id="rId37" Type="http://schemas.openxmlformats.org/officeDocument/2006/relationships/slideLayout" Target="../slideLayouts/slideLayout79.xml"/><Relationship Id="rId40" Type="http://schemas.openxmlformats.org/officeDocument/2006/relationships/slideLayout" Target="../slideLayouts/slideLayout82.xml"/><Relationship Id="rId45" Type="http://schemas.openxmlformats.org/officeDocument/2006/relationships/slideLayout" Target="../slideLayouts/slideLayout87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52.xml"/><Relationship Id="rId19" Type="http://schemas.openxmlformats.org/officeDocument/2006/relationships/slideLayout" Target="../slideLayouts/slideLayout61.xml"/><Relationship Id="rId31" Type="http://schemas.openxmlformats.org/officeDocument/2006/relationships/slideLayout" Target="../slideLayouts/slideLayout73.xml"/><Relationship Id="rId44" Type="http://schemas.openxmlformats.org/officeDocument/2006/relationships/slideLayout" Target="../slideLayouts/slideLayout86.xml"/><Relationship Id="rId52" Type="http://schemas.openxmlformats.org/officeDocument/2006/relationships/slideLayout" Target="../slideLayouts/slideLayout94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Relationship Id="rId14" Type="http://schemas.openxmlformats.org/officeDocument/2006/relationships/slideLayout" Target="../slideLayouts/slideLayout56.xml"/><Relationship Id="rId22" Type="http://schemas.openxmlformats.org/officeDocument/2006/relationships/slideLayout" Target="../slideLayouts/slideLayout64.xml"/><Relationship Id="rId27" Type="http://schemas.openxmlformats.org/officeDocument/2006/relationships/slideLayout" Target="../slideLayouts/slideLayout69.xml"/><Relationship Id="rId30" Type="http://schemas.openxmlformats.org/officeDocument/2006/relationships/slideLayout" Target="../slideLayouts/slideLayout72.xml"/><Relationship Id="rId35" Type="http://schemas.openxmlformats.org/officeDocument/2006/relationships/slideLayout" Target="../slideLayouts/slideLayout77.xml"/><Relationship Id="rId43" Type="http://schemas.openxmlformats.org/officeDocument/2006/relationships/slideLayout" Target="../slideLayouts/slideLayout85.xml"/><Relationship Id="rId48" Type="http://schemas.openxmlformats.org/officeDocument/2006/relationships/slideLayout" Target="../slideLayouts/slideLayout90.xml"/><Relationship Id="rId8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93.xml"/><Relationship Id="rId3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4.xml"/><Relationship Id="rId17" Type="http://schemas.openxmlformats.org/officeDocument/2006/relationships/slideLayout" Target="../slideLayouts/slideLayout59.xml"/><Relationship Id="rId25" Type="http://schemas.openxmlformats.org/officeDocument/2006/relationships/slideLayout" Target="../slideLayouts/slideLayout67.xml"/><Relationship Id="rId33" Type="http://schemas.openxmlformats.org/officeDocument/2006/relationships/slideLayout" Target="../slideLayouts/slideLayout75.xml"/><Relationship Id="rId38" Type="http://schemas.openxmlformats.org/officeDocument/2006/relationships/slideLayout" Target="../slideLayouts/slideLayout80.xml"/><Relationship Id="rId46" Type="http://schemas.openxmlformats.org/officeDocument/2006/relationships/slideLayout" Target="../slideLayouts/slideLayout88.xml"/><Relationship Id="rId20" Type="http://schemas.openxmlformats.org/officeDocument/2006/relationships/slideLayout" Target="../slideLayouts/slideLayout62.xml"/><Relationship Id="rId41" Type="http://schemas.openxmlformats.org/officeDocument/2006/relationships/slideLayout" Target="../slideLayouts/slideLayout83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5" Type="http://schemas.openxmlformats.org/officeDocument/2006/relationships/slideLayout" Target="../slideLayouts/slideLayout57.xml"/><Relationship Id="rId23" Type="http://schemas.openxmlformats.org/officeDocument/2006/relationships/slideLayout" Target="../slideLayouts/slideLayout65.xml"/><Relationship Id="rId28" Type="http://schemas.openxmlformats.org/officeDocument/2006/relationships/slideLayout" Target="../slideLayouts/slideLayout70.xml"/><Relationship Id="rId36" Type="http://schemas.openxmlformats.org/officeDocument/2006/relationships/slideLayout" Target="../slideLayouts/slideLayout78.xml"/><Relationship Id="rId49" Type="http://schemas.openxmlformats.org/officeDocument/2006/relationships/slideLayout" Target="../slideLayouts/slideLayout9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.xml"/><Relationship Id="rId18" Type="http://schemas.openxmlformats.org/officeDocument/2006/relationships/slideLayout" Target="../slideLayouts/slideLayout112.xml"/><Relationship Id="rId26" Type="http://schemas.openxmlformats.org/officeDocument/2006/relationships/slideLayout" Target="../slideLayouts/slideLayout120.xml"/><Relationship Id="rId39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15.xml"/><Relationship Id="rId34" Type="http://schemas.openxmlformats.org/officeDocument/2006/relationships/slideLayout" Target="../slideLayouts/slideLayout128.xml"/><Relationship Id="rId42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0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20" Type="http://schemas.openxmlformats.org/officeDocument/2006/relationships/slideLayout" Target="../slideLayouts/slideLayout114.xml"/><Relationship Id="rId29" Type="http://schemas.openxmlformats.org/officeDocument/2006/relationships/slideLayout" Target="../slideLayouts/slideLayout123.xml"/><Relationship Id="rId41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24" Type="http://schemas.openxmlformats.org/officeDocument/2006/relationships/slideLayout" Target="../slideLayouts/slideLayout118.xml"/><Relationship Id="rId32" Type="http://schemas.openxmlformats.org/officeDocument/2006/relationships/slideLayout" Target="../slideLayouts/slideLayout126.xml"/><Relationship Id="rId37" Type="http://schemas.openxmlformats.org/officeDocument/2006/relationships/slideLayout" Target="../slideLayouts/slideLayout131.xml"/><Relationship Id="rId40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23" Type="http://schemas.openxmlformats.org/officeDocument/2006/relationships/slideLayout" Target="../slideLayouts/slideLayout117.xml"/><Relationship Id="rId28" Type="http://schemas.openxmlformats.org/officeDocument/2006/relationships/slideLayout" Target="../slideLayouts/slideLayout122.xml"/><Relationship Id="rId36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04.xml"/><Relationship Id="rId19" Type="http://schemas.openxmlformats.org/officeDocument/2006/relationships/slideLayout" Target="../slideLayouts/slideLayout113.xml"/><Relationship Id="rId31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Relationship Id="rId22" Type="http://schemas.openxmlformats.org/officeDocument/2006/relationships/slideLayout" Target="../slideLayouts/slideLayout116.xml"/><Relationship Id="rId27" Type="http://schemas.openxmlformats.org/officeDocument/2006/relationships/slideLayout" Target="../slideLayouts/slideLayout121.xml"/><Relationship Id="rId30" Type="http://schemas.openxmlformats.org/officeDocument/2006/relationships/slideLayout" Target="../slideLayouts/slideLayout124.xml"/><Relationship Id="rId35" Type="http://schemas.openxmlformats.org/officeDocument/2006/relationships/slideLayout" Target="../slideLayouts/slideLayout129.xml"/><Relationship Id="rId43" Type="http://schemas.openxmlformats.org/officeDocument/2006/relationships/theme" Target="../theme/theme3.xml"/><Relationship Id="rId8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5" Type="http://schemas.openxmlformats.org/officeDocument/2006/relationships/slideLayout" Target="../slideLayouts/slideLayout119.xml"/><Relationship Id="rId33" Type="http://schemas.openxmlformats.org/officeDocument/2006/relationships/slideLayout" Target="../slideLayouts/slideLayout127.xml"/><Relationship Id="rId38" Type="http://schemas.openxmlformats.org/officeDocument/2006/relationships/slideLayout" Target="../slideLayouts/slideLayout1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4"/>
            <a:ext cx="8560316" cy="50609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97656" y="1042103"/>
            <a:ext cx="8559007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566352" y="6522318"/>
            <a:ext cx="0" cy="144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633636" y="6469798"/>
            <a:ext cx="510363" cy="173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6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13" name="LogoRus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6096" y="6465926"/>
            <a:ext cx="3096717" cy="246867"/>
          </a:xfrm>
          <a:prstGeom prst="rect">
            <a:avLst/>
          </a:prstGeom>
        </p:spPr>
        <p:txBody>
          <a:bodyPr vert="horz" lIns="0" tIns="0" rIns="0" bIns="0" rtlCol="0" anchor="ctr">
            <a:normAutofit fontScale="85000" lnSpcReduction="10000"/>
          </a:bodyPr>
          <a:lstStyle/>
          <a:p>
            <a:pPr lvl="0" algn="r"/>
            <a:r>
              <a:rPr lang="ru-RU" sz="1600" noProof="0" smtClean="0">
                <a:solidFill>
                  <a:schemeClr val="bg2"/>
                </a:solidFill>
              </a:rPr>
              <a:t>Газпромнефть-Битумные материалы</a:t>
            </a:r>
            <a:endParaRPr lang="ru-RU" sz="16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8896" y="6440488"/>
            <a:ext cx="5137200" cy="252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pPr lvl="0"/>
            <a:endParaRPr lang="ru-RU" sz="16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265113" marR="0" indent="-265113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66700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fld id="{AF528B6D-1001-487C-8FFE-85B114390330}" type="slidenum">
              <a:rPr lang="ru-RU" sz="1000" b="1" smtClean="0">
                <a:solidFill>
                  <a:srgbClr val="3C3C3C"/>
                </a:solidFill>
              </a:rPr>
              <a:pPr/>
              <a:t>‹#›</a:t>
            </a:fld>
            <a:endParaRPr lang="ru-RU" sz="1000" b="1" dirty="0">
              <a:solidFill>
                <a:srgbClr val="3C3C3C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algn="r"/>
            <a:r>
              <a:rPr lang="ru-RU" sz="10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0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endParaRPr lang="ru-RU" sz="1000" dirty="0" smtClean="0">
              <a:solidFill>
                <a:srgbClr val="706F6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8007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8" r:id="rId1"/>
    <p:sldLayoutId id="2147484709" r:id="rId2"/>
    <p:sldLayoutId id="2147484710" r:id="rId3"/>
    <p:sldLayoutId id="2147484711" r:id="rId4"/>
    <p:sldLayoutId id="2147484712" r:id="rId5"/>
    <p:sldLayoutId id="2147484713" r:id="rId6"/>
    <p:sldLayoutId id="2147484714" r:id="rId7"/>
    <p:sldLayoutId id="2147484715" r:id="rId8"/>
    <p:sldLayoutId id="2147484716" r:id="rId9"/>
    <p:sldLayoutId id="2147484717" r:id="rId10"/>
    <p:sldLayoutId id="2147484718" r:id="rId11"/>
    <p:sldLayoutId id="2147484719" r:id="rId12"/>
    <p:sldLayoutId id="2147484720" r:id="rId13"/>
    <p:sldLayoutId id="2147484721" r:id="rId14"/>
    <p:sldLayoutId id="2147484722" r:id="rId15"/>
    <p:sldLayoutId id="2147484723" r:id="rId16"/>
    <p:sldLayoutId id="2147484724" r:id="rId17"/>
    <p:sldLayoutId id="2147484725" r:id="rId18"/>
    <p:sldLayoutId id="2147484726" r:id="rId19"/>
    <p:sldLayoutId id="2147484727" r:id="rId20"/>
    <p:sldLayoutId id="2147484728" r:id="rId21"/>
    <p:sldLayoutId id="2147484729" r:id="rId22"/>
    <p:sldLayoutId id="2147484730" r:id="rId23"/>
    <p:sldLayoutId id="2147484731" r:id="rId24"/>
    <p:sldLayoutId id="2147484732" r:id="rId25"/>
    <p:sldLayoutId id="2147484733" r:id="rId26"/>
    <p:sldLayoutId id="2147484735" r:id="rId27"/>
    <p:sldLayoutId id="2147484737" r:id="rId28"/>
    <p:sldLayoutId id="2147484738" r:id="rId29"/>
    <p:sldLayoutId id="2147484739" r:id="rId30"/>
    <p:sldLayoutId id="2147484740" r:id="rId31"/>
    <p:sldLayoutId id="2147484741" r:id="rId32"/>
    <p:sldLayoutId id="2147484742" r:id="rId33"/>
    <p:sldLayoutId id="2147484743" r:id="rId34"/>
    <p:sldLayoutId id="2147484744" r:id="rId35"/>
    <p:sldLayoutId id="2147484745" r:id="rId36"/>
    <p:sldLayoutId id="2147484746" r:id="rId37"/>
    <p:sldLayoutId id="2147484747" r:id="rId38"/>
    <p:sldLayoutId id="2147484748" r:id="rId39"/>
    <p:sldLayoutId id="2147484749" r:id="rId40"/>
    <p:sldLayoutId id="2147484750" r:id="rId41"/>
    <p:sldLayoutId id="2147484751" r:id="rId42"/>
    <p:sldLayoutId id="2147484752" r:id="rId43"/>
    <p:sldLayoutId id="2147484753" r:id="rId44"/>
    <p:sldLayoutId id="2147484754" r:id="rId45"/>
    <p:sldLayoutId id="2147484755" r:id="rId46"/>
    <p:sldLayoutId id="2147484756" r:id="rId47"/>
    <p:sldLayoutId id="2147484757" r:id="rId48"/>
    <p:sldLayoutId id="2147484758" r:id="rId49"/>
    <p:sldLayoutId id="2147484759" r:id="rId50"/>
    <p:sldLayoutId id="2147484760" r:id="rId51"/>
    <p:sldLayoutId id="2147484761" r:id="rId52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16417"/>
            <a:ext cx="8560318" cy="81703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40" y="1028700"/>
            <a:ext cx="8562975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19093" y="6537977"/>
            <a:ext cx="0" cy="162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Номер слайда 6"/>
          <p:cNvSpPr txBox="1">
            <a:spLocks/>
          </p:cNvSpPr>
          <p:nvPr/>
        </p:nvSpPr>
        <p:spPr>
          <a:xfrm>
            <a:off x="8691683" y="6435887"/>
            <a:ext cx="286452" cy="366183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ru-RU"/>
            </a:defPPr>
            <a:lvl1pPr marL="0" algn="ctr" defTabSz="914400" rtl="0" eaLnBrk="1" latinLnBrk="0" hangingPunct="1"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6D4D90C7-0DE4-4807-AB13-9779079C5075}" type="slidenum">
              <a:rPr lang="ru-RU" sz="1000" smtClean="0">
                <a:solidFill>
                  <a:srgbClr val="3C3C3C"/>
                </a:solidFill>
              </a:rPr>
              <a:pPr algn="l"/>
              <a:t>‹#›</a:t>
            </a:fld>
            <a:endParaRPr lang="ru-RU" sz="1000" dirty="0">
              <a:solidFill>
                <a:srgbClr val="3C3C3C"/>
              </a:solidFill>
            </a:endParaRPr>
          </a:p>
        </p:txBody>
      </p:sp>
      <p:sp>
        <p:nvSpPr>
          <p:cNvPr id="15" name="LogoRus"/>
          <p:cNvSpPr txBox="1">
            <a:spLocks/>
          </p:cNvSpPr>
          <p:nvPr/>
        </p:nvSpPr>
        <p:spPr>
          <a:xfrm>
            <a:off x="5292813" y="6464117"/>
            <a:ext cx="3240000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21" name="Текст 2"/>
          <p:cNvSpPr>
            <a:spLocks noGrp="1"/>
          </p:cNvSpPr>
          <p:nvPr>
            <p:ph type="body" idx="1"/>
          </p:nvPr>
        </p:nvSpPr>
        <p:spPr>
          <a:xfrm>
            <a:off x="287341" y="1267885"/>
            <a:ext cx="8569325" cy="50418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1" name="LogoEng" hidden="1"/>
          <p:cNvSpPr txBox="1">
            <a:spLocks/>
          </p:cNvSpPr>
          <p:nvPr/>
        </p:nvSpPr>
        <p:spPr>
          <a:xfrm>
            <a:off x="5292813" y="6464117"/>
            <a:ext cx="3240000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600" kern="120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smtClean="0">
                <a:solidFill>
                  <a:srgbClr val="706F6F"/>
                </a:solidFill>
              </a:rPr>
              <a:t>Газпромнефть-Битумные материалы</a:t>
            </a:r>
            <a:endParaRPr lang="ru-RU" sz="1200" dirty="0">
              <a:solidFill>
                <a:srgbClr val="706F6F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87338" y="6464117"/>
            <a:ext cx="5040002" cy="288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endParaRPr lang="ru-RU" sz="1000" dirty="0" smtClean="0">
              <a:solidFill>
                <a:srgbClr val="3C3C3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825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58" r:id="rId1"/>
    <p:sldLayoutId id="2147484859" r:id="rId2"/>
    <p:sldLayoutId id="2147484860" r:id="rId3"/>
    <p:sldLayoutId id="2147484861" r:id="rId4"/>
    <p:sldLayoutId id="2147484862" r:id="rId5"/>
    <p:sldLayoutId id="2147484863" r:id="rId6"/>
    <p:sldLayoutId id="2147484864" r:id="rId7"/>
    <p:sldLayoutId id="2147484865" r:id="rId8"/>
    <p:sldLayoutId id="2147484866" r:id="rId9"/>
    <p:sldLayoutId id="2147484867" r:id="rId10"/>
    <p:sldLayoutId id="2147484868" r:id="rId11"/>
    <p:sldLayoutId id="2147484869" r:id="rId12"/>
    <p:sldLayoutId id="2147484870" r:id="rId13"/>
    <p:sldLayoutId id="2147484871" r:id="rId14"/>
    <p:sldLayoutId id="2147484872" r:id="rId15"/>
    <p:sldLayoutId id="2147484873" r:id="rId16"/>
    <p:sldLayoutId id="2147484874" r:id="rId17"/>
    <p:sldLayoutId id="2147484875" r:id="rId18"/>
    <p:sldLayoutId id="2147484876" r:id="rId19"/>
    <p:sldLayoutId id="2147484877" r:id="rId20"/>
    <p:sldLayoutId id="2147484878" r:id="rId21"/>
    <p:sldLayoutId id="2147484879" r:id="rId22"/>
    <p:sldLayoutId id="2147484880" r:id="rId23"/>
    <p:sldLayoutId id="2147484881" r:id="rId24"/>
    <p:sldLayoutId id="2147484882" r:id="rId25"/>
    <p:sldLayoutId id="2147484883" r:id="rId26"/>
    <p:sldLayoutId id="2147484884" r:id="rId27"/>
    <p:sldLayoutId id="2147484885" r:id="rId28"/>
    <p:sldLayoutId id="2147484886" r:id="rId29"/>
    <p:sldLayoutId id="2147484887" r:id="rId30"/>
    <p:sldLayoutId id="2147484888" r:id="rId31"/>
    <p:sldLayoutId id="2147484889" r:id="rId32"/>
    <p:sldLayoutId id="2147484890" r:id="rId33"/>
    <p:sldLayoutId id="2147484891" r:id="rId34"/>
    <p:sldLayoutId id="2147484892" r:id="rId35"/>
    <p:sldLayoutId id="2147484893" r:id="rId36"/>
    <p:sldLayoutId id="2147484894" r:id="rId37"/>
    <p:sldLayoutId id="2147484895" r:id="rId38"/>
    <p:sldLayoutId id="2147484896" r:id="rId39"/>
    <p:sldLayoutId id="2147484897" r:id="rId40"/>
    <p:sldLayoutId id="2147484898" r:id="rId41"/>
    <p:sldLayoutId id="2147484899" r:id="rId4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tabLst/>
        <a:defRPr lang="ru-RU" sz="2400" b="1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269875" marR="0" indent="-269875" algn="l" defTabSz="9144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lang="ru-RU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541338" indent="-271463" algn="l" defTabSz="914400" rtl="0" eaLnBrk="1" latinLnBrk="0" hangingPunct="1">
        <a:spcBef>
          <a:spcPts val="300"/>
        </a:spcBef>
        <a:buClr>
          <a:schemeClr val="accent3"/>
        </a:buClr>
        <a:buFont typeface="Wingdings" pitchFamily="2" charset="2"/>
        <a:buChar char="§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Korotkov.AV@gazprom-neft.ru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.xml"/><Relationship Id="rId7" Type="http://schemas.openxmlformats.org/officeDocument/2006/relationships/oleObject" Target="../embeddings/oleObject1.bin"/><Relationship Id="rId2" Type="http://schemas.openxmlformats.org/officeDocument/2006/relationships/tags" Target="../tags/tag5.xml"/><Relationship Id="rId1" Type="http://schemas.openxmlformats.org/officeDocument/2006/relationships/vmlDrawing" Target="../drawings/vmlDrawing1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8.xml"/><Relationship Id="rId10" Type="http://schemas.microsoft.com/office/2007/relationships/hdphoto" Target="../media/hdphoto1.wdp"/><Relationship Id="rId4" Type="http://schemas.openxmlformats.org/officeDocument/2006/relationships/tags" Target="../tags/tag7.xml"/><Relationship Id="rId9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image" Target="../media/image5.jpeg"/><Relationship Id="rId5" Type="http://schemas.openxmlformats.org/officeDocument/2006/relationships/tags" Target="../tags/tag12.xml"/><Relationship Id="rId10" Type="http://schemas.openxmlformats.org/officeDocument/2006/relationships/image" Target="../media/image3.emf"/><Relationship Id="rId4" Type="http://schemas.openxmlformats.org/officeDocument/2006/relationships/tags" Target="../tags/tag11.xml"/><Relationship Id="rId9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9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image" Target="../media/image12.jpeg"/><Relationship Id="rId18" Type="http://schemas.microsoft.com/office/2007/relationships/hdphoto" Target="../media/hdphoto3.wdp"/><Relationship Id="rId3" Type="http://schemas.openxmlformats.org/officeDocument/2006/relationships/tags" Target="../tags/tag26.xml"/><Relationship Id="rId7" Type="http://schemas.openxmlformats.org/officeDocument/2006/relationships/tags" Target="../tags/tag30.xml"/><Relationship Id="rId12" Type="http://schemas.openxmlformats.org/officeDocument/2006/relationships/image" Target="../media/image11.png"/><Relationship Id="rId17" Type="http://schemas.openxmlformats.org/officeDocument/2006/relationships/image" Target="../media/image15.png"/><Relationship Id="rId2" Type="http://schemas.openxmlformats.org/officeDocument/2006/relationships/tags" Target="../tags/tag25.xml"/><Relationship Id="rId16" Type="http://schemas.openxmlformats.org/officeDocument/2006/relationships/image" Target="../media/image14.jpg"/><Relationship Id="rId20" Type="http://schemas.microsoft.com/office/2007/relationships/hdphoto" Target="../media/hdphoto4.wdp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slideLayout" Target="../slideLayouts/slideLayout44.xml"/><Relationship Id="rId5" Type="http://schemas.openxmlformats.org/officeDocument/2006/relationships/tags" Target="../tags/tag28.xml"/><Relationship Id="rId15" Type="http://schemas.openxmlformats.org/officeDocument/2006/relationships/image" Target="../media/image13.jpg"/><Relationship Id="rId10" Type="http://schemas.openxmlformats.org/officeDocument/2006/relationships/tags" Target="../tags/tag33.xml"/><Relationship Id="rId19" Type="http://schemas.openxmlformats.org/officeDocument/2006/relationships/image" Target="../media/image16.jpeg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microsoft.com/office/2007/relationships/hdphoto" Target="../media/hdphoto2.wdp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itl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nterprise"/>
          <p:cNvSpPr>
            <a:spLocks noGrp="1"/>
          </p:cNvSpPr>
          <p:nvPr>
            <p:ph type="subTitle" idx="1"/>
            <p:custDataLst>
              <p:tags r:id="rId1"/>
            </p:custDataLst>
          </p:nvPr>
        </p:nvSpPr>
        <p:spPr>
          <a:xfrm>
            <a:off x="287338" y="5445124"/>
            <a:ext cx="4140646" cy="216000"/>
          </a:xfrm>
        </p:spPr>
        <p:txBody>
          <a:bodyPr/>
          <a:lstStyle/>
          <a:p>
            <a:r>
              <a:rPr lang="ru-RU" dirty="0" smtClean="0"/>
              <a:t>ООО «Газпромнефть-Битумные материалы»</a:t>
            </a:r>
            <a:endParaRPr lang="ru-RU" dirty="0"/>
          </a:p>
        </p:txBody>
      </p:sp>
      <p:sp>
        <p:nvSpPr>
          <p:cNvPr id="8" name="Unit"/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>
          <a:xfrm>
            <a:off x="287338" y="5673039"/>
            <a:ext cx="4140000" cy="215444"/>
          </a:xfrm>
        </p:spPr>
        <p:txBody>
          <a:bodyPr/>
          <a:lstStyle/>
          <a:p>
            <a:endParaRPr lang="ru-RU" dirty="0">
              <a:solidFill>
                <a:srgbClr val="FFFFFF"/>
              </a:solidFill>
            </a:endParaRPr>
          </a:p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9" name="Author"/>
          <p:cNvSpPr>
            <a:spLocks noGrp="1"/>
          </p:cNvSpPr>
          <p:nvPr>
            <p:ph type="body" sz="quarter" idx="11"/>
            <p:custDataLst>
              <p:tags r:id="rId3"/>
            </p:custDataLst>
          </p:nvPr>
        </p:nvSpPr>
        <p:spPr>
          <a:xfrm>
            <a:off x="287338" y="5900398"/>
            <a:ext cx="4140000" cy="215444"/>
          </a:xfrm>
        </p:spPr>
        <p:txBody>
          <a:bodyPr>
            <a:noAutofit/>
          </a:bodyPr>
          <a:lstStyle/>
          <a:p>
            <a:r>
              <a:rPr lang="ru-RU" dirty="0" smtClean="0"/>
              <a:t>Коротков Алексей Викторович</a:t>
            </a:r>
          </a:p>
          <a:p>
            <a:endParaRPr lang="ru-RU" dirty="0"/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01.12.2016 г. Москва   </a:t>
            </a: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4572000" y="3608388"/>
            <a:ext cx="4284663" cy="2160587"/>
          </a:xfrm>
        </p:spPr>
        <p:txBody>
          <a:bodyPr/>
          <a:lstStyle/>
          <a:p>
            <a:r>
              <a:rPr lang="ru-RU" b="1" dirty="0" smtClean="0"/>
              <a:t>Выпуск в обращение современных битумных материалов на активах Компани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657556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 name="TemplateSlid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999048993"/>
              </p:ext>
            </p:extLst>
          </p:nvPr>
        </p:nvGraphicFramePr>
        <p:xfrm>
          <a:off x="296863" y="1268413"/>
          <a:ext cx="8559800" cy="38479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559800"/>
              </a:tblGrid>
              <a:tr h="589980"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chemeClr val="tx1"/>
                          </a:solidFill>
                        </a:rPr>
                        <a:t>ООО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</a:rPr>
                        <a:t> «</a:t>
                      </a:r>
                      <a:r>
                        <a:rPr lang="ru-RU" sz="2000" b="1" baseline="0" dirty="0" err="1" smtClean="0">
                          <a:solidFill>
                            <a:schemeClr val="tx1"/>
                          </a:solidFill>
                        </a:rPr>
                        <a:t>Газпромнефть</a:t>
                      </a:r>
                      <a:r>
                        <a:rPr lang="ru-RU" sz="2000" b="1" baseline="0" dirty="0" smtClean="0">
                          <a:solidFill>
                            <a:schemeClr val="tx1"/>
                          </a:solidFill>
                        </a:rPr>
                        <a:t>-Битумные материалы»</a:t>
                      </a:r>
                      <a:endParaRPr lang="ru-RU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180000" marB="108000"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13248">
                <a:tc>
                  <a:txBody>
                    <a:bodyPr/>
                    <a:lstStyle/>
                    <a:p>
                      <a:r>
                        <a:rPr lang="ru-RU" sz="2000" b="1" u="none" strike="noStrike" kern="1200" baseline="0" dirty="0" smtClean="0">
                          <a:solidFill>
                            <a:schemeClr val="tx1"/>
                          </a:solidFill>
                        </a:rPr>
                        <a:t>Алексей Коротков (</a:t>
                      </a:r>
                      <a:r>
                        <a:rPr lang="ru-RU" sz="2000" b="0" u="none" strike="noStrike" kern="1200" baseline="0" dirty="0" smtClean="0">
                          <a:solidFill>
                            <a:schemeClr val="tx1"/>
                          </a:solidFill>
                        </a:rPr>
                        <a:t>812) 493-25-66, доб. 7330</a:t>
                      </a:r>
                      <a:r>
                        <a:rPr lang="ru-RU" sz="2000" u="none" strike="noStrike" kern="1200" baseline="0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lang="ru-RU" sz="2000" u="none" strike="noStrike" kern="1200" baseline="0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lang="ru-RU" sz="2000" u="none" strike="noStrike" kern="1200" baseline="0" dirty="0" smtClean="0">
                          <a:solidFill>
                            <a:schemeClr val="bg2"/>
                          </a:solidFill>
                        </a:rPr>
                        <a:t>Начальник управления разработки технологий и контроля качества</a:t>
                      </a:r>
                      <a:br>
                        <a:rPr lang="ru-RU" sz="2000" u="none" strike="noStrike" kern="1200" baseline="0" dirty="0" smtClean="0">
                          <a:solidFill>
                            <a:schemeClr val="bg2"/>
                          </a:solidFill>
                        </a:rPr>
                      </a:br>
                      <a:r>
                        <a:rPr lang="en-US" sz="2000" u="none" strike="noStrike" kern="1200" baseline="0" dirty="0" smtClean="0">
                          <a:solidFill>
                            <a:schemeClr val="tx1"/>
                          </a:solidFill>
                          <a:hlinkClick r:id="rId2"/>
                        </a:rPr>
                        <a:t>Korotkov.AV@gazprom-neft.ru</a:t>
                      </a:r>
                      <a:endParaRPr lang="en-US" sz="2000" u="none" strike="noStrike" kern="1200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sz="20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108000"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747967">
                <a:tc>
                  <a:txBody>
                    <a:bodyPr/>
                    <a:lstStyle/>
                    <a:p>
                      <a:endParaRPr lang="ru-RU" sz="2000" b="0" i="0" u="none" strike="noStrike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80000" marB="108000"/>
                </a:tc>
              </a:tr>
            </a:tbl>
          </a:graphicData>
        </a:graphic>
      </p:graphicFrame>
      <p:sp>
        <p:nvSpPr>
          <p:cNvPr id="6" name="TitleSlide"/>
          <p:cNvSpPr>
            <a:spLocks noGrp="1"/>
          </p:cNvSpPr>
          <p:nvPr>
            <p:ph type="title"/>
          </p:nvPr>
        </p:nvSpPr>
        <p:spPr>
          <a:xfrm>
            <a:off x="287338" y="260350"/>
            <a:ext cx="8569326" cy="605514"/>
          </a:xfrm>
        </p:spPr>
        <p:txBody>
          <a:bodyPr/>
          <a:lstStyle/>
          <a:p>
            <a:r>
              <a:rPr lang="ru-RU" dirty="0" smtClean="0"/>
              <a:t>Контакт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4469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Объект 3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2123073"/>
              </p:ext>
            </p:extLst>
          </p:nvPr>
        </p:nvGraphicFramePr>
        <p:xfrm>
          <a:off x="0" y="0"/>
          <a:ext cx="158750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211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4" name="Объект 33"/>
          <p:cNvPicPr>
            <a:picLocks noGrp="1" noChangeAspect="1"/>
          </p:cNvPicPr>
          <p:nvPr>
            <p:ph sz="quarter" idx="4294967295"/>
            <p:custDataLst>
              <p:tags r:id="rId3"/>
            </p:custDataLst>
          </p:nvPr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colorTemperature colorTemp="1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23535" b="7899"/>
          <a:stretch/>
        </p:blipFill>
        <p:spPr>
          <a:xfrm>
            <a:off x="287338" y="1267885"/>
            <a:ext cx="8569325" cy="5041900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7338" y="116420"/>
            <a:ext cx="8562975" cy="817033"/>
          </a:xfrm>
        </p:spPr>
        <p:txBody>
          <a:bodyPr/>
          <a:lstStyle/>
          <a:p>
            <a:r>
              <a:rPr lang="ru-RU" sz="2400" dirty="0" smtClean="0"/>
              <a:t>Глобальное изменение подхода к битумным вяжущим</a:t>
            </a:r>
            <a:endParaRPr lang="ru-RU" sz="2400" dirty="0"/>
          </a:p>
        </p:txBody>
      </p:sp>
      <p:sp>
        <p:nvSpPr>
          <p:cNvPr id="32" name="TextBox 31"/>
          <p:cNvSpPr txBox="1"/>
          <p:nvPr>
            <p:custDataLst>
              <p:tags r:id="rId5"/>
            </p:custDataLst>
          </p:nvPr>
        </p:nvSpPr>
        <p:spPr>
          <a:xfrm>
            <a:off x="287338" y="5049180"/>
            <a:ext cx="8569325" cy="1272143"/>
          </a:xfrm>
          <a:prstGeom prst="rect">
            <a:avLst/>
          </a:prstGeom>
          <a:solidFill>
            <a:schemeClr val="accent1">
              <a:alpha val="5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lnSpc>
                <a:spcPts val="2300"/>
              </a:lnSpc>
            </a:pPr>
            <a:r>
              <a:rPr lang="ru-RU" sz="2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трасль производства битумов изменилась!                                 Из продукта «отходов» нефтепереработки современный битум превратился в </a:t>
            </a:r>
            <a:r>
              <a:rPr lang="ru-RU" sz="2200" b="1" dirty="0" smtClean="0">
                <a:solidFill>
                  <a:schemeClr val="accent6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ысокотехнологичный продукт                                                  с высокой потребительской ценностью</a:t>
            </a:r>
          </a:p>
        </p:txBody>
      </p:sp>
    </p:spTree>
    <p:extLst>
      <p:ext uri="{BB962C8B-B14F-4D97-AF65-F5344CB8AC3E}">
        <p14:creationId xmlns:p14="http://schemas.microsoft.com/office/powerpoint/2010/main" val="3292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657057"/>
              </p:ext>
            </p:extLst>
          </p:nvPr>
        </p:nvGraphicFramePr>
        <p:xfrm>
          <a:off x="0" y="0"/>
          <a:ext cx="158750" cy="2116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2116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87338" y="116422"/>
            <a:ext cx="8562975" cy="817033"/>
          </a:xfrm>
        </p:spPr>
        <p:txBody>
          <a:bodyPr/>
          <a:lstStyle/>
          <a:p>
            <a:r>
              <a:rPr lang="ru-RU" sz="2400" dirty="0"/>
              <a:t>Открытие </a:t>
            </a:r>
            <a:r>
              <a:rPr lang="ru-RU" sz="2400" dirty="0" smtClean="0"/>
              <a:t>в 2016 </a:t>
            </a:r>
            <a:r>
              <a:rPr lang="ru-RU" sz="2400" dirty="0"/>
              <a:t>г. НИЦ по битумным материалам</a:t>
            </a:r>
          </a:p>
        </p:txBody>
      </p:sp>
      <p:sp>
        <p:nvSpPr>
          <p:cNvPr id="5" name="Объект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113744" y="1270493"/>
            <a:ext cx="2898416" cy="3166619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lIns="0" rIns="72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00"/>
              </a:lnSpc>
              <a:buClr>
                <a:srgbClr val="004077"/>
              </a:buClr>
            </a:pPr>
            <a:r>
              <a:rPr sz="1200" u="sng" dirty="0">
                <a:solidFill>
                  <a:srgbClr val="000000"/>
                </a:solidFill>
              </a:rPr>
              <a:t>Органические вяжущие</a:t>
            </a:r>
            <a:endParaRPr sz="1200" b="0" u="sng" dirty="0">
              <a:solidFill>
                <a:srgbClr val="3C3C3C"/>
              </a:solidFill>
            </a:endParaRP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tabLst>
                <a:tab pos="2513013" algn="l"/>
              </a:tabLst>
            </a:pPr>
            <a:r>
              <a:rPr sz="1200" dirty="0">
                <a:solidFill>
                  <a:srgbClr val="0070BA"/>
                </a:solidFill>
              </a:rPr>
              <a:t>Оценка качества </a:t>
            </a:r>
            <a:r>
              <a:rPr sz="1200" b="0" dirty="0">
                <a:solidFill>
                  <a:srgbClr val="3C3C3C"/>
                </a:solidFill>
              </a:rPr>
              <a:t>применяемых </a:t>
            </a:r>
            <a:r>
              <a:rPr sz="1200" b="0" dirty="0" smtClean="0">
                <a:solidFill>
                  <a:srgbClr val="3C3C3C"/>
                </a:solidFill>
              </a:rPr>
              <a:t>вяжущих материалов </a:t>
            </a:r>
            <a:r>
              <a:rPr sz="1200" b="0" dirty="0">
                <a:solidFill>
                  <a:srgbClr val="3C3C3C"/>
                </a:solidFill>
              </a:rPr>
              <a:t>(битумов, ПБВ, эмульсий)</a:t>
            </a: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tabLst>
                <a:tab pos="2513013" algn="l"/>
              </a:tabLst>
            </a:pPr>
            <a:r>
              <a:rPr sz="1200" b="0" dirty="0">
                <a:solidFill>
                  <a:srgbClr val="3C3C3C"/>
                </a:solidFill>
              </a:rPr>
              <a:t>Разработка рекомендаций                      по применению и хранению </a:t>
            </a:r>
            <a:r>
              <a:rPr sz="1200" b="0" dirty="0" smtClean="0">
                <a:solidFill>
                  <a:srgbClr val="3C3C3C"/>
                </a:solidFill>
              </a:rPr>
              <a:t>вяжущих материалов</a:t>
            </a:r>
            <a:endParaRPr sz="1200" b="0" dirty="0">
              <a:solidFill>
                <a:srgbClr val="3C3C3C"/>
              </a:solidFill>
            </a:endParaRP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  <a:tabLst>
                <a:tab pos="2513013" algn="l"/>
              </a:tabLst>
            </a:pPr>
            <a:r>
              <a:rPr sz="1200" b="0" dirty="0">
                <a:solidFill>
                  <a:srgbClr val="3C3C3C"/>
                </a:solidFill>
              </a:rPr>
              <a:t>Разработка вяжущих с учетом климатических особенностей </a:t>
            </a:r>
            <a:r>
              <a:rPr sz="1200" b="0" dirty="0" smtClean="0">
                <a:solidFill>
                  <a:srgbClr val="3C3C3C"/>
                </a:solidFill>
              </a:rPr>
              <a:t>регионов</a:t>
            </a:r>
            <a:endParaRPr sz="1200" dirty="0">
              <a:solidFill>
                <a:srgbClr val="0070BA"/>
              </a:solidFill>
            </a:endParaRPr>
          </a:p>
        </p:txBody>
      </p:sp>
      <p:sp>
        <p:nvSpPr>
          <p:cNvPr id="8" name="Объект 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87524" y="1268760"/>
            <a:ext cx="2628292" cy="168018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rIns="72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</a:pPr>
            <a:r>
              <a:rPr sz="1200" u="sng" dirty="0">
                <a:solidFill>
                  <a:srgbClr val="000000"/>
                </a:solidFill>
              </a:rPr>
              <a:t>Асфальтобетон</a:t>
            </a:r>
            <a:endParaRPr sz="1000" b="0" u="sng" dirty="0">
              <a:solidFill>
                <a:srgbClr val="3C3C3C"/>
              </a:solidFill>
            </a:endParaRPr>
          </a:p>
          <a:p>
            <a:pPr marL="90488" indent="-90488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r>
              <a:rPr sz="1200" b="0" dirty="0">
                <a:solidFill>
                  <a:srgbClr val="3C3C3C"/>
                </a:solidFill>
              </a:rPr>
              <a:t>Оценка </a:t>
            </a:r>
            <a:r>
              <a:rPr sz="1200" b="0" dirty="0">
                <a:solidFill>
                  <a:srgbClr val="0070BA"/>
                </a:solidFill>
              </a:rPr>
              <a:t>свойств </a:t>
            </a:r>
            <a:r>
              <a:rPr sz="1200" b="0" dirty="0" smtClean="0">
                <a:solidFill>
                  <a:srgbClr val="0070BA"/>
                </a:solidFill>
              </a:rPr>
              <a:t>асфальтобетонов </a:t>
            </a:r>
            <a:r>
              <a:rPr sz="1200" b="0" dirty="0">
                <a:solidFill>
                  <a:srgbClr val="0070BA"/>
                </a:solidFill>
              </a:rPr>
              <a:t>и </a:t>
            </a:r>
            <a:r>
              <a:rPr sz="1200" b="0" dirty="0" smtClean="0">
                <a:solidFill>
                  <a:srgbClr val="0070BA"/>
                </a:solidFill>
              </a:rPr>
              <a:t>подбор их составов</a:t>
            </a:r>
            <a:r>
              <a:rPr sz="1200" dirty="0" smtClean="0">
                <a:solidFill>
                  <a:srgbClr val="0070BA"/>
                </a:solidFill>
              </a:rPr>
              <a:t> </a:t>
            </a:r>
            <a:r>
              <a:rPr sz="1200" b="0" dirty="0" smtClean="0">
                <a:solidFill>
                  <a:srgbClr val="3C3C3C"/>
                </a:solidFill>
              </a:rPr>
              <a:t>по </a:t>
            </a:r>
            <a:r>
              <a:rPr sz="1200" b="0" dirty="0">
                <a:solidFill>
                  <a:srgbClr val="3C3C3C"/>
                </a:solidFill>
              </a:rPr>
              <a:t>отечественным, Европейским методикам, </a:t>
            </a:r>
            <a:r>
              <a:rPr sz="1200" b="0" dirty="0" smtClean="0">
                <a:solidFill>
                  <a:srgbClr val="3C3C3C"/>
                </a:solidFill>
              </a:rPr>
              <a:t>в том числе </a:t>
            </a:r>
            <a:r>
              <a:rPr sz="1200" dirty="0" smtClean="0">
                <a:solidFill>
                  <a:srgbClr val="F7A600"/>
                </a:solidFill>
              </a:rPr>
              <a:t>по </a:t>
            </a:r>
            <a:r>
              <a:rPr sz="1200" dirty="0">
                <a:solidFill>
                  <a:srgbClr val="F7A600"/>
                </a:solidFill>
              </a:rPr>
              <a:t>методологии </a:t>
            </a:r>
            <a:r>
              <a:rPr sz="1200" dirty="0" err="1">
                <a:solidFill>
                  <a:srgbClr val="F7A600"/>
                </a:solidFill>
              </a:rPr>
              <a:t>Superpave</a:t>
            </a:r>
            <a:endParaRPr sz="1200" dirty="0">
              <a:solidFill>
                <a:srgbClr val="F7A600"/>
              </a:solidFill>
            </a:endParaRPr>
          </a:p>
          <a:p>
            <a:pPr marL="90488" indent="-90488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r>
              <a:rPr sz="1200" b="0" dirty="0">
                <a:solidFill>
                  <a:srgbClr val="0070BA"/>
                </a:solidFill>
              </a:rPr>
              <a:t>Оценка свойств </a:t>
            </a:r>
            <a:r>
              <a:rPr sz="1200" b="0" dirty="0" smtClean="0">
                <a:solidFill>
                  <a:srgbClr val="3C3C3C"/>
                </a:solidFill>
              </a:rPr>
              <a:t>минеральной части на </a:t>
            </a:r>
            <a:r>
              <a:rPr sz="1200" b="0" dirty="0">
                <a:solidFill>
                  <a:srgbClr val="3C3C3C"/>
                </a:solidFill>
              </a:rPr>
              <a:t>соответствие </a:t>
            </a:r>
            <a:r>
              <a:rPr sz="1200" b="0" dirty="0" smtClean="0">
                <a:solidFill>
                  <a:srgbClr val="3C3C3C"/>
                </a:solidFill>
              </a:rPr>
              <a:t>действующим нормативным документам</a:t>
            </a:r>
            <a:endParaRPr sz="1200" b="0" dirty="0">
              <a:solidFill>
                <a:srgbClr val="3C3C3C"/>
              </a:solidFill>
            </a:endParaRPr>
          </a:p>
          <a:p>
            <a:pPr marL="342900" indent="-255588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endParaRPr sz="1200" dirty="0">
              <a:solidFill>
                <a:srgbClr val="3C3C3C"/>
              </a:solidFill>
            </a:endParaRPr>
          </a:p>
        </p:txBody>
      </p:sp>
      <p:sp>
        <p:nvSpPr>
          <p:cNvPr id="9" name="Объек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012160" y="1270184"/>
            <a:ext cx="2844316" cy="2662872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 rIns="72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sz="24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9875" marR="0" indent="-269875" algn="l" defTabSz="9144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lang="ru-RU" sz="24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1338" indent="-271463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Wingdings" pitchFamily="2" charset="2"/>
              <a:buChar char="§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</a:pPr>
            <a:r>
              <a:rPr sz="1200" u="sng" dirty="0" err="1">
                <a:solidFill>
                  <a:srgbClr val="000000"/>
                </a:solidFill>
              </a:rPr>
              <a:t>Битумопроизводные</a:t>
            </a:r>
            <a:r>
              <a:rPr sz="1200" u="sng" dirty="0">
                <a:solidFill>
                  <a:srgbClr val="000000"/>
                </a:solidFill>
              </a:rPr>
              <a:t> материалы</a:t>
            </a: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r>
              <a:rPr sz="1200" dirty="0">
                <a:solidFill>
                  <a:srgbClr val="0070BA"/>
                </a:solidFill>
              </a:rPr>
              <a:t>Разработка</a:t>
            </a:r>
            <a:r>
              <a:rPr sz="1200" b="0" dirty="0">
                <a:solidFill>
                  <a:srgbClr val="3C3C3C"/>
                </a:solidFill>
              </a:rPr>
              <a:t> </a:t>
            </a:r>
            <a:r>
              <a:rPr sz="1200" b="0" dirty="0" smtClean="0">
                <a:solidFill>
                  <a:srgbClr val="3C3C3C"/>
                </a:solidFill>
              </a:rPr>
              <a:t>продуктов способствующих продлению </a:t>
            </a:r>
            <a:r>
              <a:rPr sz="1200" b="0" dirty="0">
                <a:solidFill>
                  <a:srgbClr val="3C3C3C"/>
                </a:solidFill>
              </a:rPr>
              <a:t>сроков службы </a:t>
            </a:r>
            <a:r>
              <a:rPr sz="1200" b="0" dirty="0" smtClean="0">
                <a:solidFill>
                  <a:srgbClr val="3C3C3C"/>
                </a:solidFill>
              </a:rPr>
              <a:t>асфальтобетонных                                 </a:t>
            </a:r>
            <a:r>
              <a:rPr sz="1200" b="0" dirty="0">
                <a:solidFill>
                  <a:srgbClr val="3C3C3C"/>
                </a:solidFill>
              </a:rPr>
              <a:t>и цементобетонных покрытий</a:t>
            </a: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r>
              <a:rPr sz="1200" dirty="0">
                <a:solidFill>
                  <a:srgbClr val="0070BA"/>
                </a:solidFill>
              </a:rPr>
              <a:t>Сопровождение </a:t>
            </a:r>
            <a:r>
              <a:rPr sz="1200" b="0" dirty="0">
                <a:solidFill>
                  <a:srgbClr val="3C3C3C"/>
                </a:solidFill>
              </a:rPr>
              <a:t>применения продуктов</a:t>
            </a:r>
          </a:p>
          <a:p>
            <a:pPr marL="90488" indent="-90488"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  <a:buSzPct val="100000"/>
              <a:buFont typeface="Wingdings" pitchFamily="2" charset="2"/>
              <a:buChar char="§"/>
            </a:pPr>
            <a:r>
              <a:rPr sz="1200" b="0" dirty="0">
                <a:solidFill>
                  <a:srgbClr val="3C3C3C"/>
                </a:solidFill>
              </a:rPr>
              <a:t>Разработка и внедрение </a:t>
            </a:r>
            <a:r>
              <a:rPr sz="1200" dirty="0">
                <a:solidFill>
                  <a:srgbClr val="0070BA"/>
                </a:solidFill>
              </a:rPr>
              <a:t>передовых методик </a:t>
            </a:r>
            <a:r>
              <a:rPr sz="1200" b="0" dirty="0">
                <a:solidFill>
                  <a:srgbClr val="3C3C3C"/>
                </a:solidFill>
              </a:rPr>
              <a:t>испытаний</a:t>
            </a:r>
          </a:p>
          <a:p>
            <a:pPr>
              <a:lnSpc>
                <a:spcPts val="1200"/>
              </a:lnSpc>
              <a:spcBef>
                <a:spcPts val="600"/>
              </a:spcBef>
              <a:buClr>
                <a:srgbClr val="004077"/>
              </a:buClr>
            </a:pPr>
            <a:endParaRPr sz="1200" b="0" dirty="0">
              <a:solidFill>
                <a:srgbClr val="3C3C3C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>
          <a:xfrm>
            <a:off x="273605" y="3217766"/>
            <a:ext cx="8583058" cy="823302"/>
          </a:xfrm>
          <a:prstGeom prst="rect">
            <a:avLst/>
          </a:prstGeom>
          <a:solidFill>
            <a:schemeClr val="accent4"/>
          </a:solidFill>
        </p:spPr>
        <p:txBody>
          <a:bodyPr wrap="square">
            <a:spAutoFit/>
          </a:bodyPr>
          <a:lstStyle/>
          <a:p>
            <a:pPr marL="258762" indent="-171450" algn="ctr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b="1" dirty="0">
                <a:solidFill>
                  <a:srgbClr val="0070BA"/>
                </a:solidFill>
              </a:rPr>
              <a:t>Оценка долговечности </a:t>
            </a:r>
            <a:r>
              <a:rPr lang="ru-RU" sz="1200" dirty="0" smtClean="0">
                <a:solidFill>
                  <a:srgbClr val="3C3C3C"/>
                </a:solidFill>
              </a:rPr>
              <a:t>применения материалов</a:t>
            </a:r>
          </a:p>
          <a:p>
            <a:pPr marL="258762" indent="-171450" algn="ctr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3C3C3C"/>
                </a:solidFill>
              </a:rPr>
              <a:t>Разработка </a:t>
            </a:r>
            <a:r>
              <a:rPr lang="ru-RU" sz="1200" b="1" dirty="0">
                <a:solidFill>
                  <a:srgbClr val="0070BA"/>
                </a:solidFill>
              </a:rPr>
              <a:t>рекомендаций </a:t>
            </a:r>
            <a:r>
              <a:rPr lang="ru-RU" sz="1200" b="1" dirty="0" smtClean="0">
                <a:solidFill>
                  <a:srgbClr val="0070BA"/>
                </a:solidFill>
              </a:rPr>
              <a:t>по </a:t>
            </a:r>
            <a:r>
              <a:rPr lang="ru-RU" sz="1200" b="1" dirty="0">
                <a:solidFill>
                  <a:srgbClr val="0070BA"/>
                </a:solidFill>
              </a:rPr>
              <a:t>применению</a:t>
            </a:r>
            <a:r>
              <a:rPr lang="ru-RU" sz="1200" dirty="0">
                <a:solidFill>
                  <a:srgbClr val="3C3C3C"/>
                </a:solidFill>
              </a:rPr>
              <a:t> </a:t>
            </a:r>
            <a:r>
              <a:rPr lang="ru-RU" sz="1200" dirty="0" smtClean="0">
                <a:solidFill>
                  <a:srgbClr val="3C3C3C"/>
                </a:solidFill>
              </a:rPr>
              <a:t>материалов</a:t>
            </a:r>
          </a:p>
          <a:p>
            <a:pPr marL="258762" indent="-171450" algn="ctr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rgbClr val="3C3C3C"/>
                </a:solidFill>
              </a:rPr>
              <a:t>Участие в </a:t>
            </a:r>
            <a:r>
              <a:rPr lang="ru-RU" sz="1200" b="1" dirty="0" smtClean="0">
                <a:solidFill>
                  <a:srgbClr val="0070BA"/>
                </a:solidFill>
              </a:rPr>
              <a:t>отраслевых и межотраслевых НИР и НИОКР </a:t>
            </a:r>
          </a:p>
          <a:p>
            <a:pPr marL="87312" algn="ctr">
              <a:lnSpc>
                <a:spcPts val="1200"/>
              </a:lnSpc>
              <a:spcBef>
                <a:spcPts val="300"/>
              </a:spcBef>
              <a:buClr>
                <a:srgbClr val="004077"/>
              </a:buClr>
              <a:buSzPct val="100000"/>
            </a:pPr>
            <a:r>
              <a:rPr lang="ru-RU" sz="1200" dirty="0" smtClean="0">
                <a:solidFill>
                  <a:srgbClr val="3C3C3C"/>
                </a:solidFill>
              </a:rPr>
              <a:t>по разработке, производству и применению битумных материалов</a:t>
            </a:r>
            <a:endParaRPr lang="ru-RU" sz="1200" dirty="0">
              <a:solidFill>
                <a:srgbClr val="3C3C3C"/>
              </a:solidFill>
            </a:endParaRPr>
          </a:p>
        </p:txBody>
      </p:sp>
      <p:pic>
        <p:nvPicPr>
          <p:cNvPr id="14" name="Picture 6" descr="\\gazprom-neft.local\dfs\Газпром нефть\Папки пользователей\Личные папки\Biryulin.DL\My Documents\My Pictures\2016.08.05_РЗБМ и НИЦ фотосъемка\Jpeg\Jpeg\2016-08-05 GaspromNefteBitum-179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986" b="29887"/>
          <a:stretch/>
        </p:blipFill>
        <p:spPr bwMode="auto">
          <a:xfrm>
            <a:off x="287337" y="4077072"/>
            <a:ext cx="8559423" cy="22681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87338" y="5661248"/>
            <a:ext cx="8569325" cy="686212"/>
          </a:xfrm>
          <a:prstGeom prst="rect">
            <a:avLst/>
          </a:prstGeom>
          <a:solidFill>
            <a:schemeClr val="accent1">
              <a:alpha val="50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600"/>
              </a:lnSpc>
              <a:spcBef>
                <a:spcPts val="600"/>
              </a:spcBef>
            </a:pPr>
            <a:r>
              <a:rPr lang="ru-RU" sz="1500" u="sng" dirty="0" smtClean="0">
                <a:solidFill>
                  <a:schemeClr val="bg1"/>
                </a:solidFill>
              </a:rPr>
              <a:t>Межотраслевой Научно-Исследовательский Центр по битумным материалам </a:t>
            </a:r>
            <a:r>
              <a:rPr lang="ru-RU" sz="1500" dirty="0"/>
              <a:t>позволяет осуществлять разработку вяжущих с учетом специфики региона, а также проводить комплексное сопровождение продукции</a:t>
            </a:r>
            <a:endParaRPr lang="ru-RU" sz="15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8727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Slide"/>
          <p:cNvSpPr>
            <a:spLocks noGrp="1"/>
          </p:cNvSpPr>
          <p:nvPr>
            <p:ph type="title"/>
          </p:nvPr>
        </p:nvSpPr>
        <p:spPr>
          <a:xfrm>
            <a:off x="287338" y="116422"/>
            <a:ext cx="8562975" cy="817033"/>
          </a:xfrm>
        </p:spPr>
        <p:txBody>
          <a:bodyPr/>
          <a:lstStyle/>
          <a:p>
            <a:r>
              <a:rPr lang="ru-RU" sz="2400" dirty="0"/>
              <a:t>Уникальный </a:t>
            </a:r>
            <a:r>
              <a:rPr lang="ru-RU" sz="2400" dirty="0" smtClean="0"/>
              <a:t>состав лаборатории обеспечивает полный </a:t>
            </a:r>
            <a:r>
              <a:rPr lang="ru-RU" sz="2400" dirty="0"/>
              <a:t>цикл исследований вяжущих и асфальтобетонов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87524" y="1206183"/>
            <a:ext cx="1872208" cy="971831"/>
          </a:xfrm>
          <a:prstGeom prst="roundRect">
            <a:avLst>
              <a:gd name="adj" fmla="val 8914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200" b="1" dirty="0">
                <a:solidFill>
                  <a:srgbClr val="FFFFFF"/>
                </a:solidFill>
              </a:rPr>
              <a:t>Оценка сырья </a:t>
            </a:r>
            <a:r>
              <a:rPr lang="ru-RU" altLang="ru-RU" sz="1200" b="1" dirty="0" smtClean="0">
                <a:solidFill>
                  <a:srgbClr val="FFFFFF"/>
                </a:solidFill>
              </a:rPr>
              <a:t>               для </a:t>
            </a:r>
            <a:r>
              <a:rPr lang="ru-RU" altLang="ru-RU" sz="1200" b="1" dirty="0">
                <a:solidFill>
                  <a:srgbClr val="FFFFFF"/>
                </a:solidFill>
              </a:rPr>
              <a:t>производства вяжущих</a:t>
            </a:r>
            <a:endParaRPr lang="ru-RU" altLang="ru-RU" sz="1200" dirty="0">
              <a:solidFill>
                <a:srgbClr val="FFFFFF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520106" y="1206183"/>
            <a:ext cx="1872208" cy="971831"/>
          </a:xfrm>
          <a:prstGeom prst="roundRect">
            <a:avLst>
              <a:gd name="adj" fmla="val 11240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200" b="1" dirty="0">
                <a:solidFill>
                  <a:srgbClr val="FFFFFF"/>
                </a:solidFill>
              </a:rPr>
              <a:t>Комплексная </a:t>
            </a:r>
            <a:r>
              <a:rPr lang="ru-RU" altLang="ru-RU" sz="1200" b="1" dirty="0" smtClean="0">
                <a:solidFill>
                  <a:srgbClr val="FFFFFF"/>
                </a:solidFill>
              </a:rPr>
              <a:t>   оценка качества     битумов, </a:t>
            </a:r>
            <a:r>
              <a:rPr lang="ru-RU" altLang="ru-RU" sz="1200" b="1" dirty="0">
                <a:solidFill>
                  <a:srgbClr val="FFFFFF"/>
                </a:solidFill>
              </a:rPr>
              <a:t>подбор </a:t>
            </a:r>
            <a:r>
              <a:rPr lang="ru-RU" altLang="ru-RU" sz="1200" b="1" dirty="0" smtClean="0">
                <a:solidFill>
                  <a:srgbClr val="FFFFFF"/>
                </a:solidFill>
              </a:rPr>
              <a:t> рецептур </a:t>
            </a:r>
            <a:r>
              <a:rPr lang="ru-RU" altLang="ru-RU" sz="1200" b="1" dirty="0">
                <a:solidFill>
                  <a:srgbClr val="FFFFFF"/>
                </a:solidFill>
              </a:rPr>
              <a:t>ПБВ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4752354" y="1206183"/>
            <a:ext cx="1872208" cy="971831"/>
          </a:xfrm>
          <a:prstGeom prst="roundRect">
            <a:avLst>
              <a:gd name="adj" fmla="val 10465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200" b="1" dirty="0">
                <a:solidFill>
                  <a:srgbClr val="FFFFFF"/>
                </a:solidFill>
              </a:rPr>
              <a:t>Оценка стабильности показателей вяжущего 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984268" y="1206183"/>
            <a:ext cx="1872208" cy="971831"/>
          </a:xfrm>
          <a:prstGeom prst="roundRect">
            <a:avLst>
              <a:gd name="adj" fmla="val 9690"/>
            </a:avLst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ts val="1400"/>
              </a:lnSpc>
              <a:spcBef>
                <a:spcPct val="0"/>
              </a:spcBef>
              <a:buClr>
                <a:srgbClr val="3333FF"/>
              </a:buClr>
            </a:pPr>
            <a:r>
              <a:rPr lang="ru-RU" altLang="ru-RU" sz="1200" b="1" dirty="0">
                <a:solidFill>
                  <a:srgbClr val="FFFFFF"/>
                </a:solidFill>
              </a:rPr>
              <a:t>Оценка </a:t>
            </a:r>
            <a:r>
              <a:rPr lang="ru-RU" altLang="ru-RU" sz="1200" b="1" dirty="0" smtClean="0">
                <a:solidFill>
                  <a:srgbClr val="FFFFFF"/>
                </a:solidFill>
              </a:rPr>
              <a:t>            надежности асфальтобетона</a:t>
            </a:r>
            <a:endParaRPr lang="ru-RU" altLang="ru-RU" sz="1200" b="1" dirty="0">
              <a:solidFill>
                <a:srgbClr val="FFFFFF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87524" y="2178015"/>
            <a:ext cx="1871476" cy="13157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Вязкость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руппов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химический состав</a:t>
            </a:r>
            <a:r>
              <a:rPr lang="ru-RU" altLang="ru-RU" sz="1200" dirty="0" smtClean="0">
                <a:solidFill>
                  <a:srgbClr val="004077"/>
                </a:solidFill>
              </a:rPr>
              <a:t>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en-US" altLang="ru-RU" sz="1200" dirty="0" err="1">
                <a:solidFill>
                  <a:srgbClr val="004077"/>
                </a:solidFill>
              </a:rPr>
              <a:t>Iatroscan</a:t>
            </a:r>
            <a:r>
              <a:rPr lang="en-US" altLang="ru-RU" sz="1200" dirty="0">
                <a:solidFill>
                  <a:srgbClr val="004077"/>
                </a:solidFill>
              </a:rPr>
              <a:t> MK-6) 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Содержание </a:t>
            </a:r>
            <a:r>
              <a:rPr lang="ru-RU" altLang="ru-RU" sz="1200" b="1" dirty="0">
                <a:solidFill>
                  <a:srgbClr val="004077"/>
                </a:solidFill>
              </a:rPr>
              <a:t>парафинов </a:t>
            </a:r>
          </a:p>
          <a:p>
            <a:pPr>
              <a:spcBef>
                <a:spcPts val="300"/>
              </a:spcBef>
              <a:buClr>
                <a:srgbClr val="004077"/>
              </a:buClr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56508" y="2178015"/>
            <a:ext cx="1871476" cy="272382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Реологические характеристики </a:t>
            </a:r>
            <a:r>
              <a:rPr lang="ru-RU" altLang="ru-RU" sz="1200" dirty="0">
                <a:solidFill>
                  <a:srgbClr val="004077"/>
                </a:solidFill>
              </a:rPr>
              <a:t>на всем температурном интервале:  </a:t>
            </a:r>
          </a:p>
          <a:p>
            <a:pPr marL="358775" indent="-171450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RV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Rheolab</a:t>
            </a:r>
            <a:r>
              <a:rPr lang="ru-RU" altLang="ru-RU" sz="1200" dirty="0">
                <a:solidFill>
                  <a:srgbClr val="004077"/>
                </a:solidFill>
              </a:rPr>
              <a:t> QC)</a:t>
            </a:r>
          </a:p>
          <a:p>
            <a:pPr marL="358775" indent="-171450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DSR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A.Paar</a:t>
            </a:r>
            <a:r>
              <a:rPr lang="ru-RU" altLang="ru-RU" sz="1200" dirty="0">
                <a:solidFill>
                  <a:srgbClr val="004077"/>
                </a:solidFill>
              </a:rPr>
              <a:t> </a:t>
            </a:r>
            <a:r>
              <a:rPr lang="ru-RU" sz="1200" dirty="0">
                <a:solidFill>
                  <a:srgbClr val="004077"/>
                </a:solidFill>
              </a:rPr>
              <a:t>MCR 102 </a:t>
            </a:r>
            <a:r>
              <a:rPr lang="en-US" sz="1200" dirty="0" err="1">
                <a:solidFill>
                  <a:srgbClr val="004077"/>
                </a:solidFill>
              </a:rPr>
              <a:t>SmartPave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  <a:p>
            <a:pPr marL="358775" indent="-171450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BBR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358775" indent="-171450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Ø"/>
            </a:pPr>
            <a:r>
              <a:rPr lang="ru-RU" altLang="ru-RU" sz="1200" dirty="0" smtClean="0">
                <a:solidFill>
                  <a:srgbClr val="004077"/>
                </a:solidFill>
              </a:rPr>
              <a:t>ABCD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руппов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химический состав</a:t>
            </a:r>
            <a:endParaRPr lang="ru-RU" altLang="ru-RU" sz="1200" b="1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Микроструктура</a:t>
            </a:r>
            <a:r>
              <a:rPr lang="ru-RU" altLang="ru-RU" sz="1200" dirty="0">
                <a:solidFill>
                  <a:srgbClr val="004077"/>
                </a:solidFill>
              </a:rPr>
              <a:t> (микроскоп </a:t>
            </a:r>
            <a:r>
              <a:rPr lang="ru-RU" altLang="ru-RU" sz="1200" dirty="0" err="1">
                <a:solidFill>
                  <a:srgbClr val="004077"/>
                </a:solidFill>
              </a:rPr>
              <a:t>Zeiss</a:t>
            </a:r>
            <a:r>
              <a:rPr lang="ru-RU" altLang="ru-RU" sz="1200" dirty="0" smtClean="0">
                <a:solidFill>
                  <a:srgbClr val="004077"/>
                </a:solidFill>
              </a:rPr>
              <a:t>)</a:t>
            </a:r>
            <a:endParaRPr lang="ru-RU" altLang="ru-RU" sz="1200" dirty="0">
              <a:solidFill>
                <a:srgbClr val="004077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788756" y="2178015"/>
            <a:ext cx="1871476" cy="131574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RTFOT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>
                <a:solidFill>
                  <a:srgbClr val="004077"/>
                </a:solidFill>
              </a:rPr>
              <a:t>PAV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ПБВ/PMB к </a:t>
            </a:r>
            <a:r>
              <a:rPr lang="ru-RU" altLang="ru-RU" sz="1200" b="1" dirty="0">
                <a:solidFill>
                  <a:srgbClr val="004077"/>
                </a:solidFill>
              </a:rPr>
              <a:t>расслаиванию</a:t>
            </a:r>
            <a:r>
              <a:rPr lang="ru-RU" altLang="ru-RU" sz="1200" dirty="0">
                <a:solidFill>
                  <a:srgbClr val="004077"/>
                </a:solidFill>
              </a:rPr>
              <a:t> при хранении (EN 13399)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b="1" dirty="0" err="1">
                <a:solidFill>
                  <a:srgbClr val="004077"/>
                </a:solidFill>
              </a:rPr>
              <a:t>Асфальтоанализатор</a:t>
            </a:r>
            <a:endParaRPr lang="ru-RU" altLang="ru-RU" sz="1200" b="1" dirty="0">
              <a:solidFill>
                <a:srgbClr val="004077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985000" y="2178015"/>
            <a:ext cx="1871476" cy="246221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Гиратор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Роликовый </a:t>
            </a:r>
            <a:r>
              <a:rPr lang="ru-RU" altLang="ru-RU" sz="1200" dirty="0" err="1">
                <a:solidFill>
                  <a:srgbClr val="004077"/>
                </a:solidFill>
              </a:rPr>
              <a:t>компактор</a:t>
            </a:r>
            <a:endParaRPr lang="ru-RU" altLang="ru-RU" sz="1200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</a:t>
            </a:r>
            <a:r>
              <a:rPr lang="ru-RU" altLang="ru-RU" sz="1200" dirty="0" smtClean="0">
                <a:solidFill>
                  <a:srgbClr val="004077"/>
                </a:solidFill>
              </a:rPr>
              <a:t>                    к </a:t>
            </a:r>
            <a:r>
              <a:rPr lang="ru-RU" altLang="ru-RU" sz="1200" dirty="0">
                <a:solidFill>
                  <a:srgbClr val="004077"/>
                </a:solidFill>
              </a:rPr>
              <a:t>образованию </a:t>
            </a:r>
            <a:r>
              <a:rPr lang="ru-RU" altLang="ru-RU" sz="1200" b="1" dirty="0">
                <a:solidFill>
                  <a:srgbClr val="004077"/>
                </a:solidFill>
              </a:rPr>
              <a:t>пластической </a:t>
            </a:r>
            <a:r>
              <a:rPr lang="ru-RU" altLang="ru-RU" sz="1200" b="1" dirty="0" smtClean="0">
                <a:solidFill>
                  <a:srgbClr val="004077"/>
                </a:solidFill>
              </a:rPr>
              <a:t>                   и </a:t>
            </a:r>
            <a:r>
              <a:rPr lang="ru-RU" altLang="ru-RU" sz="1200" b="1" dirty="0">
                <a:solidFill>
                  <a:srgbClr val="004077"/>
                </a:solidFill>
              </a:rPr>
              <a:t>абразивной колеи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Prall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алостная </a:t>
            </a:r>
            <a:r>
              <a:rPr lang="ru-RU" altLang="ru-RU" sz="1200" b="1" dirty="0" err="1">
                <a:solidFill>
                  <a:srgbClr val="004077"/>
                </a:solidFill>
              </a:rPr>
              <a:t>трещиностойкость</a:t>
            </a:r>
            <a:endParaRPr lang="ru-RU" altLang="ru-RU" sz="1200" b="1" dirty="0">
              <a:solidFill>
                <a:srgbClr val="004077"/>
              </a:solidFill>
            </a:endParaRPr>
          </a:p>
          <a:p>
            <a:pPr marL="179388" indent="-93663">
              <a:spcBef>
                <a:spcPts val="300"/>
              </a:spcBef>
              <a:buClr>
                <a:srgbClr val="004077"/>
              </a:buClr>
              <a:buFont typeface="Wingdings" panose="05000000000000000000" pitchFamily="2" charset="2"/>
              <a:buChar char="§"/>
            </a:pPr>
            <a:r>
              <a:rPr lang="ru-RU" altLang="ru-RU" sz="1200" dirty="0">
                <a:solidFill>
                  <a:srgbClr val="004077"/>
                </a:solidFill>
              </a:rPr>
              <a:t>Устойчивость к </a:t>
            </a:r>
            <a:r>
              <a:rPr lang="ru-RU" altLang="ru-RU" sz="1200" b="1" dirty="0">
                <a:solidFill>
                  <a:srgbClr val="004077"/>
                </a:solidFill>
              </a:rPr>
              <a:t>климатическим факторам </a:t>
            </a:r>
            <a:r>
              <a:rPr lang="ru-RU" altLang="ru-RU" sz="1200" dirty="0">
                <a:solidFill>
                  <a:srgbClr val="004077"/>
                </a:solidFill>
              </a:rPr>
              <a:t>(</a:t>
            </a:r>
            <a:r>
              <a:rPr lang="ru-RU" altLang="ru-RU" sz="1200" dirty="0" err="1">
                <a:solidFill>
                  <a:srgbClr val="004077"/>
                </a:solidFill>
              </a:rPr>
              <a:t>Xenotest</a:t>
            </a:r>
            <a:r>
              <a:rPr lang="ru-RU" altLang="ru-RU" sz="1200" dirty="0">
                <a:solidFill>
                  <a:srgbClr val="004077"/>
                </a:solidFill>
              </a:rPr>
              <a:t>)</a:t>
            </a:r>
          </a:p>
        </p:txBody>
      </p:sp>
      <p:sp>
        <p:nvSpPr>
          <p:cNvPr id="16" name="trian14_1_solid"/>
          <p:cNvSpPr/>
          <p:nvPr/>
        </p:nvSpPr>
        <p:spPr>
          <a:xfrm>
            <a:off x="2195736" y="1409929"/>
            <a:ext cx="288366" cy="423475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17" name="trian14_1_solid"/>
          <p:cNvSpPr/>
          <p:nvPr/>
        </p:nvSpPr>
        <p:spPr>
          <a:xfrm>
            <a:off x="4428318" y="1409929"/>
            <a:ext cx="288366" cy="423475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18" name="trian14_1_solid"/>
          <p:cNvSpPr/>
          <p:nvPr/>
        </p:nvSpPr>
        <p:spPr>
          <a:xfrm>
            <a:off x="6660232" y="1409929"/>
            <a:ext cx="288366" cy="423475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19" name="menzurki"/>
          <p:cNvSpPr>
            <a:spLocks noEditPoints="1"/>
          </p:cNvSpPr>
          <p:nvPr/>
        </p:nvSpPr>
        <p:spPr bwMode="auto">
          <a:xfrm>
            <a:off x="1806632" y="1280675"/>
            <a:ext cx="317096" cy="372128"/>
          </a:xfrm>
          <a:custGeom>
            <a:avLst/>
            <a:gdLst>
              <a:gd name="T0" fmla="*/ 955 w 16027"/>
              <a:gd name="T1" fmla="*/ 11197 h 12643"/>
              <a:gd name="T2" fmla="*/ 1953 w 16027"/>
              <a:gd name="T3" fmla="*/ 12312 h 12643"/>
              <a:gd name="T4" fmla="*/ 3259 w 16027"/>
              <a:gd name="T5" fmla="*/ 12550 h 12643"/>
              <a:gd name="T6" fmla="*/ 2873 w 16027"/>
              <a:gd name="T7" fmla="*/ 12186 h 12643"/>
              <a:gd name="T8" fmla="*/ 2454 w 16027"/>
              <a:gd name="T9" fmla="*/ 11712 h 12643"/>
              <a:gd name="T10" fmla="*/ 1693 w 16027"/>
              <a:gd name="T11" fmla="*/ 11033 h 12643"/>
              <a:gd name="T12" fmla="*/ 1542 w 16027"/>
              <a:gd name="T13" fmla="*/ 10472 h 12643"/>
              <a:gd name="T14" fmla="*/ 4890 w 16027"/>
              <a:gd name="T15" fmla="*/ 6587 h 12643"/>
              <a:gd name="T16" fmla="*/ 3782 w 16027"/>
              <a:gd name="T17" fmla="*/ 1502 h 12643"/>
              <a:gd name="T18" fmla="*/ 7022 w 16027"/>
              <a:gd name="T19" fmla="*/ 879 h 12643"/>
              <a:gd name="T20" fmla="*/ 7015 w 16027"/>
              <a:gd name="T21" fmla="*/ 3983 h 12643"/>
              <a:gd name="T22" fmla="*/ 6850 w 16027"/>
              <a:gd name="T23" fmla="*/ 4729 h 12643"/>
              <a:gd name="T24" fmla="*/ 5975 w 16027"/>
              <a:gd name="T25" fmla="*/ 5967 h 12643"/>
              <a:gd name="T26" fmla="*/ 5246 w 16027"/>
              <a:gd name="T27" fmla="*/ 7010 h 12643"/>
              <a:gd name="T28" fmla="*/ 3841 w 16027"/>
              <a:gd name="T29" fmla="*/ 9310 h 12643"/>
              <a:gd name="T30" fmla="*/ 3233 w 16027"/>
              <a:gd name="T31" fmla="*/ 10564 h 12643"/>
              <a:gd name="T32" fmla="*/ 3228 w 16027"/>
              <a:gd name="T33" fmla="*/ 11460 h 12643"/>
              <a:gd name="T34" fmla="*/ 3553 w 16027"/>
              <a:gd name="T35" fmla="*/ 12167 h 12643"/>
              <a:gd name="T36" fmla="*/ 4012 w 16027"/>
              <a:gd name="T37" fmla="*/ 12530 h 12643"/>
              <a:gd name="T38" fmla="*/ 14664 w 16027"/>
              <a:gd name="T39" fmla="*/ 12643 h 12643"/>
              <a:gd name="T40" fmla="*/ 15235 w 16027"/>
              <a:gd name="T41" fmla="*/ 12512 h 12643"/>
              <a:gd name="T42" fmla="*/ 15683 w 16027"/>
              <a:gd name="T43" fmla="*/ 12132 h 12643"/>
              <a:gd name="T44" fmla="*/ 15994 w 16027"/>
              <a:gd name="T45" fmla="*/ 11398 h 12643"/>
              <a:gd name="T46" fmla="*/ 15962 w 16027"/>
              <a:gd name="T47" fmla="*/ 10501 h 12643"/>
              <a:gd name="T48" fmla="*/ 15268 w 16027"/>
              <a:gd name="T49" fmla="*/ 9134 h 12643"/>
              <a:gd name="T50" fmla="*/ 13891 w 16027"/>
              <a:gd name="T51" fmla="*/ 6898 h 12643"/>
              <a:gd name="T52" fmla="*/ 13188 w 16027"/>
              <a:gd name="T53" fmla="*/ 5903 h 12643"/>
              <a:gd name="T54" fmla="*/ 12336 w 16027"/>
              <a:gd name="T55" fmla="*/ 4687 h 12643"/>
              <a:gd name="T56" fmla="*/ 12198 w 16027"/>
              <a:gd name="T57" fmla="*/ 3768 h 12643"/>
              <a:gd name="T58" fmla="*/ 12688 w 16027"/>
              <a:gd name="T59" fmla="*/ 876 h 12643"/>
              <a:gd name="T60" fmla="*/ 7741 w 16027"/>
              <a:gd name="T61" fmla="*/ 1629 h 12643"/>
              <a:gd name="T62" fmla="*/ 11474 w 16027"/>
              <a:gd name="T63" fmla="*/ 2854 h 12643"/>
              <a:gd name="T64" fmla="*/ 11502 w 16027"/>
              <a:gd name="T65" fmla="*/ 4611 h 12643"/>
              <a:gd name="T66" fmla="*/ 11890 w 16027"/>
              <a:gd name="T67" fmla="*/ 5338 h 12643"/>
              <a:gd name="T68" fmla="*/ 12786 w 16027"/>
              <a:gd name="T69" fmla="*/ 6584 h 12643"/>
              <a:gd name="T70" fmla="*/ 13574 w 16027"/>
              <a:gd name="T71" fmla="*/ 7738 h 12643"/>
              <a:gd name="T72" fmla="*/ 14988 w 16027"/>
              <a:gd name="T73" fmla="*/ 10112 h 12643"/>
              <a:gd name="T74" fmla="*/ 15288 w 16027"/>
              <a:gd name="T75" fmla="*/ 10844 h 12643"/>
              <a:gd name="T76" fmla="*/ 15246 w 16027"/>
              <a:gd name="T77" fmla="*/ 11408 h 12643"/>
              <a:gd name="T78" fmla="*/ 15059 w 16027"/>
              <a:gd name="T79" fmla="*/ 11747 h 12643"/>
              <a:gd name="T80" fmla="*/ 14847 w 16027"/>
              <a:gd name="T81" fmla="*/ 11886 h 12643"/>
              <a:gd name="T82" fmla="*/ 4491 w 16027"/>
              <a:gd name="T83" fmla="*/ 11913 h 12643"/>
              <a:gd name="T84" fmla="*/ 4251 w 16027"/>
              <a:gd name="T85" fmla="*/ 11831 h 12643"/>
              <a:gd name="T86" fmla="*/ 4067 w 16027"/>
              <a:gd name="T87" fmla="*/ 11636 h 12643"/>
              <a:gd name="T88" fmla="*/ 3916 w 16027"/>
              <a:gd name="T89" fmla="*/ 11133 h 12643"/>
              <a:gd name="T90" fmla="*/ 3989 w 16027"/>
              <a:gd name="T91" fmla="*/ 10565 h 12643"/>
              <a:gd name="T92" fmla="*/ 4907 w 16027"/>
              <a:gd name="T93" fmla="*/ 8922 h 12643"/>
              <a:gd name="T94" fmla="*/ 6089 w 16027"/>
              <a:gd name="T95" fmla="*/ 7058 h 12643"/>
              <a:gd name="T96" fmla="*/ 6745 w 16027"/>
              <a:gd name="T97" fmla="*/ 6145 h 12643"/>
              <a:gd name="T98" fmla="*/ 7564 w 16027"/>
              <a:gd name="T99" fmla="*/ 4941 h 12643"/>
              <a:gd name="T100" fmla="*/ 7752 w 16027"/>
              <a:gd name="T101" fmla="*/ 4325 h 12643"/>
              <a:gd name="T102" fmla="*/ 5028 w 16027"/>
              <a:gd name="T103" fmla="*/ 9945 h 12643"/>
              <a:gd name="T104" fmla="*/ 4551 w 16027"/>
              <a:gd name="T105" fmla="*/ 10846 h 12643"/>
              <a:gd name="T106" fmla="*/ 4537 w 16027"/>
              <a:gd name="T107" fmla="*/ 11136 h 12643"/>
              <a:gd name="T108" fmla="*/ 14655 w 16027"/>
              <a:gd name="T109" fmla="*/ 11231 h 12643"/>
              <a:gd name="T110" fmla="*/ 14677 w 16027"/>
              <a:gd name="T111" fmla="*/ 10949 h 12643"/>
              <a:gd name="T112" fmla="*/ 14598 w 16027"/>
              <a:gd name="T113" fmla="*/ 10682 h 12643"/>
              <a:gd name="T114" fmla="*/ 13416 w 16027"/>
              <a:gd name="T115" fmla="*/ 8648 h 12643"/>
              <a:gd name="T116" fmla="*/ 2228 w 16027"/>
              <a:gd name="T117" fmla="*/ 10797 h 12643"/>
              <a:gd name="T118" fmla="*/ 2468 w 16027"/>
              <a:gd name="T119" fmla="*/ 11115 h 12643"/>
              <a:gd name="T120" fmla="*/ 2544 w 16027"/>
              <a:gd name="T121" fmla="*/ 10728 h 12643"/>
              <a:gd name="T122" fmla="*/ 2677 w 16027"/>
              <a:gd name="T123" fmla="*/ 10252 h 12643"/>
              <a:gd name="T124" fmla="*/ 3187 w 16027"/>
              <a:gd name="T125" fmla="*/ 9324 h 126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027" h="12643">
                <a:moveTo>
                  <a:pt x="0" y="1502"/>
                </a:moveTo>
                <a:lnTo>
                  <a:pt x="0" y="2378"/>
                </a:lnTo>
                <a:lnTo>
                  <a:pt x="798" y="2378"/>
                </a:lnTo>
                <a:lnTo>
                  <a:pt x="798" y="10472"/>
                </a:lnTo>
                <a:lnTo>
                  <a:pt x="800" y="10525"/>
                </a:lnTo>
                <a:lnTo>
                  <a:pt x="804" y="10584"/>
                </a:lnTo>
                <a:lnTo>
                  <a:pt x="810" y="10648"/>
                </a:lnTo>
                <a:lnTo>
                  <a:pt x="820" y="10717"/>
                </a:lnTo>
                <a:lnTo>
                  <a:pt x="833" y="10789"/>
                </a:lnTo>
                <a:lnTo>
                  <a:pt x="850" y="10865"/>
                </a:lnTo>
                <a:lnTo>
                  <a:pt x="870" y="10945"/>
                </a:lnTo>
                <a:lnTo>
                  <a:pt x="895" y="11027"/>
                </a:lnTo>
                <a:lnTo>
                  <a:pt x="923" y="11111"/>
                </a:lnTo>
                <a:lnTo>
                  <a:pt x="955" y="11197"/>
                </a:lnTo>
                <a:lnTo>
                  <a:pt x="992" y="11284"/>
                </a:lnTo>
                <a:lnTo>
                  <a:pt x="1033" y="11371"/>
                </a:lnTo>
                <a:lnTo>
                  <a:pt x="1079" y="11459"/>
                </a:lnTo>
                <a:lnTo>
                  <a:pt x="1129" y="11547"/>
                </a:lnTo>
                <a:lnTo>
                  <a:pt x="1185" y="11635"/>
                </a:lnTo>
                <a:lnTo>
                  <a:pt x="1247" y="11720"/>
                </a:lnTo>
                <a:lnTo>
                  <a:pt x="1313" y="11805"/>
                </a:lnTo>
                <a:lnTo>
                  <a:pt x="1386" y="11887"/>
                </a:lnTo>
                <a:lnTo>
                  <a:pt x="1464" y="11967"/>
                </a:lnTo>
                <a:lnTo>
                  <a:pt x="1550" y="12043"/>
                </a:lnTo>
                <a:lnTo>
                  <a:pt x="1641" y="12117"/>
                </a:lnTo>
                <a:lnTo>
                  <a:pt x="1738" y="12186"/>
                </a:lnTo>
                <a:lnTo>
                  <a:pt x="1842" y="12251"/>
                </a:lnTo>
                <a:lnTo>
                  <a:pt x="1953" y="12312"/>
                </a:lnTo>
                <a:lnTo>
                  <a:pt x="2070" y="12367"/>
                </a:lnTo>
                <a:lnTo>
                  <a:pt x="2196" y="12416"/>
                </a:lnTo>
                <a:lnTo>
                  <a:pt x="2329" y="12459"/>
                </a:lnTo>
                <a:lnTo>
                  <a:pt x="2469" y="12495"/>
                </a:lnTo>
                <a:lnTo>
                  <a:pt x="2617" y="12523"/>
                </a:lnTo>
                <a:lnTo>
                  <a:pt x="2774" y="12545"/>
                </a:lnTo>
                <a:lnTo>
                  <a:pt x="2938" y="12558"/>
                </a:lnTo>
                <a:lnTo>
                  <a:pt x="3110" y="12562"/>
                </a:lnTo>
                <a:lnTo>
                  <a:pt x="3136" y="12562"/>
                </a:lnTo>
                <a:lnTo>
                  <a:pt x="3162" y="12560"/>
                </a:lnTo>
                <a:lnTo>
                  <a:pt x="3186" y="12558"/>
                </a:lnTo>
                <a:lnTo>
                  <a:pt x="3211" y="12556"/>
                </a:lnTo>
                <a:lnTo>
                  <a:pt x="3235" y="12553"/>
                </a:lnTo>
                <a:lnTo>
                  <a:pt x="3259" y="12550"/>
                </a:lnTo>
                <a:lnTo>
                  <a:pt x="3284" y="12547"/>
                </a:lnTo>
                <a:lnTo>
                  <a:pt x="3309" y="12545"/>
                </a:lnTo>
                <a:lnTo>
                  <a:pt x="3268" y="12524"/>
                </a:lnTo>
                <a:lnTo>
                  <a:pt x="3227" y="12501"/>
                </a:lnTo>
                <a:lnTo>
                  <a:pt x="3188" y="12476"/>
                </a:lnTo>
                <a:lnTo>
                  <a:pt x="3149" y="12450"/>
                </a:lnTo>
                <a:lnTo>
                  <a:pt x="3111" y="12423"/>
                </a:lnTo>
                <a:lnTo>
                  <a:pt x="3075" y="12394"/>
                </a:lnTo>
                <a:lnTo>
                  <a:pt x="3039" y="12363"/>
                </a:lnTo>
                <a:lnTo>
                  <a:pt x="3004" y="12331"/>
                </a:lnTo>
                <a:lnTo>
                  <a:pt x="2969" y="12297"/>
                </a:lnTo>
                <a:lnTo>
                  <a:pt x="2936" y="12261"/>
                </a:lnTo>
                <a:lnTo>
                  <a:pt x="2904" y="12224"/>
                </a:lnTo>
                <a:lnTo>
                  <a:pt x="2873" y="12186"/>
                </a:lnTo>
                <a:lnTo>
                  <a:pt x="2842" y="12146"/>
                </a:lnTo>
                <a:lnTo>
                  <a:pt x="2813" y="12105"/>
                </a:lnTo>
                <a:lnTo>
                  <a:pt x="2785" y="12062"/>
                </a:lnTo>
                <a:lnTo>
                  <a:pt x="2758" y="12018"/>
                </a:lnTo>
                <a:lnTo>
                  <a:pt x="2741" y="11988"/>
                </a:lnTo>
                <a:lnTo>
                  <a:pt x="2726" y="11958"/>
                </a:lnTo>
                <a:lnTo>
                  <a:pt x="2710" y="11927"/>
                </a:lnTo>
                <a:lnTo>
                  <a:pt x="2696" y="11896"/>
                </a:lnTo>
                <a:lnTo>
                  <a:pt x="2681" y="11864"/>
                </a:lnTo>
                <a:lnTo>
                  <a:pt x="2667" y="11832"/>
                </a:lnTo>
                <a:lnTo>
                  <a:pt x="2654" y="11799"/>
                </a:lnTo>
                <a:lnTo>
                  <a:pt x="2642" y="11766"/>
                </a:lnTo>
                <a:lnTo>
                  <a:pt x="2545" y="11741"/>
                </a:lnTo>
                <a:lnTo>
                  <a:pt x="2454" y="11712"/>
                </a:lnTo>
                <a:lnTo>
                  <a:pt x="2369" y="11679"/>
                </a:lnTo>
                <a:lnTo>
                  <a:pt x="2290" y="11642"/>
                </a:lnTo>
                <a:lnTo>
                  <a:pt x="2215" y="11602"/>
                </a:lnTo>
                <a:lnTo>
                  <a:pt x="2146" y="11558"/>
                </a:lnTo>
                <a:lnTo>
                  <a:pt x="2082" y="11512"/>
                </a:lnTo>
                <a:lnTo>
                  <a:pt x="2021" y="11464"/>
                </a:lnTo>
                <a:lnTo>
                  <a:pt x="1966" y="11413"/>
                </a:lnTo>
                <a:lnTo>
                  <a:pt x="1915" y="11361"/>
                </a:lnTo>
                <a:lnTo>
                  <a:pt x="1869" y="11308"/>
                </a:lnTo>
                <a:lnTo>
                  <a:pt x="1827" y="11254"/>
                </a:lnTo>
                <a:lnTo>
                  <a:pt x="1788" y="11199"/>
                </a:lnTo>
                <a:lnTo>
                  <a:pt x="1753" y="11143"/>
                </a:lnTo>
                <a:lnTo>
                  <a:pt x="1721" y="11088"/>
                </a:lnTo>
                <a:lnTo>
                  <a:pt x="1693" y="11033"/>
                </a:lnTo>
                <a:lnTo>
                  <a:pt x="1668" y="10979"/>
                </a:lnTo>
                <a:lnTo>
                  <a:pt x="1646" y="10925"/>
                </a:lnTo>
                <a:lnTo>
                  <a:pt x="1627" y="10872"/>
                </a:lnTo>
                <a:lnTo>
                  <a:pt x="1610" y="10822"/>
                </a:lnTo>
                <a:lnTo>
                  <a:pt x="1595" y="10774"/>
                </a:lnTo>
                <a:lnTo>
                  <a:pt x="1583" y="10728"/>
                </a:lnTo>
                <a:lnTo>
                  <a:pt x="1573" y="10685"/>
                </a:lnTo>
                <a:lnTo>
                  <a:pt x="1564" y="10644"/>
                </a:lnTo>
                <a:lnTo>
                  <a:pt x="1558" y="10608"/>
                </a:lnTo>
                <a:lnTo>
                  <a:pt x="1552" y="10574"/>
                </a:lnTo>
                <a:lnTo>
                  <a:pt x="1549" y="10545"/>
                </a:lnTo>
                <a:lnTo>
                  <a:pt x="1546" y="10520"/>
                </a:lnTo>
                <a:lnTo>
                  <a:pt x="1543" y="10485"/>
                </a:lnTo>
                <a:lnTo>
                  <a:pt x="1542" y="10472"/>
                </a:lnTo>
                <a:lnTo>
                  <a:pt x="1542" y="2378"/>
                </a:lnTo>
                <a:lnTo>
                  <a:pt x="4418" y="2378"/>
                </a:lnTo>
                <a:lnTo>
                  <a:pt x="4418" y="7284"/>
                </a:lnTo>
                <a:lnTo>
                  <a:pt x="4457" y="7226"/>
                </a:lnTo>
                <a:lnTo>
                  <a:pt x="4495" y="7169"/>
                </a:lnTo>
                <a:lnTo>
                  <a:pt x="4532" y="7112"/>
                </a:lnTo>
                <a:lnTo>
                  <a:pt x="4570" y="7055"/>
                </a:lnTo>
                <a:lnTo>
                  <a:pt x="4608" y="6998"/>
                </a:lnTo>
                <a:lnTo>
                  <a:pt x="4646" y="6941"/>
                </a:lnTo>
                <a:lnTo>
                  <a:pt x="4684" y="6885"/>
                </a:lnTo>
                <a:lnTo>
                  <a:pt x="4723" y="6829"/>
                </a:lnTo>
                <a:lnTo>
                  <a:pt x="4779" y="6748"/>
                </a:lnTo>
                <a:lnTo>
                  <a:pt x="4834" y="6666"/>
                </a:lnTo>
                <a:lnTo>
                  <a:pt x="4890" y="6587"/>
                </a:lnTo>
                <a:lnTo>
                  <a:pt x="4945" y="6508"/>
                </a:lnTo>
                <a:lnTo>
                  <a:pt x="5000" y="6430"/>
                </a:lnTo>
                <a:lnTo>
                  <a:pt x="5056" y="6353"/>
                </a:lnTo>
                <a:lnTo>
                  <a:pt x="5110" y="6277"/>
                </a:lnTo>
                <a:lnTo>
                  <a:pt x="5164" y="6201"/>
                </a:lnTo>
                <a:lnTo>
                  <a:pt x="5164" y="2378"/>
                </a:lnTo>
                <a:lnTo>
                  <a:pt x="5963" y="2378"/>
                </a:lnTo>
                <a:lnTo>
                  <a:pt x="5963" y="1502"/>
                </a:lnTo>
                <a:lnTo>
                  <a:pt x="5613" y="1502"/>
                </a:lnTo>
                <a:lnTo>
                  <a:pt x="5257" y="1502"/>
                </a:lnTo>
                <a:lnTo>
                  <a:pt x="4895" y="1502"/>
                </a:lnTo>
                <a:lnTo>
                  <a:pt x="4528" y="1502"/>
                </a:lnTo>
                <a:lnTo>
                  <a:pt x="4157" y="1502"/>
                </a:lnTo>
                <a:lnTo>
                  <a:pt x="3782" y="1502"/>
                </a:lnTo>
                <a:lnTo>
                  <a:pt x="3405" y="1502"/>
                </a:lnTo>
                <a:lnTo>
                  <a:pt x="3025" y="1502"/>
                </a:lnTo>
                <a:lnTo>
                  <a:pt x="2644" y="1502"/>
                </a:lnTo>
                <a:lnTo>
                  <a:pt x="2263" y="1502"/>
                </a:lnTo>
                <a:lnTo>
                  <a:pt x="1881" y="1502"/>
                </a:lnTo>
                <a:lnTo>
                  <a:pt x="1501" y="1502"/>
                </a:lnTo>
                <a:lnTo>
                  <a:pt x="1121" y="1502"/>
                </a:lnTo>
                <a:lnTo>
                  <a:pt x="744" y="1502"/>
                </a:lnTo>
                <a:lnTo>
                  <a:pt x="371" y="1502"/>
                </a:lnTo>
                <a:lnTo>
                  <a:pt x="0" y="1502"/>
                </a:lnTo>
                <a:close/>
                <a:moveTo>
                  <a:pt x="12688" y="0"/>
                </a:moveTo>
                <a:lnTo>
                  <a:pt x="6358" y="0"/>
                </a:lnTo>
                <a:lnTo>
                  <a:pt x="6358" y="879"/>
                </a:lnTo>
                <a:lnTo>
                  <a:pt x="7022" y="879"/>
                </a:lnTo>
                <a:lnTo>
                  <a:pt x="7020" y="1010"/>
                </a:lnTo>
                <a:lnTo>
                  <a:pt x="7019" y="1171"/>
                </a:lnTo>
                <a:lnTo>
                  <a:pt x="7017" y="1356"/>
                </a:lnTo>
                <a:lnTo>
                  <a:pt x="7015" y="1563"/>
                </a:lnTo>
                <a:lnTo>
                  <a:pt x="7013" y="1788"/>
                </a:lnTo>
                <a:lnTo>
                  <a:pt x="7012" y="2026"/>
                </a:lnTo>
                <a:lnTo>
                  <a:pt x="7010" y="2274"/>
                </a:lnTo>
                <a:lnTo>
                  <a:pt x="7009" y="2529"/>
                </a:lnTo>
                <a:lnTo>
                  <a:pt x="7009" y="2786"/>
                </a:lnTo>
                <a:lnTo>
                  <a:pt x="7009" y="3042"/>
                </a:lnTo>
                <a:lnTo>
                  <a:pt x="7009" y="3295"/>
                </a:lnTo>
                <a:lnTo>
                  <a:pt x="7011" y="3537"/>
                </a:lnTo>
                <a:lnTo>
                  <a:pt x="7013" y="3768"/>
                </a:lnTo>
                <a:lnTo>
                  <a:pt x="7015" y="3983"/>
                </a:lnTo>
                <a:lnTo>
                  <a:pt x="7019" y="4178"/>
                </a:lnTo>
                <a:lnTo>
                  <a:pt x="7024" y="4349"/>
                </a:lnTo>
                <a:lnTo>
                  <a:pt x="7022" y="4368"/>
                </a:lnTo>
                <a:lnTo>
                  <a:pt x="7018" y="4390"/>
                </a:lnTo>
                <a:lnTo>
                  <a:pt x="7011" y="4415"/>
                </a:lnTo>
                <a:lnTo>
                  <a:pt x="7002" y="4442"/>
                </a:lnTo>
                <a:lnTo>
                  <a:pt x="6990" y="4471"/>
                </a:lnTo>
                <a:lnTo>
                  <a:pt x="6976" y="4502"/>
                </a:lnTo>
                <a:lnTo>
                  <a:pt x="6959" y="4535"/>
                </a:lnTo>
                <a:lnTo>
                  <a:pt x="6941" y="4571"/>
                </a:lnTo>
                <a:lnTo>
                  <a:pt x="6921" y="4608"/>
                </a:lnTo>
                <a:lnTo>
                  <a:pt x="6899" y="4647"/>
                </a:lnTo>
                <a:lnTo>
                  <a:pt x="6875" y="4687"/>
                </a:lnTo>
                <a:lnTo>
                  <a:pt x="6850" y="4729"/>
                </a:lnTo>
                <a:lnTo>
                  <a:pt x="6793" y="4816"/>
                </a:lnTo>
                <a:lnTo>
                  <a:pt x="6733" y="4908"/>
                </a:lnTo>
                <a:lnTo>
                  <a:pt x="6668" y="5005"/>
                </a:lnTo>
                <a:lnTo>
                  <a:pt x="6600" y="5104"/>
                </a:lnTo>
                <a:lnTo>
                  <a:pt x="6528" y="5205"/>
                </a:lnTo>
                <a:lnTo>
                  <a:pt x="6455" y="5309"/>
                </a:lnTo>
                <a:lnTo>
                  <a:pt x="6381" y="5412"/>
                </a:lnTo>
                <a:lnTo>
                  <a:pt x="6306" y="5515"/>
                </a:lnTo>
                <a:lnTo>
                  <a:pt x="6231" y="5616"/>
                </a:lnTo>
                <a:lnTo>
                  <a:pt x="6158" y="5716"/>
                </a:lnTo>
                <a:lnTo>
                  <a:pt x="6113" y="5777"/>
                </a:lnTo>
                <a:lnTo>
                  <a:pt x="6068" y="5840"/>
                </a:lnTo>
                <a:lnTo>
                  <a:pt x="6021" y="5903"/>
                </a:lnTo>
                <a:lnTo>
                  <a:pt x="5975" y="5967"/>
                </a:lnTo>
                <a:lnTo>
                  <a:pt x="5928" y="6032"/>
                </a:lnTo>
                <a:lnTo>
                  <a:pt x="5880" y="6098"/>
                </a:lnTo>
                <a:lnTo>
                  <a:pt x="5832" y="6164"/>
                </a:lnTo>
                <a:lnTo>
                  <a:pt x="5784" y="6231"/>
                </a:lnTo>
                <a:lnTo>
                  <a:pt x="5736" y="6299"/>
                </a:lnTo>
                <a:lnTo>
                  <a:pt x="5687" y="6367"/>
                </a:lnTo>
                <a:lnTo>
                  <a:pt x="5637" y="6436"/>
                </a:lnTo>
                <a:lnTo>
                  <a:pt x="5588" y="6506"/>
                </a:lnTo>
                <a:lnTo>
                  <a:pt x="5539" y="6576"/>
                </a:lnTo>
                <a:lnTo>
                  <a:pt x="5490" y="6647"/>
                </a:lnTo>
                <a:lnTo>
                  <a:pt x="5441" y="6720"/>
                </a:lnTo>
                <a:lnTo>
                  <a:pt x="5392" y="6792"/>
                </a:lnTo>
                <a:lnTo>
                  <a:pt x="5319" y="6901"/>
                </a:lnTo>
                <a:lnTo>
                  <a:pt x="5246" y="7010"/>
                </a:lnTo>
                <a:lnTo>
                  <a:pt x="5173" y="7120"/>
                </a:lnTo>
                <a:lnTo>
                  <a:pt x="5100" y="7231"/>
                </a:lnTo>
                <a:lnTo>
                  <a:pt x="5027" y="7342"/>
                </a:lnTo>
                <a:lnTo>
                  <a:pt x="4956" y="7455"/>
                </a:lnTo>
                <a:lnTo>
                  <a:pt x="4885" y="7567"/>
                </a:lnTo>
                <a:lnTo>
                  <a:pt x="4815" y="7678"/>
                </a:lnTo>
                <a:lnTo>
                  <a:pt x="4677" y="7900"/>
                </a:lnTo>
                <a:lnTo>
                  <a:pt x="4542" y="8121"/>
                </a:lnTo>
                <a:lnTo>
                  <a:pt x="4411" y="8337"/>
                </a:lnTo>
                <a:lnTo>
                  <a:pt x="4285" y="8548"/>
                </a:lnTo>
                <a:lnTo>
                  <a:pt x="4165" y="8752"/>
                </a:lnTo>
                <a:lnTo>
                  <a:pt x="4050" y="8949"/>
                </a:lnTo>
                <a:lnTo>
                  <a:pt x="3942" y="9135"/>
                </a:lnTo>
                <a:lnTo>
                  <a:pt x="3841" y="9310"/>
                </a:lnTo>
                <a:lnTo>
                  <a:pt x="3748" y="9473"/>
                </a:lnTo>
                <a:lnTo>
                  <a:pt x="3663" y="9623"/>
                </a:lnTo>
                <a:lnTo>
                  <a:pt x="3588" y="9757"/>
                </a:lnTo>
                <a:lnTo>
                  <a:pt x="3522" y="9874"/>
                </a:lnTo>
                <a:lnTo>
                  <a:pt x="3437" y="10026"/>
                </a:lnTo>
                <a:lnTo>
                  <a:pt x="3406" y="10081"/>
                </a:lnTo>
                <a:lnTo>
                  <a:pt x="3378" y="10138"/>
                </a:lnTo>
                <a:lnTo>
                  <a:pt x="3352" y="10197"/>
                </a:lnTo>
                <a:lnTo>
                  <a:pt x="3327" y="10256"/>
                </a:lnTo>
                <a:lnTo>
                  <a:pt x="3305" y="10316"/>
                </a:lnTo>
                <a:lnTo>
                  <a:pt x="3284" y="10377"/>
                </a:lnTo>
                <a:lnTo>
                  <a:pt x="3264" y="10438"/>
                </a:lnTo>
                <a:lnTo>
                  <a:pt x="3247" y="10501"/>
                </a:lnTo>
                <a:lnTo>
                  <a:pt x="3233" y="10564"/>
                </a:lnTo>
                <a:lnTo>
                  <a:pt x="3220" y="10627"/>
                </a:lnTo>
                <a:lnTo>
                  <a:pt x="3209" y="10691"/>
                </a:lnTo>
                <a:lnTo>
                  <a:pt x="3200" y="10755"/>
                </a:lnTo>
                <a:lnTo>
                  <a:pt x="3193" y="10819"/>
                </a:lnTo>
                <a:lnTo>
                  <a:pt x="3187" y="10884"/>
                </a:lnTo>
                <a:lnTo>
                  <a:pt x="3184" y="10949"/>
                </a:lnTo>
                <a:lnTo>
                  <a:pt x="3183" y="11014"/>
                </a:lnTo>
                <a:lnTo>
                  <a:pt x="3183" y="11079"/>
                </a:lnTo>
                <a:lnTo>
                  <a:pt x="3186" y="11143"/>
                </a:lnTo>
                <a:lnTo>
                  <a:pt x="3191" y="11207"/>
                </a:lnTo>
                <a:lnTo>
                  <a:pt x="3197" y="11271"/>
                </a:lnTo>
                <a:lnTo>
                  <a:pt x="3205" y="11335"/>
                </a:lnTo>
                <a:lnTo>
                  <a:pt x="3216" y="11398"/>
                </a:lnTo>
                <a:lnTo>
                  <a:pt x="3228" y="11460"/>
                </a:lnTo>
                <a:lnTo>
                  <a:pt x="3242" y="11522"/>
                </a:lnTo>
                <a:lnTo>
                  <a:pt x="3258" y="11583"/>
                </a:lnTo>
                <a:lnTo>
                  <a:pt x="3277" y="11644"/>
                </a:lnTo>
                <a:lnTo>
                  <a:pt x="3297" y="11703"/>
                </a:lnTo>
                <a:lnTo>
                  <a:pt x="3319" y="11761"/>
                </a:lnTo>
                <a:lnTo>
                  <a:pt x="3343" y="11818"/>
                </a:lnTo>
                <a:lnTo>
                  <a:pt x="3369" y="11874"/>
                </a:lnTo>
                <a:lnTo>
                  <a:pt x="3397" y="11928"/>
                </a:lnTo>
                <a:lnTo>
                  <a:pt x="3427" y="11982"/>
                </a:lnTo>
                <a:lnTo>
                  <a:pt x="3450" y="12021"/>
                </a:lnTo>
                <a:lnTo>
                  <a:pt x="3475" y="12059"/>
                </a:lnTo>
                <a:lnTo>
                  <a:pt x="3500" y="12096"/>
                </a:lnTo>
                <a:lnTo>
                  <a:pt x="3526" y="12132"/>
                </a:lnTo>
                <a:lnTo>
                  <a:pt x="3553" y="12167"/>
                </a:lnTo>
                <a:lnTo>
                  <a:pt x="3581" y="12201"/>
                </a:lnTo>
                <a:lnTo>
                  <a:pt x="3610" y="12233"/>
                </a:lnTo>
                <a:lnTo>
                  <a:pt x="3639" y="12264"/>
                </a:lnTo>
                <a:lnTo>
                  <a:pt x="3669" y="12295"/>
                </a:lnTo>
                <a:lnTo>
                  <a:pt x="3700" y="12324"/>
                </a:lnTo>
                <a:lnTo>
                  <a:pt x="3732" y="12352"/>
                </a:lnTo>
                <a:lnTo>
                  <a:pt x="3764" y="12379"/>
                </a:lnTo>
                <a:lnTo>
                  <a:pt x="3797" y="12404"/>
                </a:lnTo>
                <a:lnTo>
                  <a:pt x="3831" y="12428"/>
                </a:lnTo>
                <a:lnTo>
                  <a:pt x="3867" y="12451"/>
                </a:lnTo>
                <a:lnTo>
                  <a:pt x="3902" y="12472"/>
                </a:lnTo>
                <a:lnTo>
                  <a:pt x="3938" y="12493"/>
                </a:lnTo>
                <a:lnTo>
                  <a:pt x="3974" y="12512"/>
                </a:lnTo>
                <a:lnTo>
                  <a:pt x="4012" y="12530"/>
                </a:lnTo>
                <a:lnTo>
                  <a:pt x="4049" y="12546"/>
                </a:lnTo>
                <a:lnTo>
                  <a:pt x="4088" y="12561"/>
                </a:lnTo>
                <a:lnTo>
                  <a:pt x="4127" y="12576"/>
                </a:lnTo>
                <a:lnTo>
                  <a:pt x="4166" y="12588"/>
                </a:lnTo>
                <a:lnTo>
                  <a:pt x="4206" y="12600"/>
                </a:lnTo>
                <a:lnTo>
                  <a:pt x="4247" y="12610"/>
                </a:lnTo>
                <a:lnTo>
                  <a:pt x="4288" y="12619"/>
                </a:lnTo>
                <a:lnTo>
                  <a:pt x="4330" y="12626"/>
                </a:lnTo>
                <a:lnTo>
                  <a:pt x="4372" y="12632"/>
                </a:lnTo>
                <a:lnTo>
                  <a:pt x="4415" y="12637"/>
                </a:lnTo>
                <a:lnTo>
                  <a:pt x="4459" y="12640"/>
                </a:lnTo>
                <a:lnTo>
                  <a:pt x="4503" y="12642"/>
                </a:lnTo>
                <a:lnTo>
                  <a:pt x="4547" y="12643"/>
                </a:lnTo>
                <a:lnTo>
                  <a:pt x="14664" y="12643"/>
                </a:lnTo>
                <a:lnTo>
                  <a:pt x="14708" y="12642"/>
                </a:lnTo>
                <a:lnTo>
                  <a:pt x="14752" y="12640"/>
                </a:lnTo>
                <a:lnTo>
                  <a:pt x="14795" y="12637"/>
                </a:lnTo>
                <a:lnTo>
                  <a:pt x="14837" y="12632"/>
                </a:lnTo>
                <a:lnTo>
                  <a:pt x="14880" y="12626"/>
                </a:lnTo>
                <a:lnTo>
                  <a:pt x="14921" y="12619"/>
                </a:lnTo>
                <a:lnTo>
                  <a:pt x="14962" y="12610"/>
                </a:lnTo>
                <a:lnTo>
                  <a:pt x="15003" y="12600"/>
                </a:lnTo>
                <a:lnTo>
                  <a:pt x="15043" y="12588"/>
                </a:lnTo>
                <a:lnTo>
                  <a:pt x="15082" y="12576"/>
                </a:lnTo>
                <a:lnTo>
                  <a:pt x="15121" y="12561"/>
                </a:lnTo>
                <a:lnTo>
                  <a:pt x="15161" y="12546"/>
                </a:lnTo>
                <a:lnTo>
                  <a:pt x="15198" y="12530"/>
                </a:lnTo>
                <a:lnTo>
                  <a:pt x="15235" y="12512"/>
                </a:lnTo>
                <a:lnTo>
                  <a:pt x="15272" y="12493"/>
                </a:lnTo>
                <a:lnTo>
                  <a:pt x="15308" y="12472"/>
                </a:lnTo>
                <a:lnTo>
                  <a:pt x="15343" y="12451"/>
                </a:lnTo>
                <a:lnTo>
                  <a:pt x="15377" y="12428"/>
                </a:lnTo>
                <a:lnTo>
                  <a:pt x="15411" y="12404"/>
                </a:lnTo>
                <a:lnTo>
                  <a:pt x="15444" y="12379"/>
                </a:lnTo>
                <a:lnTo>
                  <a:pt x="15477" y="12352"/>
                </a:lnTo>
                <a:lnTo>
                  <a:pt x="15508" y="12324"/>
                </a:lnTo>
                <a:lnTo>
                  <a:pt x="15539" y="12295"/>
                </a:lnTo>
                <a:lnTo>
                  <a:pt x="15570" y="12264"/>
                </a:lnTo>
                <a:lnTo>
                  <a:pt x="15599" y="12233"/>
                </a:lnTo>
                <a:lnTo>
                  <a:pt x="15628" y="12201"/>
                </a:lnTo>
                <a:lnTo>
                  <a:pt x="15656" y="12167"/>
                </a:lnTo>
                <a:lnTo>
                  <a:pt x="15683" y="12132"/>
                </a:lnTo>
                <a:lnTo>
                  <a:pt x="15709" y="12096"/>
                </a:lnTo>
                <a:lnTo>
                  <a:pt x="15736" y="12059"/>
                </a:lnTo>
                <a:lnTo>
                  <a:pt x="15760" y="12021"/>
                </a:lnTo>
                <a:lnTo>
                  <a:pt x="15784" y="11982"/>
                </a:lnTo>
                <a:lnTo>
                  <a:pt x="15814" y="11928"/>
                </a:lnTo>
                <a:lnTo>
                  <a:pt x="15842" y="11874"/>
                </a:lnTo>
                <a:lnTo>
                  <a:pt x="15867" y="11818"/>
                </a:lnTo>
                <a:lnTo>
                  <a:pt x="15891" y="11761"/>
                </a:lnTo>
                <a:lnTo>
                  <a:pt x="15913" y="11703"/>
                </a:lnTo>
                <a:lnTo>
                  <a:pt x="15933" y="11644"/>
                </a:lnTo>
                <a:lnTo>
                  <a:pt x="15951" y="11583"/>
                </a:lnTo>
                <a:lnTo>
                  <a:pt x="15968" y="11522"/>
                </a:lnTo>
                <a:lnTo>
                  <a:pt x="15982" y="11460"/>
                </a:lnTo>
                <a:lnTo>
                  <a:pt x="15994" y="11398"/>
                </a:lnTo>
                <a:lnTo>
                  <a:pt x="16004" y="11335"/>
                </a:lnTo>
                <a:lnTo>
                  <a:pt x="16013" y="11271"/>
                </a:lnTo>
                <a:lnTo>
                  <a:pt x="16019" y="11207"/>
                </a:lnTo>
                <a:lnTo>
                  <a:pt x="16024" y="11143"/>
                </a:lnTo>
                <a:lnTo>
                  <a:pt x="16026" y="11079"/>
                </a:lnTo>
                <a:lnTo>
                  <a:pt x="16027" y="11014"/>
                </a:lnTo>
                <a:lnTo>
                  <a:pt x="16026" y="10949"/>
                </a:lnTo>
                <a:lnTo>
                  <a:pt x="16022" y="10884"/>
                </a:lnTo>
                <a:lnTo>
                  <a:pt x="16017" y="10819"/>
                </a:lnTo>
                <a:lnTo>
                  <a:pt x="16010" y="10755"/>
                </a:lnTo>
                <a:lnTo>
                  <a:pt x="16001" y="10691"/>
                </a:lnTo>
                <a:lnTo>
                  <a:pt x="15990" y="10627"/>
                </a:lnTo>
                <a:lnTo>
                  <a:pt x="15977" y="10564"/>
                </a:lnTo>
                <a:lnTo>
                  <a:pt x="15962" y="10501"/>
                </a:lnTo>
                <a:lnTo>
                  <a:pt x="15946" y="10438"/>
                </a:lnTo>
                <a:lnTo>
                  <a:pt x="15927" y="10377"/>
                </a:lnTo>
                <a:lnTo>
                  <a:pt x="15906" y="10316"/>
                </a:lnTo>
                <a:lnTo>
                  <a:pt x="15884" y="10256"/>
                </a:lnTo>
                <a:lnTo>
                  <a:pt x="15859" y="10197"/>
                </a:lnTo>
                <a:lnTo>
                  <a:pt x="15833" y="10138"/>
                </a:lnTo>
                <a:lnTo>
                  <a:pt x="15805" y="10081"/>
                </a:lnTo>
                <a:lnTo>
                  <a:pt x="15774" y="10026"/>
                </a:lnTo>
                <a:lnTo>
                  <a:pt x="15688" y="9872"/>
                </a:lnTo>
                <a:lnTo>
                  <a:pt x="15622" y="9755"/>
                </a:lnTo>
                <a:lnTo>
                  <a:pt x="15546" y="9622"/>
                </a:lnTo>
                <a:lnTo>
                  <a:pt x="15462" y="9472"/>
                </a:lnTo>
                <a:lnTo>
                  <a:pt x="15369" y="9309"/>
                </a:lnTo>
                <a:lnTo>
                  <a:pt x="15268" y="9134"/>
                </a:lnTo>
                <a:lnTo>
                  <a:pt x="15160" y="8948"/>
                </a:lnTo>
                <a:lnTo>
                  <a:pt x="15045" y="8751"/>
                </a:lnTo>
                <a:lnTo>
                  <a:pt x="14925" y="8547"/>
                </a:lnTo>
                <a:lnTo>
                  <a:pt x="14799" y="8337"/>
                </a:lnTo>
                <a:lnTo>
                  <a:pt x="14669" y="8121"/>
                </a:lnTo>
                <a:lnTo>
                  <a:pt x="14533" y="7900"/>
                </a:lnTo>
                <a:lnTo>
                  <a:pt x="14395" y="7677"/>
                </a:lnTo>
                <a:lnTo>
                  <a:pt x="14325" y="7565"/>
                </a:lnTo>
                <a:lnTo>
                  <a:pt x="14254" y="7453"/>
                </a:lnTo>
                <a:lnTo>
                  <a:pt x="14182" y="7341"/>
                </a:lnTo>
                <a:lnTo>
                  <a:pt x="14110" y="7229"/>
                </a:lnTo>
                <a:lnTo>
                  <a:pt x="14038" y="7118"/>
                </a:lnTo>
                <a:lnTo>
                  <a:pt x="13965" y="7008"/>
                </a:lnTo>
                <a:lnTo>
                  <a:pt x="13891" y="6898"/>
                </a:lnTo>
                <a:lnTo>
                  <a:pt x="13817" y="6790"/>
                </a:lnTo>
                <a:lnTo>
                  <a:pt x="13768" y="6718"/>
                </a:lnTo>
                <a:lnTo>
                  <a:pt x="13719" y="6646"/>
                </a:lnTo>
                <a:lnTo>
                  <a:pt x="13670" y="6575"/>
                </a:lnTo>
                <a:lnTo>
                  <a:pt x="13621" y="6505"/>
                </a:lnTo>
                <a:lnTo>
                  <a:pt x="13572" y="6435"/>
                </a:lnTo>
                <a:lnTo>
                  <a:pt x="13524" y="6367"/>
                </a:lnTo>
                <a:lnTo>
                  <a:pt x="13475" y="6298"/>
                </a:lnTo>
                <a:lnTo>
                  <a:pt x="13427" y="6231"/>
                </a:lnTo>
                <a:lnTo>
                  <a:pt x="13378" y="6164"/>
                </a:lnTo>
                <a:lnTo>
                  <a:pt x="13330" y="6098"/>
                </a:lnTo>
                <a:lnTo>
                  <a:pt x="13282" y="6032"/>
                </a:lnTo>
                <a:lnTo>
                  <a:pt x="13235" y="5967"/>
                </a:lnTo>
                <a:lnTo>
                  <a:pt x="13188" y="5903"/>
                </a:lnTo>
                <a:lnTo>
                  <a:pt x="13142" y="5840"/>
                </a:lnTo>
                <a:lnTo>
                  <a:pt x="13096" y="5777"/>
                </a:lnTo>
                <a:lnTo>
                  <a:pt x="13051" y="5716"/>
                </a:lnTo>
                <a:lnTo>
                  <a:pt x="12978" y="5616"/>
                </a:lnTo>
                <a:lnTo>
                  <a:pt x="12904" y="5515"/>
                </a:lnTo>
                <a:lnTo>
                  <a:pt x="12830" y="5412"/>
                </a:lnTo>
                <a:lnTo>
                  <a:pt x="12755" y="5309"/>
                </a:lnTo>
                <a:lnTo>
                  <a:pt x="12681" y="5205"/>
                </a:lnTo>
                <a:lnTo>
                  <a:pt x="12610" y="5104"/>
                </a:lnTo>
                <a:lnTo>
                  <a:pt x="12542" y="5005"/>
                </a:lnTo>
                <a:lnTo>
                  <a:pt x="12477" y="4908"/>
                </a:lnTo>
                <a:lnTo>
                  <a:pt x="12416" y="4816"/>
                </a:lnTo>
                <a:lnTo>
                  <a:pt x="12361" y="4729"/>
                </a:lnTo>
                <a:lnTo>
                  <a:pt x="12336" y="4687"/>
                </a:lnTo>
                <a:lnTo>
                  <a:pt x="12312" y="4647"/>
                </a:lnTo>
                <a:lnTo>
                  <a:pt x="12290" y="4608"/>
                </a:lnTo>
                <a:lnTo>
                  <a:pt x="12270" y="4571"/>
                </a:lnTo>
                <a:lnTo>
                  <a:pt x="12251" y="4535"/>
                </a:lnTo>
                <a:lnTo>
                  <a:pt x="12235" y="4502"/>
                </a:lnTo>
                <a:lnTo>
                  <a:pt x="12221" y="4471"/>
                </a:lnTo>
                <a:lnTo>
                  <a:pt x="12209" y="4442"/>
                </a:lnTo>
                <a:lnTo>
                  <a:pt x="12200" y="4415"/>
                </a:lnTo>
                <a:lnTo>
                  <a:pt x="12193" y="4390"/>
                </a:lnTo>
                <a:lnTo>
                  <a:pt x="12188" y="4368"/>
                </a:lnTo>
                <a:lnTo>
                  <a:pt x="12186" y="4349"/>
                </a:lnTo>
                <a:lnTo>
                  <a:pt x="12191" y="4178"/>
                </a:lnTo>
                <a:lnTo>
                  <a:pt x="12195" y="3983"/>
                </a:lnTo>
                <a:lnTo>
                  <a:pt x="12198" y="3768"/>
                </a:lnTo>
                <a:lnTo>
                  <a:pt x="12200" y="3537"/>
                </a:lnTo>
                <a:lnTo>
                  <a:pt x="12201" y="3295"/>
                </a:lnTo>
                <a:lnTo>
                  <a:pt x="12202" y="3042"/>
                </a:lnTo>
                <a:lnTo>
                  <a:pt x="12202" y="2786"/>
                </a:lnTo>
                <a:lnTo>
                  <a:pt x="12201" y="2529"/>
                </a:lnTo>
                <a:lnTo>
                  <a:pt x="12200" y="2273"/>
                </a:lnTo>
                <a:lnTo>
                  <a:pt x="12199" y="2025"/>
                </a:lnTo>
                <a:lnTo>
                  <a:pt x="12198" y="1787"/>
                </a:lnTo>
                <a:lnTo>
                  <a:pt x="12196" y="1562"/>
                </a:lnTo>
                <a:lnTo>
                  <a:pt x="12194" y="1355"/>
                </a:lnTo>
                <a:lnTo>
                  <a:pt x="12192" y="1170"/>
                </a:lnTo>
                <a:lnTo>
                  <a:pt x="12190" y="1008"/>
                </a:lnTo>
                <a:lnTo>
                  <a:pt x="12189" y="876"/>
                </a:lnTo>
                <a:lnTo>
                  <a:pt x="12688" y="876"/>
                </a:lnTo>
                <a:lnTo>
                  <a:pt x="12688" y="0"/>
                </a:lnTo>
                <a:close/>
                <a:moveTo>
                  <a:pt x="7752" y="4325"/>
                </a:moveTo>
                <a:lnTo>
                  <a:pt x="7747" y="4170"/>
                </a:lnTo>
                <a:lnTo>
                  <a:pt x="7744" y="3991"/>
                </a:lnTo>
                <a:lnTo>
                  <a:pt x="7741" y="3791"/>
                </a:lnTo>
                <a:lnTo>
                  <a:pt x="7739" y="3574"/>
                </a:lnTo>
                <a:lnTo>
                  <a:pt x="7737" y="3343"/>
                </a:lnTo>
                <a:lnTo>
                  <a:pt x="7737" y="3101"/>
                </a:lnTo>
                <a:lnTo>
                  <a:pt x="7736" y="2853"/>
                </a:lnTo>
                <a:lnTo>
                  <a:pt x="7737" y="2602"/>
                </a:lnTo>
                <a:lnTo>
                  <a:pt x="7737" y="2350"/>
                </a:lnTo>
                <a:lnTo>
                  <a:pt x="7738" y="2102"/>
                </a:lnTo>
                <a:lnTo>
                  <a:pt x="7740" y="1860"/>
                </a:lnTo>
                <a:lnTo>
                  <a:pt x="7741" y="1629"/>
                </a:lnTo>
                <a:lnTo>
                  <a:pt x="7743" y="1411"/>
                </a:lnTo>
                <a:lnTo>
                  <a:pt x="7744" y="1212"/>
                </a:lnTo>
                <a:lnTo>
                  <a:pt x="7746" y="1031"/>
                </a:lnTo>
                <a:lnTo>
                  <a:pt x="7747" y="876"/>
                </a:lnTo>
                <a:lnTo>
                  <a:pt x="11463" y="876"/>
                </a:lnTo>
                <a:lnTo>
                  <a:pt x="11464" y="1032"/>
                </a:lnTo>
                <a:lnTo>
                  <a:pt x="11466" y="1212"/>
                </a:lnTo>
                <a:lnTo>
                  <a:pt x="11467" y="1412"/>
                </a:lnTo>
                <a:lnTo>
                  <a:pt x="11469" y="1630"/>
                </a:lnTo>
                <a:lnTo>
                  <a:pt x="11470" y="1861"/>
                </a:lnTo>
                <a:lnTo>
                  <a:pt x="11471" y="2103"/>
                </a:lnTo>
                <a:lnTo>
                  <a:pt x="11473" y="2351"/>
                </a:lnTo>
                <a:lnTo>
                  <a:pt x="11473" y="2603"/>
                </a:lnTo>
                <a:lnTo>
                  <a:pt x="11474" y="2854"/>
                </a:lnTo>
                <a:lnTo>
                  <a:pt x="11474" y="3102"/>
                </a:lnTo>
                <a:lnTo>
                  <a:pt x="11473" y="3344"/>
                </a:lnTo>
                <a:lnTo>
                  <a:pt x="11472" y="3574"/>
                </a:lnTo>
                <a:lnTo>
                  <a:pt x="11470" y="3791"/>
                </a:lnTo>
                <a:lnTo>
                  <a:pt x="11468" y="3991"/>
                </a:lnTo>
                <a:lnTo>
                  <a:pt x="11464" y="4170"/>
                </a:lnTo>
                <a:lnTo>
                  <a:pt x="11460" y="4325"/>
                </a:lnTo>
                <a:lnTo>
                  <a:pt x="11460" y="4364"/>
                </a:lnTo>
                <a:lnTo>
                  <a:pt x="11462" y="4403"/>
                </a:lnTo>
                <a:lnTo>
                  <a:pt x="11466" y="4443"/>
                </a:lnTo>
                <a:lnTo>
                  <a:pt x="11472" y="4483"/>
                </a:lnTo>
                <a:lnTo>
                  <a:pt x="11480" y="4525"/>
                </a:lnTo>
                <a:lnTo>
                  <a:pt x="11490" y="4568"/>
                </a:lnTo>
                <a:lnTo>
                  <a:pt x="11502" y="4611"/>
                </a:lnTo>
                <a:lnTo>
                  <a:pt x="11517" y="4655"/>
                </a:lnTo>
                <a:lnTo>
                  <a:pt x="11533" y="4700"/>
                </a:lnTo>
                <a:lnTo>
                  <a:pt x="11552" y="4746"/>
                </a:lnTo>
                <a:lnTo>
                  <a:pt x="11572" y="4793"/>
                </a:lnTo>
                <a:lnTo>
                  <a:pt x="11596" y="4841"/>
                </a:lnTo>
                <a:lnTo>
                  <a:pt x="11621" y="4890"/>
                </a:lnTo>
                <a:lnTo>
                  <a:pt x="11647" y="4941"/>
                </a:lnTo>
                <a:lnTo>
                  <a:pt x="11676" y="4993"/>
                </a:lnTo>
                <a:lnTo>
                  <a:pt x="11707" y="5046"/>
                </a:lnTo>
                <a:lnTo>
                  <a:pt x="11739" y="5101"/>
                </a:lnTo>
                <a:lnTo>
                  <a:pt x="11774" y="5158"/>
                </a:lnTo>
                <a:lnTo>
                  <a:pt x="11811" y="5216"/>
                </a:lnTo>
                <a:lnTo>
                  <a:pt x="11849" y="5277"/>
                </a:lnTo>
                <a:lnTo>
                  <a:pt x="11890" y="5338"/>
                </a:lnTo>
                <a:lnTo>
                  <a:pt x="11933" y="5401"/>
                </a:lnTo>
                <a:lnTo>
                  <a:pt x="11977" y="5466"/>
                </a:lnTo>
                <a:lnTo>
                  <a:pt x="12024" y="5533"/>
                </a:lnTo>
                <a:lnTo>
                  <a:pt x="12122" y="5673"/>
                </a:lnTo>
                <a:lnTo>
                  <a:pt x="12230" y="5821"/>
                </a:lnTo>
                <a:lnTo>
                  <a:pt x="12344" y="5979"/>
                </a:lnTo>
                <a:lnTo>
                  <a:pt x="12465" y="6145"/>
                </a:lnTo>
                <a:lnTo>
                  <a:pt x="12509" y="6206"/>
                </a:lnTo>
                <a:lnTo>
                  <a:pt x="12554" y="6267"/>
                </a:lnTo>
                <a:lnTo>
                  <a:pt x="12600" y="6329"/>
                </a:lnTo>
                <a:lnTo>
                  <a:pt x="12645" y="6392"/>
                </a:lnTo>
                <a:lnTo>
                  <a:pt x="12692" y="6455"/>
                </a:lnTo>
                <a:lnTo>
                  <a:pt x="12738" y="6519"/>
                </a:lnTo>
                <a:lnTo>
                  <a:pt x="12786" y="6584"/>
                </a:lnTo>
                <a:lnTo>
                  <a:pt x="12833" y="6650"/>
                </a:lnTo>
                <a:lnTo>
                  <a:pt x="12881" y="6717"/>
                </a:lnTo>
                <a:lnTo>
                  <a:pt x="12929" y="6784"/>
                </a:lnTo>
                <a:lnTo>
                  <a:pt x="12976" y="6851"/>
                </a:lnTo>
                <a:lnTo>
                  <a:pt x="13024" y="6919"/>
                </a:lnTo>
                <a:lnTo>
                  <a:pt x="13073" y="6988"/>
                </a:lnTo>
                <a:lnTo>
                  <a:pt x="13121" y="7058"/>
                </a:lnTo>
                <a:lnTo>
                  <a:pt x="13169" y="7128"/>
                </a:lnTo>
                <a:lnTo>
                  <a:pt x="13217" y="7198"/>
                </a:lnTo>
                <a:lnTo>
                  <a:pt x="13289" y="7304"/>
                </a:lnTo>
                <a:lnTo>
                  <a:pt x="13361" y="7413"/>
                </a:lnTo>
                <a:lnTo>
                  <a:pt x="13433" y="7520"/>
                </a:lnTo>
                <a:lnTo>
                  <a:pt x="13504" y="7629"/>
                </a:lnTo>
                <a:lnTo>
                  <a:pt x="13574" y="7738"/>
                </a:lnTo>
                <a:lnTo>
                  <a:pt x="13644" y="7848"/>
                </a:lnTo>
                <a:lnTo>
                  <a:pt x="13714" y="7957"/>
                </a:lnTo>
                <a:lnTo>
                  <a:pt x="13782" y="8067"/>
                </a:lnTo>
                <a:lnTo>
                  <a:pt x="13918" y="8286"/>
                </a:lnTo>
                <a:lnTo>
                  <a:pt x="14051" y="8502"/>
                </a:lnTo>
                <a:lnTo>
                  <a:pt x="14179" y="8714"/>
                </a:lnTo>
                <a:lnTo>
                  <a:pt x="14302" y="8922"/>
                </a:lnTo>
                <a:lnTo>
                  <a:pt x="14421" y="9123"/>
                </a:lnTo>
                <a:lnTo>
                  <a:pt x="14533" y="9316"/>
                </a:lnTo>
                <a:lnTo>
                  <a:pt x="14640" y="9500"/>
                </a:lnTo>
                <a:lnTo>
                  <a:pt x="14739" y="9673"/>
                </a:lnTo>
                <a:lnTo>
                  <a:pt x="14830" y="9833"/>
                </a:lnTo>
                <a:lnTo>
                  <a:pt x="14913" y="9980"/>
                </a:lnTo>
                <a:lnTo>
                  <a:pt x="14988" y="10112"/>
                </a:lnTo>
                <a:lnTo>
                  <a:pt x="15053" y="10228"/>
                </a:lnTo>
                <a:lnTo>
                  <a:pt x="15140" y="10384"/>
                </a:lnTo>
                <a:lnTo>
                  <a:pt x="15159" y="10419"/>
                </a:lnTo>
                <a:lnTo>
                  <a:pt x="15176" y="10454"/>
                </a:lnTo>
                <a:lnTo>
                  <a:pt x="15193" y="10490"/>
                </a:lnTo>
                <a:lnTo>
                  <a:pt x="15208" y="10527"/>
                </a:lnTo>
                <a:lnTo>
                  <a:pt x="15222" y="10565"/>
                </a:lnTo>
                <a:lnTo>
                  <a:pt x="15235" y="10603"/>
                </a:lnTo>
                <a:lnTo>
                  <a:pt x="15247" y="10642"/>
                </a:lnTo>
                <a:lnTo>
                  <a:pt x="15258" y="10682"/>
                </a:lnTo>
                <a:lnTo>
                  <a:pt x="15267" y="10722"/>
                </a:lnTo>
                <a:lnTo>
                  <a:pt x="15275" y="10762"/>
                </a:lnTo>
                <a:lnTo>
                  <a:pt x="15282" y="10803"/>
                </a:lnTo>
                <a:lnTo>
                  <a:pt x="15288" y="10844"/>
                </a:lnTo>
                <a:lnTo>
                  <a:pt x="15293" y="10885"/>
                </a:lnTo>
                <a:lnTo>
                  <a:pt x="15296" y="10927"/>
                </a:lnTo>
                <a:lnTo>
                  <a:pt x="15299" y="10969"/>
                </a:lnTo>
                <a:lnTo>
                  <a:pt x="15300" y="11010"/>
                </a:lnTo>
                <a:lnTo>
                  <a:pt x="15300" y="11051"/>
                </a:lnTo>
                <a:lnTo>
                  <a:pt x="15298" y="11092"/>
                </a:lnTo>
                <a:lnTo>
                  <a:pt x="15296" y="11133"/>
                </a:lnTo>
                <a:lnTo>
                  <a:pt x="15292" y="11174"/>
                </a:lnTo>
                <a:lnTo>
                  <a:pt x="15287" y="11214"/>
                </a:lnTo>
                <a:lnTo>
                  <a:pt x="15281" y="11254"/>
                </a:lnTo>
                <a:lnTo>
                  <a:pt x="15274" y="11293"/>
                </a:lnTo>
                <a:lnTo>
                  <a:pt x="15266" y="11332"/>
                </a:lnTo>
                <a:lnTo>
                  <a:pt x="15256" y="11371"/>
                </a:lnTo>
                <a:lnTo>
                  <a:pt x="15246" y="11408"/>
                </a:lnTo>
                <a:lnTo>
                  <a:pt x="15234" y="11445"/>
                </a:lnTo>
                <a:lnTo>
                  <a:pt x="15221" y="11481"/>
                </a:lnTo>
                <a:lnTo>
                  <a:pt x="15206" y="11516"/>
                </a:lnTo>
                <a:lnTo>
                  <a:pt x="15191" y="11551"/>
                </a:lnTo>
                <a:lnTo>
                  <a:pt x="15174" y="11584"/>
                </a:lnTo>
                <a:lnTo>
                  <a:pt x="15157" y="11617"/>
                </a:lnTo>
                <a:lnTo>
                  <a:pt x="15146" y="11636"/>
                </a:lnTo>
                <a:lnTo>
                  <a:pt x="15133" y="11653"/>
                </a:lnTo>
                <a:lnTo>
                  <a:pt x="15121" y="11670"/>
                </a:lnTo>
                <a:lnTo>
                  <a:pt x="15109" y="11687"/>
                </a:lnTo>
                <a:lnTo>
                  <a:pt x="15097" y="11703"/>
                </a:lnTo>
                <a:lnTo>
                  <a:pt x="15085" y="11718"/>
                </a:lnTo>
                <a:lnTo>
                  <a:pt x="15072" y="11733"/>
                </a:lnTo>
                <a:lnTo>
                  <a:pt x="15059" y="11747"/>
                </a:lnTo>
                <a:lnTo>
                  <a:pt x="15046" y="11761"/>
                </a:lnTo>
                <a:lnTo>
                  <a:pt x="15032" y="11774"/>
                </a:lnTo>
                <a:lnTo>
                  <a:pt x="15018" y="11787"/>
                </a:lnTo>
                <a:lnTo>
                  <a:pt x="15004" y="11798"/>
                </a:lnTo>
                <a:lnTo>
                  <a:pt x="14989" y="11810"/>
                </a:lnTo>
                <a:lnTo>
                  <a:pt x="14975" y="11821"/>
                </a:lnTo>
                <a:lnTo>
                  <a:pt x="14960" y="11831"/>
                </a:lnTo>
                <a:lnTo>
                  <a:pt x="14944" y="11840"/>
                </a:lnTo>
                <a:lnTo>
                  <a:pt x="14929" y="11849"/>
                </a:lnTo>
                <a:lnTo>
                  <a:pt x="14913" y="11858"/>
                </a:lnTo>
                <a:lnTo>
                  <a:pt x="14897" y="11866"/>
                </a:lnTo>
                <a:lnTo>
                  <a:pt x="14880" y="11873"/>
                </a:lnTo>
                <a:lnTo>
                  <a:pt x="14864" y="11880"/>
                </a:lnTo>
                <a:lnTo>
                  <a:pt x="14847" y="11886"/>
                </a:lnTo>
                <a:lnTo>
                  <a:pt x="14830" y="11892"/>
                </a:lnTo>
                <a:lnTo>
                  <a:pt x="14812" y="11897"/>
                </a:lnTo>
                <a:lnTo>
                  <a:pt x="14794" y="11901"/>
                </a:lnTo>
                <a:lnTo>
                  <a:pt x="14776" y="11905"/>
                </a:lnTo>
                <a:lnTo>
                  <a:pt x="14758" y="11908"/>
                </a:lnTo>
                <a:lnTo>
                  <a:pt x="14739" y="11911"/>
                </a:lnTo>
                <a:lnTo>
                  <a:pt x="14720" y="11913"/>
                </a:lnTo>
                <a:lnTo>
                  <a:pt x="14701" y="11914"/>
                </a:lnTo>
                <a:lnTo>
                  <a:pt x="14681" y="11915"/>
                </a:lnTo>
                <a:lnTo>
                  <a:pt x="14661" y="11915"/>
                </a:lnTo>
                <a:lnTo>
                  <a:pt x="4549" y="11915"/>
                </a:lnTo>
                <a:lnTo>
                  <a:pt x="4530" y="11915"/>
                </a:lnTo>
                <a:lnTo>
                  <a:pt x="4510" y="11914"/>
                </a:lnTo>
                <a:lnTo>
                  <a:pt x="4491" y="11913"/>
                </a:lnTo>
                <a:lnTo>
                  <a:pt x="4472" y="11911"/>
                </a:lnTo>
                <a:lnTo>
                  <a:pt x="4454" y="11908"/>
                </a:lnTo>
                <a:lnTo>
                  <a:pt x="4434" y="11905"/>
                </a:lnTo>
                <a:lnTo>
                  <a:pt x="4416" y="11901"/>
                </a:lnTo>
                <a:lnTo>
                  <a:pt x="4399" y="11897"/>
                </a:lnTo>
                <a:lnTo>
                  <a:pt x="4381" y="11892"/>
                </a:lnTo>
                <a:lnTo>
                  <a:pt x="4364" y="11886"/>
                </a:lnTo>
                <a:lnTo>
                  <a:pt x="4347" y="11880"/>
                </a:lnTo>
                <a:lnTo>
                  <a:pt x="4330" y="11873"/>
                </a:lnTo>
                <a:lnTo>
                  <a:pt x="4314" y="11866"/>
                </a:lnTo>
                <a:lnTo>
                  <a:pt x="4298" y="11858"/>
                </a:lnTo>
                <a:lnTo>
                  <a:pt x="4282" y="11849"/>
                </a:lnTo>
                <a:lnTo>
                  <a:pt x="4266" y="11840"/>
                </a:lnTo>
                <a:lnTo>
                  <a:pt x="4251" y="11831"/>
                </a:lnTo>
                <a:lnTo>
                  <a:pt x="4236" y="11821"/>
                </a:lnTo>
                <a:lnTo>
                  <a:pt x="4221" y="11810"/>
                </a:lnTo>
                <a:lnTo>
                  <a:pt x="4207" y="11798"/>
                </a:lnTo>
                <a:lnTo>
                  <a:pt x="4193" y="11787"/>
                </a:lnTo>
                <a:lnTo>
                  <a:pt x="4179" y="11774"/>
                </a:lnTo>
                <a:lnTo>
                  <a:pt x="4165" y="11761"/>
                </a:lnTo>
                <a:lnTo>
                  <a:pt x="4152" y="11747"/>
                </a:lnTo>
                <a:lnTo>
                  <a:pt x="4139" y="11733"/>
                </a:lnTo>
                <a:lnTo>
                  <a:pt x="4126" y="11718"/>
                </a:lnTo>
                <a:lnTo>
                  <a:pt x="4114" y="11703"/>
                </a:lnTo>
                <a:lnTo>
                  <a:pt x="4102" y="11687"/>
                </a:lnTo>
                <a:lnTo>
                  <a:pt x="4090" y="11670"/>
                </a:lnTo>
                <a:lnTo>
                  <a:pt x="4079" y="11653"/>
                </a:lnTo>
                <a:lnTo>
                  <a:pt x="4067" y="11636"/>
                </a:lnTo>
                <a:lnTo>
                  <a:pt x="4056" y="11617"/>
                </a:lnTo>
                <a:lnTo>
                  <a:pt x="4038" y="11584"/>
                </a:lnTo>
                <a:lnTo>
                  <a:pt x="4022" y="11551"/>
                </a:lnTo>
                <a:lnTo>
                  <a:pt x="4006" y="11516"/>
                </a:lnTo>
                <a:lnTo>
                  <a:pt x="3992" y="11481"/>
                </a:lnTo>
                <a:lnTo>
                  <a:pt x="3978" y="11445"/>
                </a:lnTo>
                <a:lnTo>
                  <a:pt x="3966" y="11408"/>
                </a:lnTo>
                <a:lnTo>
                  <a:pt x="3956" y="11371"/>
                </a:lnTo>
                <a:lnTo>
                  <a:pt x="3946" y="11332"/>
                </a:lnTo>
                <a:lnTo>
                  <a:pt x="3938" y="11293"/>
                </a:lnTo>
                <a:lnTo>
                  <a:pt x="3930" y="11254"/>
                </a:lnTo>
                <a:lnTo>
                  <a:pt x="3924" y="11214"/>
                </a:lnTo>
                <a:lnTo>
                  <a:pt x="3920" y="11174"/>
                </a:lnTo>
                <a:lnTo>
                  <a:pt x="3916" y="11133"/>
                </a:lnTo>
                <a:lnTo>
                  <a:pt x="3914" y="11092"/>
                </a:lnTo>
                <a:lnTo>
                  <a:pt x="3912" y="11051"/>
                </a:lnTo>
                <a:lnTo>
                  <a:pt x="3912" y="11010"/>
                </a:lnTo>
                <a:lnTo>
                  <a:pt x="3913" y="10969"/>
                </a:lnTo>
                <a:lnTo>
                  <a:pt x="3916" y="10927"/>
                </a:lnTo>
                <a:lnTo>
                  <a:pt x="3919" y="10885"/>
                </a:lnTo>
                <a:lnTo>
                  <a:pt x="3924" y="10844"/>
                </a:lnTo>
                <a:lnTo>
                  <a:pt x="3929" y="10803"/>
                </a:lnTo>
                <a:lnTo>
                  <a:pt x="3936" y="10762"/>
                </a:lnTo>
                <a:lnTo>
                  <a:pt x="3945" y="10722"/>
                </a:lnTo>
                <a:lnTo>
                  <a:pt x="3954" y="10682"/>
                </a:lnTo>
                <a:lnTo>
                  <a:pt x="3965" y="10642"/>
                </a:lnTo>
                <a:lnTo>
                  <a:pt x="3976" y="10603"/>
                </a:lnTo>
                <a:lnTo>
                  <a:pt x="3989" y="10565"/>
                </a:lnTo>
                <a:lnTo>
                  <a:pt x="4003" y="10527"/>
                </a:lnTo>
                <a:lnTo>
                  <a:pt x="4018" y="10490"/>
                </a:lnTo>
                <a:lnTo>
                  <a:pt x="4035" y="10454"/>
                </a:lnTo>
                <a:lnTo>
                  <a:pt x="4052" y="10419"/>
                </a:lnTo>
                <a:lnTo>
                  <a:pt x="4071" y="10384"/>
                </a:lnTo>
                <a:lnTo>
                  <a:pt x="4157" y="10228"/>
                </a:lnTo>
                <a:lnTo>
                  <a:pt x="4222" y="10112"/>
                </a:lnTo>
                <a:lnTo>
                  <a:pt x="4296" y="9980"/>
                </a:lnTo>
                <a:lnTo>
                  <a:pt x="4379" y="9833"/>
                </a:lnTo>
                <a:lnTo>
                  <a:pt x="4472" y="9673"/>
                </a:lnTo>
                <a:lnTo>
                  <a:pt x="4571" y="9500"/>
                </a:lnTo>
                <a:lnTo>
                  <a:pt x="4677" y="9316"/>
                </a:lnTo>
                <a:lnTo>
                  <a:pt x="4789" y="9123"/>
                </a:lnTo>
                <a:lnTo>
                  <a:pt x="4907" y="8922"/>
                </a:lnTo>
                <a:lnTo>
                  <a:pt x="5030" y="8714"/>
                </a:lnTo>
                <a:lnTo>
                  <a:pt x="5159" y="8502"/>
                </a:lnTo>
                <a:lnTo>
                  <a:pt x="5292" y="8286"/>
                </a:lnTo>
                <a:lnTo>
                  <a:pt x="5427" y="8067"/>
                </a:lnTo>
                <a:lnTo>
                  <a:pt x="5496" y="7957"/>
                </a:lnTo>
                <a:lnTo>
                  <a:pt x="5565" y="7848"/>
                </a:lnTo>
                <a:lnTo>
                  <a:pt x="5635" y="7738"/>
                </a:lnTo>
                <a:lnTo>
                  <a:pt x="5707" y="7629"/>
                </a:lnTo>
                <a:lnTo>
                  <a:pt x="5778" y="7520"/>
                </a:lnTo>
                <a:lnTo>
                  <a:pt x="5849" y="7413"/>
                </a:lnTo>
                <a:lnTo>
                  <a:pt x="5921" y="7304"/>
                </a:lnTo>
                <a:lnTo>
                  <a:pt x="5992" y="7198"/>
                </a:lnTo>
                <a:lnTo>
                  <a:pt x="6041" y="7128"/>
                </a:lnTo>
                <a:lnTo>
                  <a:pt x="6089" y="7058"/>
                </a:lnTo>
                <a:lnTo>
                  <a:pt x="6137" y="6988"/>
                </a:lnTo>
                <a:lnTo>
                  <a:pt x="6185" y="6919"/>
                </a:lnTo>
                <a:lnTo>
                  <a:pt x="6234" y="6851"/>
                </a:lnTo>
                <a:lnTo>
                  <a:pt x="6282" y="6784"/>
                </a:lnTo>
                <a:lnTo>
                  <a:pt x="6330" y="6717"/>
                </a:lnTo>
                <a:lnTo>
                  <a:pt x="6377" y="6650"/>
                </a:lnTo>
                <a:lnTo>
                  <a:pt x="6424" y="6584"/>
                </a:lnTo>
                <a:lnTo>
                  <a:pt x="6471" y="6519"/>
                </a:lnTo>
                <a:lnTo>
                  <a:pt x="6518" y="6455"/>
                </a:lnTo>
                <a:lnTo>
                  <a:pt x="6564" y="6392"/>
                </a:lnTo>
                <a:lnTo>
                  <a:pt x="6610" y="6329"/>
                </a:lnTo>
                <a:lnTo>
                  <a:pt x="6655" y="6267"/>
                </a:lnTo>
                <a:lnTo>
                  <a:pt x="6700" y="6206"/>
                </a:lnTo>
                <a:lnTo>
                  <a:pt x="6745" y="6145"/>
                </a:lnTo>
                <a:lnTo>
                  <a:pt x="6867" y="5979"/>
                </a:lnTo>
                <a:lnTo>
                  <a:pt x="6982" y="5821"/>
                </a:lnTo>
                <a:lnTo>
                  <a:pt x="7088" y="5673"/>
                </a:lnTo>
                <a:lnTo>
                  <a:pt x="7187" y="5533"/>
                </a:lnTo>
                <a:lnTo>
                  <a:pt x="7234" y="5466"/>
                </a:lnTo>
                <a:lnTo>
                  <a:pt x="7278" y="5401"/>
                </a:lnTo>
                <a:lnTo>
                  <a:pt x="7321" y="5338"/>
                </a:lnTo>
                <a:lnTo>
                  <a:pt x="7361" y="5277"/>
                </a:lnTo>
                <a:lnTo>
                  <a:pt x="7400" y="5216"/>
                </a:lnTo>
                <a:lnTo>
                  <a:pt x="7438" y="5158"/>
                </a:lnTo>
                <a:lnTo>
                  <a:pt x="7472" y="5101"/>
                </a:lnTo>
                <a:lnTo>
                  <a:pt x="7505" y="5046"/>
                </a:lnTo>
                <a:lnTo>
                  <a:pt x="7536" y="4993"/>
                </a:lnTo>
                <a:lnTo>
                  <a:pt x="7564" y="4941"/>
                </a:lnTo>
                <a:lnTo>
                  <a:pt x="7591" y="4890"/>
                </a:lnTo>
                <a:lnTo>
                  <a:pt x="7616" y="4841"/>
                </a:lnTo>
                <a:lnTo>
                  <a:pt x="7638" y="4793"/>
                </a:lnTo>
                <a:lnTo>
                  <a:pt x="7659" y="4746"/>
                </a:lnTo>
                <a:lnTo>
                  <a:pt x="7678" y="4700"/>
                </a:lnTo>
                <a:lnTo>
                  <a:pt x="7694" y="4655"/>
                </a:lnTo>
                <a:lnTo>
                  <a:pt x="7709" y="4611"/>
                </a:lnTo>
                <a:lnTo>
                  <a:pt x="7721" y="4568"/>
                </a:lnTo>
                <a:lnTo>
                  <a:pt x="7731" y="4525"/>
                </a:lnTo>
                <a:lnTo>
                  <a:pt x="7740" y="4483"/>
                </a:lnTo>
                <a:lnTo>
                  <a:pt x="7746" y="4443"/>
                </a:lnTo>
                <a:lnTo>
                  <a:pt x="7750" y="4403"/>
                </a:lnTo>
                <a:lnTo>
                  <a:pt x="7752" y="4364"/>
                </a:lnTo>
                <a:lnTo>
                  <a:pt x="7752" y="4325"/>
                </a:lnTo>
                <a:close/>
                <a:moveTo>
                  <a:pt x="13149" y="8222"/>
                </a:moveTo>
                <a:lnTo>
                  <a:pt x="6060" y="8222"/>
                </a:lnTo>
                <a:lnTo>
                  <a:pt x="5971" y="8364"/>
                </a:lnTo>
                <a:lnTo>
                  <a:pt x="5882" y="8505"/>
                </a:lnTo>
                <a:lnTo>
                  <a:pt x="5794" y="8648"/>
                </a:lnTo>
                <a:lnTo>
                  <a:pt x="5707" y="8792"/>
                </a:lnTo>
                <a:lnTo>
                  <a:pt x="5620" y="8935"/>
                </a:lnTo>
                <a:lnTo>
                  <a:pt x="5534" y="9078"/>
                </a:lnTo>
                <a:lnTo>
                  <a:pt x="5448" y="9222"/>
                </a:lnTo>
                <a:lnTo>
                  <a:pt x="5363" y="9366"/>
                </a:lnTo>
                <a:lnTo>
                  <a:pt x="5279" y="9511"/>
                </a:lnTo>
                <a:lnTo>
                  <a:pt x="5195" y="9656"/>
                </a:lnTo>
                <a:lnTo>
                  <a:pt x="5112" y="9800"/>
                </a:lnTo>
                <a:lnTo>
                  <a:pt x="5028" y="9945"/>
                </a:lnTo>
                <a:lnTo>
                  <a:pt x="4945" y="10090"/>
                </a:lnTo>
                <a:lnTo>
                  <a:pt x="4863" y="10235"/>
                </a:lnTo>
                <a:lnTo>
                  <a:pt x="4781" y="10380"/>
                </a:lnTo>
                <a:lnTo>
                  <a:pt x="4699" y="10525"/>
                </a:lnTo>
                <a:lnTo>
                  <a:pt x="4609" y="10689"/>
                </a:lnTo>
                <a:lnTo>
                  <a:pt x="4601" y="10704"/>
                </a:lnTo>
                <a:lnTo>
                  <a:pt x="4593" y="10719"/>
                </a:lnTo>
                <a:lnTo>
                  <a:pt x="4586" y="10736"/>
                </a:lnTo>
                <a:lnTo>
                  <a:pt x="4579" y="10753"/>
                </a:lnTo>
                <a:lnTo>
                  <a:pt x="4573" y="10770"/>
                </a:lnTo>
                <a:lnTo>
                  <a:pt x="4567" y="10789"/>
                </a:lnTo>
                <a:lnTo>
                  <a:pt x="4561" y="10807"/>
                </a:lnTo>
                <a:lnTo>
                  <a:pt x="4556" y="10826"/>
                </a:lnTo>
                <a:lnTo>
                  <a:pt x="4551" y="10846"/>
                </a:lnTo>
                <a:lnTo>
                  <a:pt x="4547" y="10866"/>
                </a:lnTo>
                <a:lnTo>
                  <a:pt x="4543" y="10886"/>
                </a:lnTo>
                <a:lnTo>
                  <a:pt x="4540" y="10908"/>
                </a:lnTo>
                <a:lnTo>
                  <a:pt x="4537" y="10928"/>
                </a:lnTo>
                <a:lnTo>
                  <a:pt x="4535" y="10949"/>
                </a:lnTo>
                <a:lnTo>
                  <a:pt x="4533" y="10970"/>
                </a:lnTo>
                <a:lnTo>
                  <a:pt x="4532" y="10991"/>
                </a:lnTo>
                <a:lnTo>
                  <a:pt x="4531" y="11012"/>
                </a:lnTo>
                <a:lnTo>
                  <a:pt x="4531" y="11033"/>
                </a:lnTo>
                <a:lnTo>
                  <a:pt x="4531" y="11054"/>
                </a:lnTo>
                <a:lnTo>
                  <a:pt x="4532" y="11075"/>
                </a:lnTo>
                <a:lnTo>
                  <a:pt x="4533" y="11096"/>
                </a:lnTo>
                <a:lnTo>
                  <a:pt x="4535" y="11116"/>
                </a:lnTo>
                <a:lnTo>
                  <a:pt x="4537" y="11136"/>
                </a:lnTo>
                <a:lnTo>
                  <a:pt x="4540" y="11156"/>
                </a:lnTo>
                <a:lnTo>
                  <a:pt x="4544" y="11176"/>
                </a:lnTo>
                <a:lnTo>
                  <a:pt x="4548" y="11195"/>
                </a:lnTo>
                <a:lnTo>
                  <a:pt x="4553" y="11213"/>
                </a:lnTo>
                <a:lnTo>
                  <a:pt x="4558" y="11231"/>
                </a:lnTo>
                <a:lnTo>
                  <a:pt x="4564" y="11249"/>
                </a:lnTo>
                <a:lnTo>
                  <a:pt x="4571" y="11265"/>
                </a:lnTo>
                <a:lnTo>
                  <a:pt x="4578" y="11281"/>
                </a:lnTo>
                <a:lnTo>
                  <a:pt x="4586" y="11297"/>
                </a:lnTo>
                <a:lnTo>
                  <a:pt x="14627" y="11297"/>
                </a:lnTo>
                <a:lnTo>
                  <a:pt x="14635" y="11282"/>
                </a:lnTo>
                <a:lnTo>
                  <a:pt x="14642" y="11266"/>
                </a:lnTo>
                <a:lnTo>
                  <a:pt x="14649" y="11249"/>
                </a:lnTo>
                <a:lnTo>
                  <a:pt x="14655" y="11231"/>
                </a:lnTo>
                <a:lnTo>
                  <a:pt x="14660" y="11213"/>
                </a:lnTo>
                <a:lnTo>
                  <a:pt x="14665" y="11195"/>
                </a:lnTo>
                <a:lnTo>
                  <a:pt x="14669" y="11176"/>
                </a:lnTo>
                <a:lnTo>
                  <a:pt x="14672" y="11157"/>
                </a:lnTo>
                <a:lnTo>
                  <a:pt x="14675" y="11137"/>
                </a:lnTo>
                <a:lnTo>
                  <a:pt x="14678" y="11117"/>
                </a:lnTo>
                <a:lnTo>
                  <a:pt x="14679" y="11096"/>
                </a:lnTo>
                <a:lnTo>
                  <a:pt x="14681" y="11076"/>
                </a:lnTo>
                <a:lnTo>
                  <a:pt x="14681" y="11055"/>
                </a:lnTo>
                <a:lnTo>
                  <a:pt x="14681" y="11034"/>
                </a:lnTo>
                <a:lnTo>
                  <a:pt x="14681" y="11013"/>
                </a:lnTo>
                <a:lnTo>
                  <a:pt x="14680" y="10991"/>
                </a:lnTo>
                <a:lnTo>
                  <a:pt x="14679" y="10970"/>
                </a:lnTo>
                <a:lnTo>
                  <a:pt x="14677" y="10949"/>
                </a:lnTo>
                <a:lnTo>
                  <a:pt x="14674" y="10928"/>
                </a:lnTo>
                <a:lnTo>
                  <a:pt x="14671" y="10907"/>
                </a:lnTo>
                <a:lnTo>
                  <a:pt x="14668" y="10885"/>
                </a:lnTo>
                <a:lnTo>
                  <a:pt x="14664" y="10865"/>
                </a:lnTo>
                <a:lnTo>
                  <a:pt x="14659" y="10844"/>
                </a:lnTo>
                <a:lnTo>
                  <a:pt x="14654" y="10824"/>
                </a:lnTo>
                <a:lnTo>
                  <a:pt x="14649" y="10805"/>
                </a:lnTo>
                <a:lnTo>
                  <a:pt x="14643" y="10786"/>
                </a:lnTo>
                <a:lnTo>
                  <a:pt x="14636" y="10767"/>
                </a:lnTo>
                <a:lnTo>
                  <a:pt x="14629" y="10749"/>
                </a:lnTo>
                <a:lnTo>
                  <a:pt x="14622" y="10731"/>
                </a:lnTo>
                <a:lnTo>
                  <a:pt x="14614" y="10714"/>
                </a:lnTo>
                <a:lnTo>
                  <a:pt x="14606" y="10698"/>
                </a:lnTo>
                <a:lnTo>
                  <a:pt x="14598" y="10682"/>
                </a:lnTo>
                <a:lnTo>
                  <a:pt x="14514" y="10531"/>
                </a:lnTo>
                <a:lnTo>
                  <a:pt x="14432" y="10386"/>
                </a:lnTo>
                <a:lnTo>
                  <a:pt x="14349" y="10240"/>
                </a:lnTo>
                <a:lnTo>
                  <a:pt x="14267" y="10094"/>
                </a:lnTo>
                <a:lnTo>
                  <a:pt x="14184" y="9948"/>
                </a:lnTo>
                <a:lnTo>
                  <a:pt x="14100" y="9803"/>
                </a:lnTo>
                <a:lnTo>
                  <a:pt x="14017" y="9658"/>
                </a:lnTo>
                <a:lnTo>
                  <a:pt x="13932" y="9513"/>
                </a:lnTo>
                <a:lnTo>
                  <a:pt x="13847" y="9368"/>
                </a:lnTo>
                <a:lnTo>
                  <a:pt x="13762" y="9223"/>
                </a:lnTo>
                <a:lnTo>
                  <a:pt x="13676" y="9079"/>
                </a:lnTo>
                <a:lnTo>
                  <a:pt x="13590" y="8935"/>
                </a:lnTo>
                <a:lnTo>
                  <a:pt x="13504" y="8792"/>
                </a:lnTo>
                <a:lnTo>
                  <a:pt x="13416" y="8648"/>
                </a:lnTo>
                <a:lnTo>
                  <a:pt x="13327" y="8506"/>
                </a:lnTo>
                <a:lnTo>
                  <a:pt x="13239" y="8364"/>
                </a:lnTo>
                <a:lnTo>
                  <a:pt x="13149" y="8222"/>
                </a:lnTo>
                <a:close/>
                <a:moveTo>
                  <a:pt x="2162" y="10516"/>
                </a:moveTo>
                <a:lnTo>
                  <a:pt x="2162" y="10537"/>
                </a:lnTo>
                <a:lnTo>
                  <a:pt x="2165" y="10563"/>
                </a:lnTo>
                <a:lnTo>
                  <a:pt x="2169" y="10594"/>
                </a:lnTo>
                <a:lnTo>
                  <a:pt x="2175" y="10628"/>
                </a:lnTo>
                <a:lnTo>
                  <a:pt x="2184" y="10667"/>
                </a:lnTo>
                <a:lnTo>
                  <a:pt x="2196" y="10708"/>
                </a:lnTo>
                <a:lnTo>
                  <a:pt x="2203" y="10729"/>
                </a:lnTo>
                <a:lnTo>
                  <a:pt x="2210" y="10751"/>
                </a:lnTo>
                <a:lnTo>
                  <a:pt x="2219" y="10774"/>
                </a:lnTo>
                <a:lnTo>
                  <a:pt x="2228" y="10797"/>
                </a:lnTo>
                <a:lnTo>
                  <a:pt x="2238" y="10820"/>
                </a:lnTo>
                <a:lnTo>
                  <a:pt x="2249" y="10843"/>
                </a:lnTo>
                <a:lnTo>
                  <a:pt x="2262" y="10867"/>
                </a:lnTo>
                <a:lnTo>
                  <a:pt x="2275" y="10891"/>
                </a:lnTo>
                <a:lnTo>
                  <a:pt x="2289" y="10915"/>
                </a:lnTo>
                <a:lnTo>
                  <a:pt x="2304" y="10938"/>
                </a:lnTo>
                <a:lnTo>
                  <a:pt x="2320" y="10962"/>
                </a:lnTo>
                <a:lnTo>
                  <a:pt x="2338" y="10985"/>
                </a:lnTo>
                <a:lnTo>
                  <a:pt x="2356" y="11008"/>
                </a:lnTo>
                <a:lnTo>
                  <a:pt x="2376" y="11030"/>
                </a:lnTo>
                <a:lnTo>
                  <a:pt x="2397" y="11052"/>
                </a:lnTo>
                <a:lnTo>
                  <a:pt x="2419" y="11074"/>
                </a:lnTo>
                <a:lnTo>
                  <a:pt x="2443" y="11095"/>
                </a:lnTo>
                <a:lnTo>
                  <a:pt x="2468" y="11115"/>
                </a:lnTo>
                <a:lnTo>
                  <a:pt x="2494" y="11134"/>
                </a:lnTo>
                <a:lnTo>
                  <a:pt x="2522" y="11153"/>
                </a:lnTo>
                <a:lnTo>
                  <a:pt x="2521" y="11118"/>
                </a:lnTo>
                <a:lnTo>
                  <a:pt x="2520" y="11083"/>
                </a:lnTo>
                <a:lnTo>
                  <a:pt x="2520" y="11047"/>
                </a:lnTo>
                <a:lnTo>
                  <a:pt x="2520" y="11012"/>
                </a:lnTo>
                <a:lnTo>
                  <a:pt x="2521" y="10976"/>
                </a:lnTo>
                <a:lnTo>
                  <a:pt x="2523" y="10941"/>
                </a:lnTo>
                <a:lnTo>
                  <a:pt x="2525" y="10905"/>
                </a:lnTo>
                <a:lnTo>
                  <a:pt x="2527" y="10869"/>
                </a:lnTo>
                <a:lnTo>
                  <a:pt x="2531" y="10833"/>
                </a:lnTo>
                <a:lnTo>
                  <a:pt x="2535" y="10798"/>
                </a:lnTo>
                <a:lnTo>
                  <a:pt x="2539" y="10763"/>
                </a:lnTo>
                <a:lnTo>
                  <a:pt x="2544" y="10728"/>
                </a:lnTo>
                <a:lnTo>
                  <a:pt x="2550" y="10692"/>
                </a:lnTo>
                <a:lnTo>
                  <a:pt x="2556" y="10658"/>
                </a:lnTo>
                <a:lnTo>
                  <a:pt x="2563" y="10623"/>
                </a:lnTo>
                <a:lnTo>
                  <a:pt x="2570" y="10588"/>
                </a:lnTo>
                <a:lnTo>
                  <a:pt x="2578" y="10553"/>
                </a:lnTo>
                <a:lnTo>
                  <a:pt x="2587" y="10519"/>
                </a:lnTo>
                <a:lnTo>
                  <a:pt x="2596" y="10485"/>
                </a:lnTo>
                <a:lnTo>
                  <a:pt x="2606" y="10451"/>
                </a:lnTo>
                <a:lnTo>
                  <a:pt x="2616" y="10417"/>
                </a:lnTo>
                <a:lnTo>
                  <a:pt x="2627" y="10384"/>
                </a:lnTo>
                <a:lnTo>
                  <a:pt x="2638" y="10350"/>
                </a:lnTo>
                <a:lnTo>
                  <a:pt x="2650" y="10317"/>
                </a:lnTo>
                <a:lnTo>
                  <a:pt x="2663" y="10284"/>
                </a:lnTo>
                <a:lnTo>
                  <a:pt x="2677" y="10252"/>
                </a:lnTo>
                <a:lnTo>
                  <a:pt x="2691" y="10220"/>
                </a:lnTo>
                <a:lnTo>
                  <a:pt x="2706" y="10188"/>
                </a:lnTo>
                <a:lnTo>
                  <a:pt x="2721" y="10155"/>
                </a:lnTo>
                <a:lnTo>
                  <a:pt x="2737" y="10124"/>
                </a:lnTo>
                <a:lnTo>
                  <a:pt x="2753" y="10093"/>
                </a:lnTo>
                <a:lnTo>
                  <a:pt x="2770" y="10062"/>
                </a:lnTo>
                <a:lnTo>
                  <a:pt x="2856" y="9911"/>
                </a:lnTo>
                <a:lnTo>
                  <a:pt x="2893" y="9844"/>
                </a:lnTo>
                <a:lnTo>
                  <a:pt x="2934" y="9771"/>
                </a:lnTo>
                <a:lnTo>
                  <a:pt x="2978" y="9692"/>
                </a:lnTo>
                <a:lnTo>
                  <a:pt x="3026" y="9608"/>
                </a:lnTo>
                <a:lnTo>
                  <a:pt x="3077" y="9518"/>
                </a:lnTo>
                <a:lnTo>
                  <a:pt x="3130" y="9423"/>
                </a:lnTo>
                <a:lnTo>
                  <a:pt x="3187" y="9324"/>
                </a:lnTo>
                <a:lnTo>
                  <a:pt x="3246" y="9220"/>
                </a:lnTo>
                <a:lnTo>
                  <a:pt x="3309" y="9113"/>
                </a:lnTo>
                <a:lnTo>
                  <a:pt x="3373" y="9002"/>
                </a:lnTo>
                <a:lnTo>
                  <a:pt x="3439" y="8888"/>
                </a:lnTo>
                <a:lnTo>
                  <a:pt x="3508" y="8770"/>
                </a:lnTo>
                <a:lnTo>
                  <a:pt x="3578" y="8650"/>
                </a:lnTo>
                <a:lnTo>
                  <a:pt x="3651" y="8528"/>
                </a:lnTo>
                <a:lnTo>
                  <a:pt x="3725" y="8403"/>
                </a:lnTo>
                <a:lnTo>
                  <a:pt x="3801" y="8277"/>
                </a:lnTo>
                <a:lnTo>
                  <a:pt x="3801" y="6358"/>
                </a:lnTo>
                <a:lnTo>
                  <a:pt x="2162" y="6358"/>
                </a:lnTo>
                <a:lnTo>
                  <a:pt x="2162" y="1051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20" name="microskop"/>
          <p:cNvSpPr>
            <a:spLocks noEditPoints="1"/>
          </p:cNvSpPr>
          <p:nvPr/>
        </p:nvSpPr>
        <p:spPr bwMode="auto">
          <a:xfrm>
            <a:off x="4139955" y="1255929"/>
            <a:ext cx="212725" cy="396875"/>
          </a:xfrm>
          <a:custGeom>
            <a:avLst/>
            <a:gdLst>
              <a:gd name="T0" fmla="*/ 7665 w 11524"/>
              <a:gd name="T1" fmla="*/ 3865 h 16125"/>
              <a:gd name="T2" fmla="*/ 7232 w 11524"/>
              <a:gd name="T3" fmla="*/ 3514 h 16125"/>
              <a:gd name="T4" fmla="*/ 10168 w 11524"/>
              <a:gd name="T5" fmla="*/ 11727 h 16125"/>
              <a:gd name="T6" fmla="*/ 5110 w 11524"/>
              <a:gd name="T7" fmla="*/ 8328 h 16125"/>
              <a:gd name="T8" fmla="*/ 5612 w 11524"/>
              <a:gd name="T9" fmla="*/ 8409 h 16125"/>
              <a:gd name="T10" fmla="*/ 6177 w 11524"/>
              <a:gd name="T11" fmla="*/ 8386 h 16125"/>
              <a:gd name="T12" fmla="*/ 5329 w 11524"/>
              <a:gd name="T13" fmla="*/ 3124 h 16125"/>
              <a:gd name="T14" fmla="*/ 4880 w 11524"/>
              <a:gd name="T15" fmla="*/ 3244 h 16125"/>
              <a:gd name="T16" fmla="*/ 4465 w 11524"/>
              <a:gd name="T17" fmla="*/ 3438 h 16125"/>
              <a:gd name="T18" fmla="*/ 4093 w 11524"/>
              <a:gd name="T19" fmla="*/ 3696 h 16125"/>
              <a:gd name="T20" fmla="*/ 3774 w 11524"/>
              <a:gd name="T21" fmla="*/ 4006 h 16125"/>
              <a:gd name="T22" fmla="*/ 3446 w 11524"/>
              <a:gd name="T23" fmla="*/ 4480 h 16125"/>
              <a:gd name="T24" fmla="*/ 3227 w 11524"/>
              <a:gd name="T25" fmla="*/ 5020 h 16125"/>
              <a:gd name="T26" fmla="*/ 3129 w 11524"/>
              <a:gd name="T27" fmla="*/ 5613 h 16125"/>
              <a:gd name="T28" fmla="*/ 3140 w 11524"/>
              <a:gd name="T29" fmla="*/ 6023 h 16125"/>
              <a:gd name="T30" fmla="*/ 7160 w 11524"/>
              <a:gd name="T31" fmla="*/ 617 h 16125"/>
              <a:gd name="T32" fmla="*/ 8804 w 11524"/>
              <a:gd name="T33" fmla="*/ 6062 h 16125"/>
              <a:gd name="T34" fmla="*/ 6104 w 11524"/>
              <a:gd name="T35" fmla="*/ 4980 h 16125"/>
              <a:gd name="T36" fmla="*/ 6401 w 11524"/>
              <a:gd name="T37" fmla="*/ 5190 h 16125"/>
              <a:gd name="T38" fmla="*/ 6582 w 11524"/>
              <a:gd name="T39" fmla="*/ 5508 h 16125"/>
              <a:gd name="T40" fmla="*/ 6610 w 11524"/>
              <a:gd name="T41" fmla="*/ 5889 h 16125"/>
              <a:gd name="T42" fmla="*/ 6476 w 11524"/>
              <a:gd name="T43" fmla="*/ 6232 h 16125"/>
              <a:gd name="T44" fmla="*/ 6214 w 11524"/>
              <a:gd name="T45" fmla="*/ 6483 h 16125"/>
              <a:gd name="T46" fmla="*/ 5863 w 11524"/>
              <a:gd name="T47" fmla="*/ 6601 h 16125"/>
              <a:gd name="T48" fmla="*/ 5485 w 11524"/>
              <a:gd name="T49" fmla="*/ 6555 h 16125"/>
              <a:gd name="T50" fmla="*/ 5179 w 11524"/>
              <a:gd name="T51" fmla="*/ 6357 h 16125"/>
              <a:gd name="T52" fmla="*/ 4982 w 11524"/>
              <a:gd name="T53" fmla="*/ 6050 h 16125"/>
              <a:gd name="T54" fmla="*/ 4935 w 11524"/>
              <a:gd name="T55" fmla="*/ 5673 h 16125"/>
              <a:gd name="T56" fmla="*/ 5054 w 11524"/>
              <a:gd name="T57" fmla="*/ 5321 h 16125"/>
              <a:gd name="T58" fmla="*/ 5303 w 11524"/>
              <a:gd name="T59" fmla="*/ 5058 h 16125"/>
              <a:gd name="T60" fmla="*/ 5647 w 11524"/>
              <a:gd name="T61" fmla="*/ 4923 h 16125"/>
              <a:gd name="T62" fmla="*/ 6763 w 11524"/>
              <a:gd name="T63" fmla="*/ 4504 h 16125"/>
              <a:gd name="T64" fmla="*/ 6472 w 11524"/>
              <a:gd name="T65" fmla="*/ 4323 h 16125"/>
              <a:gd name="T66" fmla="*/ 6143 w 11524"/>
              <a:gd name="T67" fmla="*/ 4207 h 16125"/>
              <a:gd name="T68" fmla="*/ 5786 w 11524"/>
              <a:gd name="T69" fmla="*/ 4166 h 16125"/>
              <a:gd name="T70" fmla="*/ 5428 w 11524"/>
              <a:gd name="T71" fmla="*/ 4207 h 16125"/>
              <a:gd name="T72" fmla="*/ 5100 w 11524"/>
              <a:gd name="T73" fmla="*/ 4323 h 16125"/>
              <a:gd name="T74" fmla="*/ 4809 w 11524"/>
              <a:gd name="T75" fmla="*/ 4504 h 16125"/>
              <a:gd name="T76" fmla="*/ 4591 w 11524"/>
              <a:gd name="T77" fmla="*/ 4714 h 16125"/>
              <a:gd name="T78" fmla="*/ 4396 w 11524"/>
              <a:gd name="T79" fmla="*/ 4995 h 16125"/>
              <a:gd name="T80" fmla="*/ 4265 w 11524"/>
              <a:gd name="T81" fmla="*/ 5316 h 16125"/>
              <a:gd name="T82" fmla="*/ 4208 w 11524"/>
              <a:gd name="T83" fmla="*/ 5668 h 16125"/>
              <a:gd name="T84" fmla="*/ 4230 w 11524"/>
              <a:gd name="T85" fmla="*/ 6030 h 16125"/>
              <a:gd name="T86" fmla="*/ 4330 w 11524"/>
              <a:gd name="T87" fmla="*/ 6366 h 16125"/>
              <a:gd name="T88" fmla="*/ 4497 w 11524"/>
              <a:gd name="T89" fmla="*/ 6667 h 16125"/>
              <a:gd name="T90" fmla="*/ 4695 w 11524"/>
              <a:gd name="T91" fmla="*/ 6897 h 16125"/>
              <a:gd name="T92" fmla="*/ 4965 w 11524"/>
              <a:gd name="T93" fmla="*/ 7104 h 16125"/>
              <a:gd name="T94" fmla="*/ 5278 w 11524"/>
              <a:gd name="T95" fmla="*/ 7250 h 16125"/>
              <a:gd name="T96" fmla="*/ 5624 w 11524"/>
              <a:gd name="T97" fmla="*/ 7325 h 16125"/>
              <a:gd name="T98" fmla="*/ 5987 w 11524"/>
              <a:gd name="T99" fmla="*/ 7321 h 16125"/>
              <a:gd name="T100" fmla="*/ 6330 w 11524"/>
              <a:gd name="T101" fmla="*/ 7237 h 16125"/>
              <a:gd name="T102" fmla="*/ 6639 w 11524"/>
              <a:gd name="T103" fmla="*/ 7084 h 16125"/>
              <a:gd name="T104" fmla="*/ 6905 w 11524"/>
              <a:gd name="T105" fmla="*/ 6870 h 16125"/>
              <a:gd name="T106" fmla="*/ 7097 w 11524"/>
              <a:gd name="T107" fmla="*/ 6635 h 16125"/>
              <a:gd name="T108" fmla="*/ 7257 w 11524"/>
              <a:gd name="T109" fmla="*/ 6330 h 16125"/>
              <a:gd name="T110" fmla="*/ 7348 w 11524"/>
              <a:gd name="T111" fmla="*/ 5991 h 16125"/>
              <a:gd name="T112" fmla="*/ 7361 w 11524"/>
              <a:gd name="T113" fmla="*/ 5628 h 16125"/>
              <a:gd name="T114" fmla="*/ 7295 w 11524"/>
              <a:gd name="T115" fmla="*/ 5279 h 16125"/>
              <a:gd name="T116" fmla="*/ 7157 w 11524"/>
              <a:gd name="T117" fmla="*/ 4961 h 16125"/>
              <a:gd name="T118" fmla="*/ 6956 w 11524"/>
              <a:gd name="T119" fmla="*/ 4685 h 161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524" h="16125">
                <a:moveTo>
                  <a:pt x="7232" y="3514"/>
                </a:moveTo>
                <a:lnTo>
                  <a:pt x="7290" y="3554"/>
                </a:lnTo>
                <a:lnTo>
                  <a:pt x="7347" y="3594"/>
                </a:lnTo>
                <a:lnTo>
                  <a:pt x="7404" y="3635"/>
                </a:lnTo>
                <a:lnTo>
                  <a:pt x="7458" y="3679"/>
                </a:lnTo>
                <a:lnTo>
                  <a:pt x="7511" y="3724"/>
                </a:lnTo>
                <a:lnTo>
                  <a:pt x="7564" y="3769"/>
                </a:lnTo>
                <a:lnTo>
                  <a:pt x="7615" y="3817"/>
                </a:lnTo>
                <a:lnTo>
                  <a:pt x="7665" y="3865"/>
                </a:lnTo>
                <a:lnTo>
                  <a:pt x="7667" y="3865"/>
                </a:lnTo>
                <a:lnTo>
                  <a:pt x="7617" y="3817"/>
                </a:lnTo>
                <a:lnTo>
                  <a:pt x="7566" y="3769"/>
                </a:lnTo>
                <a:lnTo>
                  <a:pt x="7512" y="3723"/>
                </a:lnTo>
                <a:lnTo>
                  <a:pt x="7459" y="3679"/>
                </a:lnTo>
                <a:lnTo>
                  <a:pt x="7404" y="3635"/>
                </a:lnTo>
                <a:lnTo>
                  <a:pt x="7347" y="3593"/>
                </a:lnTo>
                <a:lnTo>
                  <a:pt x="7290" y="3553"/>
                </a:lnTo>
                <a:lnTo>
                  <a:pt x="7232" y="3514"/>
                </a:lnTo>
                <a:close/>
                <a:moveTo>
                  <a:pt x="3144" y="6061"/>
                </a:moveTo>
                <a:lnTo>
                  <a:pt x="1094" y="8114"/>
                </a:lnTo>
                <a:lnTo>
                  <a:pt x="1094" y="12713"/>
                </a:lnTo>
                <a:lnTo>
                  <a:pt x="0" y="12713"/>
                </a:lnTo>
                <a:lnTo>
                  <a:pt x="0" y="16125"/>
                </a:lnTo>
                <a:lnTo>
                  <a:pt x="11524" y="16125"/>
                </a:lnTo>
                <a:lnTo>
                  <a:pt x="11524" y="12713"/>
                </a:lnTo>
                <a:lnTo>
                  <a:pt x="10168" y="12713"/>
                </a:lnTo>
                <a:lnTo>
                  <a:pt x="10168" y="11727"/>
                </a:lnTo>
                <a:lnTo>
                  <a:pt x="7487" y="11727"/>
                </a:lnTo>
                <a:lnTo>
                  <a:pt x="7487" y="12713"/>
                </a:lnTo>
                <a:lnTo>
                  <a:pt x="3889" y="12713"/>
                </a:lnTo>
                <a:lnTo>
                  <a:pt x="3889" y="9274"/>
                </a:lnTo>
                <a:lnTo>
                  <a:pt x="4899" y="8262"/>
                </a:lnTo>
                <a:lnTo>
                  <a:pt x="4951" y="8280"/>
                </a:lnTo>
                <a:lnTo>
                  <a:pt x="5004" y="8297"/>
                </a:lnTo>
                <a:lnTo>
                  <a:pt x="5057" y="8313"/>
                </a:lnTo>
                <a:lnTo>
                  <a:pt x="5110" y="8328"/>
                </a:lnTo>
                <a:lnTo>
                  <a:pt x="5164" y="8342"/>
                </a:lnTo>
                <a:lnTo>
                  <a:pt x="5220" y="8354"/>
                </a:lnTo>
                <a:lnTo>
                  <a:pt x="5274" y="8366"/>
                </a:lnTo>
                <a:lnTo>
                  <a:pt x="5329" y="8376"/>
                </a:lnTo>
                <a:lnTo>
                  <a:pt x="5386" y="8385"/>
                </a:lnTo>
                <a:lnTo>
                  <a:pt x="5442" y="8393"/>
                </a:lnTo>
                <a:lnTo>
                  <a:pt x="5498" y="8399"/>
                </a:lnTo>
                <a:lnTo>
                  <a:pt x="5555" y="8405"/>
                </a:lnTo>
                <a:lnTo>
                  <a:pt x="5612" y="8409"/>
                </a:lnTo>
                <a:lnTo>
                  <a:pt x="5669" y="8412"/>
                </a:lnTo>
                <a:lnTo>
                  <a:pt x="5728" y="8414"/>
                </a:lnTo>
                <a:lnTo>
                  <a:pt x="5786" y="8415"/>
                </a:lnTo>
                <a:lnTo>
                  <a:pt x="5853" y="8414"/>
                </a:lnTo>
                <a:lnTo>
                  <a:pt x="5919" y="8411"/>
                </a:lnTo>
                <a:lnTo>
                  <a:pt x="5984" y="8407"/>
                </a:lnTo>
                <a:lnTo>
                  <a:pt x="6049" y="8402"/>
                </a:lnTo>
                <a:lnTo>
                  <a:pt x="6114" y="8395"/>
                </a:lnTo>
                <a:lnTo>
                  <a:pt x="6177" y="8386"/>
                </a:lnTo>
                <a:lnTo>
                  <a:pt x="6242" y="8376"/>
                </a:lnTo>
                <a:lnTo>
                  <a:pt x="6304" y="8364"/>
                </a:lnTo>
                <a:lnTo>
                  <a:pt x="6724" y="10223"/>
                </a:lnTo>
                <a:lnTo>
                  <a:pt x="10482" y="9374"/>
                </a:lnTo>
                <a:lnTo>
                  <a:pt x="8970" y="2663"/>
                </a:lnTo>
                <a:lnTo>
                  <a:pt x="8592" y="2749"/>
                </a:lnTo>
                <a:lnTo>
                  <a:pt x="7972" y="0"/>
                </a:lnTo>
                <a:lnTo>
                  <a:pt x="4787" y="720"/>
                </a:lnTo>
                <a:lnTo>
                  <a:pt x="5329" y="3124"/>
                </a:lnTo>
                <a:lnTo>
                  <a:pt x="5278" y="3133"/>
                </a:lnTo>
                <a:lnTo>
                  <a:pt x="5227" y="3144"/>
                </a:lnTo>
                <a:lnTo>
                  <a:pt x="5176" y="3155"/>
                </a:lnTo>
                <a:lnTo>
                  <a:pt x="5125" y="3168"/>
                </a:lnTo>
                <a:lnTo>
                  <a:pt x="5076" y="3182"/>
                </a:lnTo>
                <a:lnTo>
                  <a:pt x="5026" y="3196"/>
                </a:lnTo>
                <a:lnTo>
                  <a:pt x="4976" y="3211"/>
                </a:lnTo>
                <a:lnTo>
                  <a:pt x="4928" y="3227"/>
                </a:lnTo>
                <a:lnTo>
                  <a:pt x="4880" y="3244"/>
                </a:lnTo>
                <a:lnTo>
                  <a:pt x="4832" y="3262"/>
                </a:lnTo>
                <a:lnTo>
                  <a:pt x="4784" y="3281"/>
                </a:lnTo>
                <a:lnTo>
                  <a:pt x="4737" y="3301"/>
                </a:lnTo>
                <a:lnTo>
                  <a:pt x="4691" y="3322"/>
                </a:lnTo>
                <a:lnTo>
                  <a:pt x="4644" y="3343"/>
                </a:lnTo>
                <a:lnTo>
                  <a:pt x="4599" y="3365"/>
                </a:lnTo>
                <a:lnTo>
                  <a:pt x="4554" y="3388"/>
                </a:lnTo>
                <a:lnTo>
                  <a:pt x="4510" y="3412"/>
                </a:lnTo>
                <a:lnTo>
                  <a:pt x="4465" y="3438"/>
                </a:lnTo>
                <a:lnTo>
                  <a:pt x="4421" y="3463"/>
                </a:lnTo>
                <a:lnTo>
                  <a:pt x="4379" y="3489"/>
                </a:lnTo>
                <a:lnTo>
                  <a:pt x="4336" y="3516"/>
                </a:lnTo>
                <a:lnTo>
                  <a:pt x="4294" y="3544"/>
                </a:lnTo>
                <a:lnTo>
                  <a:pt x="4252" y="3574"/>
                </a:lnTo>
                <a:lnTo>
                  <a:pt x="4212" y="3603"/>
                </a:lnTo>
                <a:lnTo>
                  <a:pt x="4172" y="3633"/>
                </a:lnTo>
                <a:lnTo>
                  <a:pt x="4132" y="3664"/>
                </a:lnTo>
                <a:lnTo>
                  <a:pt x="4093" y="3696"/>
                </a:lnTo>
                <a:lnTo>
                  <a:pt x="4054" y="3729"/>
                </a:lnTo>
                <a:lnTo>
                  <a:pt x="4017" y="3762"/>
                </a:lnTo>
                <a:lnTo>
                  <a:pt x="3979" y="3795"/>
                </a:lnTo>
                <a:lnTo>
                  <a:pt x="3943" y="3830"/>
                </a:lnTo>
                <a:lnTo>
                  <a:pt x="3907" y="3865"/>
                </a:lnTo>
                <a:lnTo>
                  <a:pt x="3905" y="3865"/>
                </a:lnTo>
                <a:lnTo>
                  <a:pt x="3860" y="3911"/>
                </a:lnTo>
                <a:lnTo>
                  <a:pt x="3817" y="3958"/>
                </a:lnTo>
                <a:lnTo>
                  <a:pt x="3774" y="4006"/>
                </a:lnTo>
                <a:lnTo>
                  <a:pt x="3733" y="4054"/>
                </a:lnTo>
                <a:lnTo>
                  <a:pt x="3693" y="4105"/>
                </a:lnTo>
                <a:lnTo>
                  <a:pt x="3655" y="4155"/>
                </a:lnTo>
                <a:lnTo>
                  <a:pt x="3616" y="4207"/>
                </a:lnTo>
                <a:lnTo>
                  <a:pt x="3580" y="4260"/>
                </a:lnTo>
                <a:lnTo>
                  <a:pt x="3545" y="4313"/>
                </a:lnTo>
                <a:lnTo>
                  <a:pt x="3511" y="4368"/>
                </a:lnTo>
                <a:lnTo>
                  <a:pt x="3479" y="4423"/>
                </a:lnTo>
                <a:lnTo>
                  <a:pt x="3446" y="4480"/>
                </a:lnTo>
                <a:lnTo>
                  <a:pt x="3417" y="4536"/>
                </a:lnTo>
                <a:lnTo>
                  <a:pt x="3388" y="4595"/>
                </a:lnTo>
                <a:lnTo>
                  <a:pt x="3361" y="4653"/>
                </a:lnTo>
                <a:lnTo>
                  <a:pt x="3335" y="4713"/>
                </a:lnTo>
                <a:lnTo>
                  <a:pt x="3311" y="4773"/>
                </a:lnTo>
                <a:lnTo>
                  <a:pt x="3287" y="4833"/>
                </a:lnTo>
                <a:lnTo>
                  <a:pt x="3265" y="4895"/>
                </a:lnTo>
                <a:lnTo>
                  <a:pt x="3245" y="4957"/>
                </a:lnTo>
                <a:lnTo>
                  <a:pt x="3227" y="5020"/>
                </a:lnTo>
                <a:lnTo>
                  <a:pt x="3210" y="5083"/>
                </a:lnTo>
                <a:lnTo>
                  <a:pt x="3194" y="5148"/>
                </a:lnTo>
                <a:lnTo>
                  <a:pt x="3180" y="5212"/>
                </a:lnTo>
                <a:lnTo>
                  <a:pt x="3168" y="5278"/>
                </a:lnTo>
                <a:lnTo>
                  <a:pt x="3157" y="5344"/>
                </a:lnTo>
                <a:lnTo>
                  <a:pt x="3148" y="5411"/>
                </a:lnTo>
                <a:lnTo>
                  <a:pt x="3140" y="5477"/>
                </a:lnTo>
                <a:lnTo>
                  <a:pt x="3133" y="5545"/>
                </a:lnTo>
                <a:lnTo>
                  <a:pt x="3129" y="5613"/>
                </a:lnTo>
                <a:lnTo>
                  <a:pt x="3126" y="5681"/>
                </a:lnTo>
                <a:lnTo>
                  <a:pt x="3125" y="5750"/>
                </a:lnTo>
                <a:lnTo>
                  <a:pt x="3126" y="5789"/>
                </a:lnTo>
                <a:lnTo>
                  <a:pt x="3126" y="5828"/>
                </a:lnTo>
                <a:lnTo>
                  <a:pt x="3128" y="5867"/>
                </a:lnTo>
                <a:lnTo>
                  <a:pt x="3130" y="5907"/>
                </a:lnTo>
                <a:lnTo>
                  <a:pt x="3132" y="5945"/>
                </a:lnTo>
                <a:lnTo>
                  <a:pt x="3136" y="5984"/>
                </a:lnTo>
                <a:lnTo>
                  <a:pt x="3140" y="6023"/>
                </a:lnTo>
                <a:lnTo>
                  <a:pt x="3144" y="6061"/>
                </a:lnTo>
                <a:close/>
                <a:moveTo>
                  <a:pt x="7518" y="10301"/>
                </a:moveTo>
                <a:lnTo>
                  <a:pt x="9793" y="9787"/>
                </a:lnTo>
                <a:lnTo>
                  <a:pt x="9956" y="10539"/>
                </a:lnTo>
                <a:lnTo>
                  <a:pt x="7682" y="11053"/>
                </a:lnTo>
                <a:lnTo>
                  <a:pt x="7518" y="10301"/>
                </a:lnTo>
                <a:close/>
                <a:moveTo>
                  <a:pt x="8214" y="2834"/>
                </a:moveTo>
                <a:lnTo>
                  <a:pt x="7688" y="497"/>
                </a:lnTo>
                <a:lnTo>
                  <a:pt x="7160" y="617"/>
                </a:lnTo>
                <a:lnTo>
                  <a:pt x="7686" y="2954"/>
                </a:lnTo>
                <a:lnTo>
                  <a:pt x="7853" y="3695"/>
                </a:lnTo>
                <a:lnTo>
                  <a:pt x="8381" y="3576"/>
                </a:lnTo>
                <a:lnTo>
                  <a:pt x="8214" y="2834"/>
                </a:lnTo>
                <a:close/>
                <a:moveTo>
                  <a:pt x="8804" y="6062"/>
                </a:moveTo>
                <a:lnTo>
                  <a:pt x="9333" y="5943"/>
                </a:lnTo>
                <a:lnTo>
                  <a:pt x="10026" y="9021"/>
                </a:lnTo>
                <a:lnTo>
                  <a:pt x="9498" y="9141"/>
                </a:lnTo>
                <a:lnTo>
                  <a:pt x="8804" y="6062"/>
                </a:lnTo>
                <a:close/>
                <a:moveTo>
                  <a:pt x="5776" y="4914"/>
                </a:moveTo>
                <a:lnTo>
                  <a:pt x="5819" y="4915"/>
                </a:lnTo>
                <a:lnTo>
                  <a:pt x="5863" y="4918"/>
                </a:lnTo>
                <a:lnTo>
                  <a:pt x="5904" y="4923"/>
                </a:lnTo>
                <a:lnTo>
                  <a:pt x="5946" y="4931"/>
                </a:lnTo>
                <a:lnTo>
                  <a:pt x="5986" y="4940"/>
                </a:lnTo>
                <a:lnTo>
                  <a:pt x="6027" y="4951"/>
                </a:lnTo>
                <a:lnTo>
                  <a:pt x="6066" y="4964"/>
                </a:lnTo>
                <a:lnTo>
                  <a:pt x="6104" y="4980"/>
                </a:lnTo>
                <a:lnTo>
                  <a:pt x="6142" y="4997"/>
                </a:lnTo>
                <a:lnTo>
                  <a:pt x="6178" y="5016"/>
                </a:lnTo>
                <a:lnTo>
                  <a:pt x="6214" y="5036"/>
                </a:lnTo>
                <a:lnTo>
                  <a:pt x="6248" y="5058"/>
                </a:lnTo>
                <a:lnTo>
                  <a:pt x="6281" y="5081"/>
                </a:lnTo>
                <a:lnTo>
                  <a:pt x="6313" y="5107"/>
                </a:lnTo>
                <a:lnTo>
                  <a:pt x="6343" y="5134"/>
                </a:lnTo>
                <a:lnTo>
                  <a:pt x="6373" y="5161"/>
                </a:lnTo>
                <a:lnTo>
                  <a:pt x="6401" y="5190"/>
                </a:lnTo>
                <a:lnTo>
                  <a:pt x="6427" y="5221"/>
                </a:lnTo>
                <a:lnTo>
                  <a:pt x="6452" y="5254"/>
                </a:lnTo>
                <a:lnTo>
                  <a:pt x="6476" y="5287"/>
                </a:lnTo>
                <a:lnTo>
                  <a:pt x="6498" y="5321"/>
                </a:lnTo>
                <a:lnTo>
                  <a:pt x="6518" y="5357"/>
                </a:lnTo>
                <a:lnTo>
                  <a:pt x="6537" y="5393"/>
                </a:lnTo>
                <a:lnTo>
                  <a:pt x="6554" y="5430"/>
                </a:lnTo>
                <a:lnTo>
                  <a:pt x="6569" y="5468"/>
                </a:lnTo>
                <a:lnTo>
                  <a:pt x="6582" y="5508"/>
                </a:lnTo>
                <a:lnTo>
                  <a:pt x="6594" y="5548"/>
                </a:lnTo>
                <a:lnTo>
                  <a:pt x="6603" y="5589"/>
                </a:lnTo>
                <a:lnTo>
                  <a:pt x="6610" y="5631"/>
                </a:lnTo>
                <a:lnTo>
                  <a:pt x="6616" y="5673"/>
                </a:lnTo>
                <a:lnTo>
                  <a:pt x="6619" y="5716"/>
                </a:lnTo>
                <a:lnTo>
                  <a:pt x="6620" y="5760"/>
                </a:lnTo>
                <a:lnTo>
                  <a:pt x="6619" y="5803"/>
                </a:lnTo>
                <a:lnTo>
                  <a:pt x="6616" y="5846"/>
                </a:lnTo>
                <a:lnTo>
                  <a:pt x="6610" y="5889"/>
                </a:lnTo>
                <a:lnTo>
                  <a:pt x="6603" y="5930"/>
                </a:lnTo>
                <a:lnTo>
                  <a:pt x="6594" y="5971"/>
                </a:lnTo>
                <a:lnTo>
                  <a:pt x="6582" y="6011"/>
                </a:lnTo>
                <a:lnTo>
                  <a:pt x="6569" y="6050"/>
                </a:lnTo>
                <a:lnTo>
                  <a:pt x="6554" y="6089"/>
                </a:lnTo>
                <a:lnTo>
                  <a:pt x="6537" y="6126"/>
                </a:lnTo>
                <a:lnTo>
                  <a:pt x="6518" y="6163"/>
                </a:lnTo>
                <a:lnTo>
                  <a:pt x="6498" y="6198"/>
                </a:lnTo>
                <a:lnTo>
                  <a:pt x="6476" y="6232"/>
                </a:lnTo>
                <a:lnTo>
                  <a:pt x="6452" y="6266"/>
                </a:lnTo>
                <a:lnTo>
                  <a:pt x="6427" y="6298"/>
                </a:lnTo>
                <a:lnTo>
                  <a:pt x="6401" y="6328"/>
                </a:lnTo>
                <a:lnTo>
                  <a:pt x="6373" y="6357"/>
                </a:lnTo>
                <a:lnTo>
                  <a:pt x="6343" y="6386"/>
                </a:lnTo>
                <a:lnTo>
                  <a:pt x="6313" y="6413"/>
                </a:lnTo>
                <a:lnTo>
                  <a:pt x="6281" y="6438"/>
                </a:lnTo>
                <a:lnTo>
                  <a:pt x="6248" y="6461"/>
                </a:lnTo>
                <a:lnTo>
                  <a:pt x="6214" y="6483"/>
                </a:lnTo>
                <a:lnTo>
                  <a:pt x="6178" y="6503"/>
                </a:lnTo>
                <a:lnTo>
                  <a:pt x="6142" y="6523"/>
                </a:lnTo>
                <a:lnTo>
                  <a:pt x="6104" y="6539"/>
                </a:lnTo>
                <a:lnTo>
                  <a:pt x="6066" y="6555"/>
                </a:lnTo>
                <a:lnTo>
                  <a:pt x="6027" y="6568"/>
                </a:lnTo>
                <a:lnTo>
                  <a:pt x="5986" y="6579"/>
                </a:lnTo>
                <a:lnTo>
                  <a:pt x="5946" y="6588"/>
                </a:lnTo>
                <a:lnTo>
                  <a:pt x="5904" y="6596"/>
                </a:lnTo>
                <a:lnTo>
                  <a:pt x="5863" y="6601"/>
                </a:lnTo>
                <a:lnTo>
                  <a:pt x="5819" y="6604"/>
                </a:lnTo>
                <a:lnTo>
                  <a:pt x="5776" y="6605"/>
                </a:lnTo>
                <a:lnTo>
                  <a:pt x="5732" y="6604"/>
                </a:lnTo>
                <a:lnTo>
                  <a:pt x="5690" y="6601"/>
                </a:lnTo>
                <a:lnTo>
                  <a:pt x="5647" y="6596"/>
                </a:lnTo>
                <a:lnTo>
                  <a:pt x="5605" y="6588"/>
                </a:lnTo>
                <a:lnTo>
                  <a:pt x="5565" y="6579"/>
                </a:lnTo>
                <a:lnTo>
                  <a:pt x="5525" y="6568"/>
                </a:lnTo>
                <a:lnTo>
                  <a:pt x="5485" y="6555"/>
                </a:lnTo>
                <a:lnTo>
                  <a:pt x="5447" y="6539"/>
                </a:lnTo>
                <a:lnTo>
                  <a:pt x="5410" y="6523"/>
                </a:lnTo>
                <a:lnTo>
                  <a:pt x="5373" y="6503"/>
                </a:lnTo>
                <a:lnTo>
                  <a:pt x="5337" y="6483"/>
                </a:lnTo>
                <a:lnTo>
                  <a:pt x="5303" y="6461"/>
                </a:lnTo>
                <a:lnTo>
                  <a:pt x="5270" y="6438"/>
                </a:lnTo>
                <a:lnTo>
                  <a:pt x="5239" y="6413"/>
                </a:lnTo>
                <a:lnTo>
                  <a:pt x="5208" y="6386"/>
                </a:lnTo>
                <a:lnTo>
                  <a:pt x="5179" y="6357"/>
                </a:lnTo>
                <a:lnTo>
                  <a:pt x="5150" y="6328"/>
                </a:lnTo>
                <a:lnTo>
                  <a:pt x="5124" y="6298"/>
                </a:lnTo>
                <a:lnTo>
                  <a:pt x="5099" y="6266"/>
                </a:lnTo>
                <a:lnTo>
                  <a:pt x="5075" y="6232"/>
                </a:lnTo>
                <a:lnTo>
                  <a:pt x="5054" y="6198"/>
                </a:lnTo>
                <a:lnTo>
                  <a:pt x="5033" y="6163"/>
                </a:lnTo>
                <a:lnTo>
                  <a:pt x="5015" y="6126"/>
                </a:lnTo>
                <a:lnTo>
                  <a:pt x="4997" y="6089"/>
                </a:lnTo>
                <a:lnTo>
                  <a:pt x="4982" y="6050"/>
                </a:lnTo>
                <a:lnTo>
                  <a:pt x="4969" y="6011"/>
                </a:lnTo>
                <a:lnTo>
                  <a:pt x="4958" y="5971"/>
                </a:lnTo>
                <a:lnTo>
                  <a:pt x="4948" y="5930"/>
                </a:lnTo>
                <a:lnTo>
                  <a:pt x="4941" y="5889"/>
                </a:lnTo>
                <a:lnTo>
                  <a:pt x="4935" y="5846"/>
                </a:lnTo>
                <a:lnTo>
                  <a:pt x="4932" y="5803"/>
                </a:lnTo>
                <a:lnTo>
                  <a:pt x="4931" y="5760"/>
                </a:lnTo>
                <a:lnTo>
                  <a:pt x="4932" y="5716"/>
                </a:lnTo>
                <a:lnTo>
                  <a:pt x="4935" y="5673"/>
                </a:lnTo>
                <a:lnTo>
                  <a:pt x="4941" y="5631"/>
                </a:lnTo>
                <a:lnTo>
                  <a:pt x="4948" y="5589"/>
                </a:lnTo>
                <a:lnTo>
                  <a:pt x="4958" y="5548"/>
                </a:lnTo>
                <a:lnTo>
                  <a:pt x="4969" y="5508"/>
                </a:lnTo>
                <a:lnTo>
                  <a:pt x="4982" y="5468"/>
                </a:lnTo>
                <a:lnTo>
                  <a:pt x="4997" y="5430"/>
                </a:lnTo>
                <a:lnTo>
                  <a:pt x="5015" y="5393"/>
                </a:lnTo>
                <a:lnTo>
                  <a:pt x="5033" y="5357"/>
                </a:lnTo>
                <a:lnTo>
                  <a:pt x="5054" y="5321"/>
                </a:lnTo>
                <a:lnTo>
                  <a:pt x="5075" y="5287"/>
                </a:lnTo>
                <a:lnTo>
                  <a:pt x="5099" y="5254"/>
                </a:lnTo>
                <a:lnTo>
                  <a:pt x="5124" y="5221"/>
                </a:lnTo>
                <a:lnTo>
                  <a:pt x="5150" y="5190"/>
                </a:lnTo>
                <a:lnTo>
                  <a:pt x="5179" y="5161"/>
                </a:lnTo>
                <a:lnTo>
                  <a:pt x="5208" y="5134"/>
                </a:lnTo>
                <a:lnTo>
                  <a:pt x="5239" y="5107"/>
                </a:lnTo>
                <a:lnTo>
                  <a:pt x="5270" y="5081"/>
                </a:lnTo>
                <a:lnTo>
                  <a:pt x="5303" y="5058"/>
                </a:lnTo>
                <a:lnTo>
                  <a:pt x="5337" y="5036"/>
                </a:lnTo>
                <a:lnTo>
                  <a:pt x="5373" y="5016"/>
                </a:lnTo>
                <a:lnTo>
                  <a:pt x="5410" y="4997"/>
                </a:lnTo>
                <a:lnTo>
                  <a:pt x="5447" y="4980"/>
                </a:lnTo>
                <a:lnTo>
                  <a:pt x="5485" y="4964"/>
                </a:lnTo>
                <a:lnTo>
                  <a:pt x="5525" y="4951"/>
                </a:lnTo>
                <a:lnTo>
                  <a:pt x="5565" y="4940"/>
                </a:lnTo>
                <a:lnTo>
                  <a:pt x="5605" y="4931"/>
                </a:lnTo>
                <a:lnTo>
                  <a:pt x="5647" y="4923"/>
                </a:lnTo>
                <a:lnTo>
                  <a:pt x="5690" y="4918"/>
                </a:lnTo>
                <a:lnTo>
                  <a:pt x="5732" y="4915"/>
                </a:lnTo>
                <a:lnTo>
                  <a:pt x="5776" y="4914"/>
                </a:lnTo>
                <a:close/>
                <a:moveTo>
                  <a:pt x="6905" y="4629"/>
                </a:moveTo>
                <a:lnTo>
                  <a:pt x="6878" y="4603"/>
                </a:lnTo>
                <a:lnTo>
                  <a:pt x="6849" y="4576"/>
                </a:lnTo>
                <a:lnTo>
                  <a:pt x="6821" y="4551"/>
                </a:lnTo>
                <a:lnTo>
                  <a:pt x="6792" y="4527"/>
                </a:lnTo>
                <a:lnTo>
                  <a:pt x="6763" y="4504"/>
                </a:lnTo>
                <a:lnTo>
                  <a:pt x="6733" y="4481"/>
                </a:lnTo>
                <a:lnTo>
                  <a:pt x="6703" y="4458"/>
                </a:lnTo>
                <a:lnTo>
                  <a:pt x="6670" y="4436"/>
                </a:lnTo>
                <a:lnTo>
                  <a:pt x="6639" y="4415"/>
                </a:lnTo>
                <a:lnTo>
                  <a:pt x="6607" y="4395"/>
                </a:lnTo>
                <a:lnTo>
                  <a:pt x="6574" y="4376"/>
                </a:lnTo>
                <a:lnTo>
                  <a:pt x="6541" y="4357"/>
                </a:lnTo>
                <a:lnTo>
                  <a:pt x="6506" y="4340"/>
                </a:lnTo>
                <a:lnTo>
                  <a:pt x="6472" y="4323"/>
                </a:lnTo>
                <a:lnTo>
                  <a:pt x="6437" y="4306"/>
                </a:lnTo>
                <a:lnTo>
                  <a:pt x="6402" y="4290"/>
                </a:lnTo>
                <a:lnTo>
                  <a:pt x="6367" y="4276"/>
                </a:lnTo>
                <a:lnTo>
                  <a:pt x="6330" y="4262"/>
                </a:lnTo>
                <a:lnTo>
                  <a:pt x="6294" y="4250"/>
                </a:lnTo>
                <a:lnTo>
                  <a:pt x="6257" y="4238"/>
                </a:lnTo>
                <a:lnTo>
                  <a:pt x="6220" y="4227"/>
                </a:lnTo>
                <a:lnTo>
                  <a:pt x="6181" y="4217"/>
                </a:lnTo>
                <a:lnTo>
                  <a:pt x="6143" y="4207"/>
                </a:lnTo>
                <a:lnTo>
                  <a:pt x="6105" y="4199"/>
                </a:lnTo>
                <a:lnTo>
                  <a:pt x="6066" y="4191"/>
                </a:lnTo>
                <a:lnTo>
                  <a:pt x="6028" y="4184"/>
                </a:lnTo>
                <a:lnTo>
                  <a:pt x="5987" y="4179"/>
                </a:lnTo>
                <a:lnTo>
                  <a:pt x="5948" y="4174"/>
                </a:lnTo>
                <a:lnTo>
                  <a:pt x="5908" y="4171"/>
                </a:lnTo>
                <a:lnTo>
                  <a:pt x="5868" y="4168"/>
                </a:lnTo>
                <a:lnTo>
                  <a:pt x="5826" y="4167"/>
                </a:lnTo>
                <a:lnTo>
                  <a:pt x="5786" y="4166"/>
                </a:lnTo>
                <a:lnTo>
                  <a:pt x="5745" y="4167"/>
                </a:lnTo>
                <a:lnTo>
                  <a:pt x="5705" y="4168"/>
                </a:lnTo>
                <a:lnTo>
                  <a:pt x="5664" y="4171"/>
                </a:lnTo>
                <a:lnTo>
                  <a:pt x="5624" y="4174"/>
                </a:lnTo>
                <a:lnTo>
                  <a:pt x="5584" y="4179"/>
                </a:lnTo>
                <a:lnTo>
                  <a:pt x="5545" y="4184"/>
                </a:lnTo>
                <a:lnTo>
                  <a:pt x="5505" y="4191"/>
                </a:lnTo>
                <a:lnTo>
                  <a:pt x="5467" y="4199"/>
                </a:lnTo>
                <a:lnTo>
                  <a:pt x="5428" y="4207"/>
                </a:lnTo>
                <a:lnTo>
                  <a:pt x="5391" y="4217"/>
                </a:lnTo>
                <a:lnTo>
                  <a:pt x="5353" y="4227"/>
                </a:lnTo>
                <a:lnTo>
                  <a:pt x="5315" y="4238"/>
                </a:lnTo>
                <a:lnTo>
                  <a:pt x="5278" y="4250"/>
                </a:lnTo>
                <a:lnTo>
                  <a:pt x="5242" y="4262"/>
                </a:lnTo>
                <a:lnTo>
                  <a:pt x="5206" y="4276"/>
                </a:lnTo>
                <a:lnTo>
                  <a:pt x="5170" y="4290"/>
                </a:lnTo>
                <a:lnTo>
                  <a:pt x="5134" y="4306"/>
                </a:lnTo>
                <a:lnTo>
                  <a:pt x="5100" y="4323"/>
                </a:lnTo>
                <a:lnTo>
                  <a:pt x="5066" y="4340"/>
                </a:lnTo>
                <a:lnTo>
                  <a:pt x="5032" y="4357"/>
                </a:lnTo>
                <a:lnTo>
                  <a:pt x="4998" y="4376"/>
                </a:lnTo>
                <a:lnTo>
                  <a:pt x="4965" y="4395"/>
                </a:lnTo>
                <a:lnTo>
                  <a:pt x="4933" y="4415"/>
                </a:lnTo>
                <a:lnTo>
                  <a:pt x="4901" y="4436"/>
                </a:lnTo>
                <a:lnTo>
                  <a:pt x="4870" y="4458"/>
                </a:lnTo>
                <a:lnTo>
                  <a:pt x="4840" y="4481"/>
                </a:lnTo>
                <a:lnTo>
                  <a:pt x="4809" y="4504"/>
                </a:lnTo>
                <a:lnTo>
                  <a:pt x="4779" y="4527"/>
                </a:lnTo>
                <a:lnTo>
                  <a:pt x="4750" y="4551"/>
                </a:lnTo>
                <a:lnTo>
                  <a:pt x="4722" y="4576"/>
                </a:lnTo>
                <a:lnTo>
                  <a:pt x="4695" y="4603"/>
                </a:lnTo>
                <a:lnTo>
                  <a:pt x="4668" y="4629"/>
                </a:lnTo>
                <a:lnTo>
                  <a:pt x="4669" y="4630"/>
                </a:lnTo>
                <a:lnTo>
                  <a:pt x="4641" y="4657"/>
                </a:lnTo>
                <a:lnTo>
                  <a:pt x="4616" y="4685"/>
                </a:lnTo>
                <a:lnTo>
                  <a:pt x="4591" y="4714"/>
                </a:lnTo>
                <a:lnTo>
                  <a:pt x="4566" y="4743"/>
                </a:lnTo>
                <a:lnTo>
                  <a:pt x="4543" y="4772"/>
                </a:lnTo>
                <a:lnTo>
                  <a:pt x="4520" y="4802"/>
                </a:lnTo>
                <a:lnTo>
                  <a:pt x="4497" y="4833"/>
                </a:lnTo>
                <a:lnTo>
                  <a:pt x="4475" y="4865"/>
                </a:lnTo>
                <a:lnTo>
                  <a:pt x="4454" y="4896"/>
                </a:lnTo>
                <a:lnTo>
                  <a:pt x="4434" y="4929"/>
                </a:lnTo>
                <a:lnTo>
                  <a:pt x="4415" y="4961"/>
                </a:lnTo>
                <a:lnTo>
                  <a:pt x="4396" y="4995"/>
                </a:lnTo>
                <a:lnTo>
                  <a:pt x="4379" y="5029"/>
                </a:lnTo>
                <a:lnTo>
                  <a:pt x="4362" y="5063"/>
                </a:lnTo>
                <a:lnTo>
                  <a:pt x="4345" y="5099"/>
                </a:lnTo>
                <a:lnTo>
                  <a:pt x="4330" y="5134"/>
                </a:lnTo>
                <a:lnTo>
                  <a:pt x="4315" y="5169"/>
                </a:lnTo>
                <a:lnTo>
                  <a:pt x="4301" y="5205"/>
                </a:lnTo>
                <a:lnTo>
                  <a:pt x="4288" y="5242"/>
                </a:lnTo>
                <a:lnTo>
                  <a:pt x="4276" y="5279"/>
                </a:lnTo>
                <a:lnTo>
                  <a:pt x="4265" y="5316"/>
                </a:lnTo>
                <a:lnTo>
                  <a:pt x="4255" y="5355"/>
                </a:lnTo>
                <a:lnTo>
                  <a:pt x="4246" y="5392"/>
                </a:lnTo>
                <a:lnTo>
                  <a:pt x="4238" y="5431"/>
                </a:lnTo>
                <a:lnTo>
                  <a:pt x="4230" y="5469"/>
                </a:lnTo>
                <a:lnTo>
                  <a:pt x="4224" y="5509"/>
                </a:lnTo>
                <a:lnTo>
                  <a:pt x="4218" y="5548"/>
                </a:lnTo>
                <a:lnTo>
                  <a:pt x="4214" y="5588"/>
                </a:lnTo>
                <a:lnTo>
                  <a:pt x="4210" y="5628"/>
                </a:lnTo>
                <a:lnTo>
                  <a:pt x="4208" y="5668"/>
                </a:lnTo>
                <a:lnTo>
                  <a:pt x="4206" y="5709"/>
                </a:lnTo>
                <a:lnTo>
                  <a:pt x="4206" y="5750"/>
                </a:lnTo>
                <a:lnTo>
                  <a:pt x="4206" y="5791"/>
                </a:lnTo>
                <a:lnTo>
                  <a:pt x="4208" y="5831"/>
                </a:lnTo>
                <a:lnTo>
                  <a:pt x="4210" y="5872"/>
                </a:lnTo>
                <a:lnTo>
                  <a:pt x="4214" y="5912"/>
                </a:lnTo>
                <a:lnTo>
                  <a:pt x="4218" y="5951"/>
                </a:lnTo>
                <a:lnTo>
                  <a:pt x="4224" y="5991"/>
                </a:lnTo>
                <a:lnTo>
                  <a:pt x="4230" y="6030"/>
                </a:lnTo>
                <a:lnTo>
                  <a:pt x="4238" y="6069"/>
                </a:lnTo>
                <a:lnTo>
                  <a:pt x="4246" y="6107"/>
                </a:lnTo>
                <a:lnTo>
                  <a:pt x="4255" y="6146"/>
                </a:lnTo>
                <a:lnTo>
                  <a:pt x="4265" y="6183"/>
                </a:lnTo>
                <a:lnTo>
                  <a:pt x="4276" y="6221"/>
                </a:lnTo>
                <a:lnTo>
                  <a:pt x="4288" y="6258"/>
                </a:lnTo>
                <a:lnTo>
                  <a:pt x="4301" y="6295"/>
                </a:lnTo>
                <a:lnTo>
                  <a:pt x="4315" y="6330"/>
                </a:lnTo>
                <a:lnTo>
                  <a:pt x="4330" y="6366"/>
                </a:lnTo>
                <a:lnTo>
                  <a:pt x="4345" y="6402"/>
                </a:lnTo>
                <a:lnTo>
                  <a:pt x="4362" y="6437"/>
                </a:lnTo>
                <a:lnTo>
                  <a:pt x="4379" y="6471"/>
                </a:lnTo>
                <a:lnTo>
                  <a:pt x="4396" y="6504"/>
                </a:lnTo>
                <a:lnTo>
                  <a:pt x="4415" y="6538"/>
                </a:lnTo>
                <a:lnTo>
                  <a:pt x="4434" y="6571"/>
                </a:lnTo>
                <a:lnTo>
                  <a:pt x="4454" y="6603"/>
                </a:lnTo>
                <a:lnTo>
                  <a:pt x="4475" y="6635"/>
                </a:lnTo>
                <a:lnTo>
                  <a:pt x="4497" y="6667"/>
                </a:lnTo>
                <a:lnTo>
                  <a:pt x="4520" y="6697"/>
                </a:lnTo>
                <a:lnTo>
                  <a:pt x="4543" y="6727"/>
                </a:lnTo>
                <a:lnTo>
                  <a:pt x="4566" y="6757"/>
                </a:lnTo>
                <a:lnTo>
                  <a:pt x="4591" y="6787"/>
                </a:lnTo>
                <a:lnTo>
                  <a:pt x="4616" y="6815"/>
                </a:lnTo>
                <a:lnTo>
                  <a:pt x="4641" y="6842"/>
                </a:lnTo>
                <a:lnTo>
                  <a:pt x="4669" y="6869"/>
                </a:lnTo>
                <a:lnTo>
                  <a:pt x="4668" y="6870"/>
                </a:lnTo>
                <a:lnTo>
                  <a:pt x="4695" y="6897"/>
                </a:lnTo>
                <a:lnTo>
                  <a:pt x="4722" y="6923"/>
                </a:lnTo>
                <a:lnTo>
                  <a:pt x="4750" y="6948"/>
                </a:lnTo>
                <a:lnTo>
                  <a:pt x="4779" y="6973"/>
                </a:lnTo>
                <a:lnTo>
                  <a:pt x="4809" y="6996"/>
                </a:lnTo>
                <a:lnTo>
                  <a:pt x="4840" y="7019"/>
                </a:lnTo>
                <a:lnTo>
                  <a:pt x="4870" y="7042"/>
                </a:lnTo>
                <a:lnTo>
                  <a:pt x="4901" y="7064"/>
                </a:lnTo>
                <a:lnTo>
                  <a:pt x="4933" y="7084"/>
                </a:lnTo>
                <a:lnTo>
                  <a:pt x="4965" y="7104"/>
                </a:lnTo>
                <a:lnTo>
                  <a:pt x="4998" y="7124"/>
                </a:lnTo>
                <a:lnTo>
                  <a:pt x="5032" y="7142"/>
                </a:lnTo>
                <a:lnTo>
                  <a:pt x="5066" y="7161"/>
                </a:lnTo>
                <a:lnTo>
                  <a:pt x="5100" y="7178"/>
                </a:lnTo>
                <a:lnTo>
                  <a:pt x="5134" y="7194"/>
                </a:lnTo>
                <a:lnTo>
                  <a:pt x="5170" y="7209"/>
                </a:lnTo>
                <a:lnTo>
                  <a:pt x="5206" y="7224"/>
                </a:lnTo>
                <a:lnTo>
                  <a:pt x="5242" y="7237"/>
                </a:lnTo>
                <a:lnTo>
                  <a:pt x="5278" y="7250"/>
                </a:lnTo>
                <a:lnTo>
                  <a:pt x="5315" y="7262"/>
                </a:lnTo>
                <a:lnTo>
                  <a:pt x="5353" y="7273"/>
                </a:lnTo>
                <a:lnTo>
                  <a:pt x="5391" y="7283"/>
                </a:lnTo>
                <a:lnTo>
                  <a:pt x="5428" y="7293"/>
                </a:lnTo>
                <a:lnTo>
                  <a:pt x="5467" y="7302"/>
                </a:lnTo>
                <a:lnTo>
                  <a:pt x="5505" y="7309"/>
                </a:lnTo>
                <a:lnTo>
                  <a:pt x="5545" y="7315"/>
                </a:lnTo>
                <a:lnTo>
                  <a:pt x="5584" y="7321"/>
                </a:lnTo>
                <a:lnTo>
                  <a:pt x="5624" y="7325"/>
                </a:lnTo>
                <a:lnTo>
                  <a:pt x="5664" y="7329"/>
                </a:lnTo>
                <a:lnTo>
                  <a:pt x="5705" y="7331"/>
                </a:lnTo>
                <a:lnTo>
                  <a:pt x="5745" y="7333"/>
                </a:lnTo>
                <a:lnTo>
                  <a:pt x="5786" y="7333"/>
                </a:lnTo>
                <a:lnTo>
                  <a:pt x="5826" y="7333"/>
                </a:lnTo>
                <a:lnTo>
                  <a:pt x="5868" y="7331"/>
                </a:lnTo>
                <a:lnTo>
                  <a:pt x="5908" y="7329"/>
                </a:lnTo>
                <a:lnTo>
                  <a:pt x="5948" y="7325"/>
                </a:lnTo>
                <a:lnTo>
                  <a:pt x="5987" y="7321"/>
                </a:lnTo>
                <a:lnTo>
                  <a:pt x="6028" y="7315"/>
                </a:lnTo>
                <a:lnTo>
                  <a:pt x="6066" y="7309"/>
                </a:lnTo>
                <a:lnTo>
                  <a:pt x="6105" y="7302"/>
                </a:lnTo>
                <a:lnTo>
                  <a:pt x="6143" y="7293"/>
                </a:lnTo>
                <a:lnTo>
                  <a:pt x="6181" y="7283"/>
                </a:lnTo>
                <a:lnTo>
                  <a:pt x="6220" y="7273"/>
                </a:lnTo>
                <a:lnTo>
                  <a:pt x="6257" y="7262"/>
                </a:lnTo>
                <a:lnTo>
                  <a:pt x="6294" y="7250"/>
                </a:lnTo>
                <a:lnTo>
                  <a:pt x="6330" y="7237"/>
                </a:lnTo>
                <a:lnTo>
                  <a:pt x="6367" y="7224"/>
                </a:lnTo>
                <a:lnTo>
                  <a:pt x="6402" y="7209"/>
                </a:lnTo>
                <a:lnTo>
                  <a:pt x="6437" y="7194"/>
                </a:lnTo>
                <a:lnTo>
                  <a:pt x="6472" y="7178"/>
                </a:lnTo>
                <a:lnTo>
                  <a:pt x="6506" y="7161"/>
                </a:lnTo>
                <a:lnTo>
                  <a:pt x="6541" y="7142"/>
                </a:lnTo>
                <a:lnTo>
                  <a:pt x="6574" y="7124"/>
                </a:lnTo>
                <a:lnTo>
                  <a:pt x="6607" y="7104"/>
                </a:lnTo>
                <a:lnTo>
                  <a:pt x="6639" y="7084"/>
                </a:lnTo>
                <a:lnTo>
                  <a:pt x="6670" y="7064"/>
                </a:lnTo>
                <a:lnTo>
                  <a:pt x="6703" y="7042"/>
                </a:lnTo>
                <a:lnTo>
                  <a:pt x="6733" y="7019"/>
                </a:lnTo>
                <a:lnTo>
                  <a:pt x="6763" y="6996"/>
                </a:lnTo>
                <a:lnTo>
                  <a:pt x="6792" y="6973"/>
                </a:lnTo>
                <a:lnTo>
                  <a:pt x="6821" y="6948"/>
                </a:lnTo>
                <a:lnTo>
                  <a:pt x="6849" y="6923"/>
                </a:lnTo>
                <a:lnTo>
                  <a:pt x="6878" y="6897"/>
                </a:lnTo>
                <a:lnTo>
                  <a:pt x="6905" y="6870"/>
                </a:lnTo>
                <a:lnTo>
                  <a:pt x="6904" y="6869"/>
                </a:lnTo>
                <a:lnTo>
                  <a:pt x="6930" y="6842"/>
                </a:lnTo>
                <a:lnTo>
                  <a:pt x="6956" y="6815"/>
                </a:lnTo>
                <a:lnTo>
                  <a:pt x="6981" y="6787"/>
                </a:lnTo>
                <a:lnTo>
                  <a:pt x="7005" y="6757"/>
                </a:lnTo>
                <a:lnTo>
                  <a:pt x="7029" y="6727"/>
                </a:lnTo>
                <a:lnTo>
                  <a:pt x="7053" y="6697"/>
                </a:lnTo>
                <a:lnTo>
                  <a:pt x="7075" y="6667"/>
                </a:lnTo>
                <a:lnTo>
                  <a:pt x="7097" y="6635"/>
                </a:lnTo>
                <a:lnTo>
                  <a:pt x="7118" y="6603"/>
                </a:lnTo>
                <a:lnTo>
                  <a:pt x="7138" y="6571"/>
                </a:lnTo>
                <a:lnTo>
                  <a:pt x="7157" y="6538"/>
                </a:lnTo>
                <a:lnTo>
                  <a:pt x="7175" y="6504"/>
                </a:lnTo>
                <a:lnTo>
                  <a:pt x="7193" y="6471"/>
                </a:lnTo>
                <a:lnTo>
                  <a:pt x="7211" y="6437"/>
                </a:lnTo>
                <a:lnTo>
                  <a:pt x="7227" y="6402"/>
                </a:lnTo>
                <a:lnTo>
                  <a:pt x="7243" y="6366"/>
                </a:lnTo>
                <a:lnTo>
                  <a:pt x="7257" y="6330"/>
                </a:lnTo>
                <a:lnTo>
                  <a:pt x="7271" y="6295"/>
                </a:lnTo>
                <a:lnTo>
                  <a:pt x="7284" y="6258"/>
                </a:lnTo>
                <a:lnTo>
                  <a:pt x="7295" y="6221"/>
                </a:lnTo>
                <a:lnTo>
                  <a:pt x="7306" y="6183"/>
                </a:lnTo>
                <a:lnTo>
                  <a:pt x="7317" y="6146"/>
                </a:lnTo>
                <a:lnTo>
                  <a:pt x="7326" y="6107"/>
                </a:lnTo>
                <a:lnTo>
                  <a:pt x="7334" y="6069"/>
                </a:lnTo>
                <a:lnTo>
                  <a:pt x="7342" y="6030"/>
                </a:lnTo>
                <a:lnTo>
                  <a:pt x="7348" y="5991"/>
                </a:lnTo>
                <a:lnTo>
                  <a:pt x="7353" y="5951"/>
                </a:lnTo>
                <a:lnTo>
                  <a:pt x="7358" y="5912"/>
                </a:lnTo>
                <a:lnTo>
                  <a:pt x="7361" y="5872"/>
                </a:lnTo>
                <a:lnTo>
                  <a:pt x="7364" y="5831"/>
                </a:lnTo>
                <a:lnTo>
                  <a:pt x="7366" y="5791"/>
                </a:lnTo>
                <a:lnTo>
                  <a:pt x="7366" y="5750"/>
                </a:lnTo>
                <a:lnTo>
                  <a:pt x="7366" y="5709"/>
                </a:lnTo>
                <a:lnTo>
                  <a:pt x="7364" y="5668"/>
                </a:lnTo>
                <a:lnTo>
                  <a:pt x="7361" y="5628"/>
                </a:lnTo>
                <a:lnTo>
                  <a:pt x="7358" y="5588"/>
                </a:lnTo>
                <a:lnTo>
                  <a:pt x="7353" y="5548"/>
                </a:lnTo>
                <a:lnTo>
                  <a:pt x="7348" y="5509"/>
                </a:lnTo>
                <a:lnTo>
                  <a:pt x="7342" y="5469"/>
                </a:lnTo>
                <a:lnTo>
                  <a:pt x="7334" y="5431"/>
                </a:lnTo>
                <a:lnTo>
                  <a:pt x="7326" y="5392"/>
                </a:lnTo>
                <a:lnTo>
                  <a:pt x="7317" y="5355"/>
                </a:lnTo>
                <a:lnTo>
                  <a:pt x="7306" y="5316"/>
                </a:lnTo>
                <a:lnTo>
                  <a:pt x="7295" y="5279"/>
                </a:lnTo>
                <a:lnTo>
                  <a:pt x="7284" y="5242"/>
                </a:lnTo>
                <a:lnTo>
                  <a:pt x="7271" y="5205"/>
                </a:lnTo>
                <a:lnTo>
                  <a:pt x="7257" y="5169"/>
                </a:lnTo>
                <a:lnTo>
                  <a:pt x="7243" y="5134"/>
                </a:lnTo>
                <a:lnTo>
                  <a:pt x="7227" y="5099"/>
                </a:lnTo>
                <a:lnTo>
                  <a:pt x="7211" y="5063"/>
                </a:lnTo>
                <a:lnTo>
                  <a:pt x="7193" y="5029"/>
                </a:lnTo>
                <a:lnTo>
                  <a:pt x="7175" y="4995"/>
                </a:lnTo>
                <a:lnTo>
                  <a:pt x="7157" y="4961"/>
                </a:lnTo>
                <a:lnTo>
                  <a:pt x="7138" y="4929"/>
                </a:lnTo>
                <a:lnTo>
                  <a:pt x="7118" y="4896"/>
                </a:lnTo>
                <a:lnTo>
                  <a:pt x="7097" y="4865"/>
                </a:lnTo>
                <a:lnTo>
                  <a:pt x="7075" y="4833"/>
                </a:lnTo>
                <a:lnTo>
                  <a:pt x="7053" y="4802"/>
                </a:lnTo>
                <a:lnTo>
                  <a:pt x="7029" y="4772"/>
                </a:lnTo>
                <a:lnTo>
                  <a:pt x="7005" y="4743"/>
                </a:lnTo>
                <a:lnTo>
                  <a:pt x="6981" y="4714"/>
                </a:lnTo>
                <a:lnTo>
                  <a:pt x="6956" y="4685"/>
                </a:lnTo>
                <a:lnTo>
                  <a:pt x="6930" y="4657"/>
                </a:lnTo>
                <a:lnTo>
                  <a:pt x="6904" y="4630"/>
                </a:lnTo>
                <a:lnTo>
                  <a:pt x="6905" y="4629"/>
                </a:lnTo>
                <a:close/>
                <a:moveTo>
                  <a:pt x="792" y="14007"/>
                </a:moveTo>
                <a:lnTo>
                  <a:pt x="10753" y="14007"/>
                </a:lnTo>
                <a:lnTo>
                  <a:pt x="10753" y="15356"/>
                </a:lnTo>
                <a:lnTo>
                  <a:pt x="792" y="15356"/>
                </a:lnTo>
                <a:lnTo>
                  <a:pt x="792" y="1400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21" name="formula"/>
          <p:cNvSpPr>
            <a:spLocks noEditPoints="1"/>
          </p:cNvSpPr>
          <p:nvPr/>
        </p:nvSpPr>
        <p:spPr bwMode="auto">
          <a:xfrm>
            <a:off x="6233369" y="1292208"/>
            <a:ext cx="319881" cy="264584"/>
          </a:xfrm>
          <a:custGeom>
            <a:avLst/>
            <a:gdLst>
              <a:gd name="T0" fmla="*/ 6477 w 16120"/>
              <a:gd name="T1" fmla="*/ 1249 h 10000"/>
              <a:gd name="T2" fmla="*/ 8060 w 16120"/>
              <a:gd name="T3" fmla="*/ 2164 h 10000"/>
              <a:gd name="T4" fmla="*/ 9643 w 16120"/>
              <a:gd name="T5" fmla="*/ 1249 h 10000"/>
              <a:gd name="T6" fmla="*/ 11801 w 16120"/>
              <a:gd name="T7" fmla="*/ 0 h 10000"/>
              <a:gd name="T8" fmla="*/ 13958 w 16120"/>
              <a:gd name="T9" fmla="*/ 1249 h 10000"/>
              <a:gd name="T10" fmla="*/ 15831 w 16120"/>
              <a:gd name="T11" fmla="*/ 2332 h 10000"/>
              <a:gd name="T12" fmla="*/ 16120 w 16120"/>
              <a:gd name="T13" fmla="*/ 2833 h 10000"/>
              <a:gd name="T14" fmla="*/ 16120 w 16120"/>
              <a:gd name="T15" fmla="*/ 7165 h 10000"/>
              <a:gd name="T16" fmla="*/ 15831 w 16120"/>
              <a:gd name="T17" fmla="*/ 7666 h 10000"/>
              <a:gd name="T18" fmla="*/ 12090 w 16120"/>
              <a:gd name="T19" fmla="*/ 9832 h 10000"/>
              <a:gd name="T20" fmla="*/ 11511 w 16120"/>
              <a:gd name="T21" fmla="*/ 9832 h 10000"/>
              <a:gd name="T22" fmla="*/ 8060 w 16120"/>
              <a:gd name="T23" fmla="*/ 7834 h 10000"/>
              <a:gd name="T24" fmla="*/ 4609 w 16120"/>
              <a:gd name="T25" fmla="*/ 9832 h 10000"/>
              <a:gd name="T26" fmla="*/ 4030 w 16120"/>
              <a:gd name="T27" fmla="*/ 9832 h 10000"/>
              <a:gd name="T28" fmla="*/ 289 w 16120"/>
              <a:gd name="T29" fmla="*/ 7666 h 10000"/>
              <a:gd name="T30" fmla="*/ 0 w 16120"/>
              <a:gd name="T31" fmla="*/ 7165 h 10000"/>
              <a:gd name="T32" fmla="*/ 0 w 16120"/>
              <a:gd name="T33" fmla="*/ 2833 h 10000"/>
              <a:gd name="T34" fmla="*/ 289 w 16120"/>
              <a:gd name="T35" fmla="*/ 2332 h 10000"/>
              <a:gd name="T36" fmla="*/ 2162 w 16120"/>
              <a:gd name="T37" fmla="*/ 1249 h 10000"/>
              <a:gd name="T38" fmla="*/ 4319 w 16120"/>
              <a:gd name="T39" fmla="*/ 0 h 10000"/>
              <a:gd name="T40" fmla="*/ 14418 w 16120"/>
              <a:gd name="T41" fmla="*/ 3568 h 10000"/>
              <a:gd name="T42" fmla="*/ 14418 w 16120"/>
              <a:gd name="T43" fmla="*/ 6431 h 10000"/>
              <a:gd name="T44" fmla="*/ 14127 w 16120"/>
              <a:gd name="T45" fmla="*/ 4999 h 10000"/>
              <a:gd name="T46" fmla="*/ 14418 w 16120"/>
              <a:gd name="T47" fmla="*/ 3568 h 10000"/>
              <a:gd name="T48" fmla="*/ 10492 w 16120"/>
              <a:gd name="T49" fmla="*/ 7273 h 10000"/>
              <a:gd name="T50" fmla="*/ 9255 w 16120"/>
              <a:gd name="T51" fmla="*/ 6557 h 10000"/>
              <a:gd name="T52" fmla="*/ 10637 w 16120"/>
              <a:gd name="T53" fmla="*/ 7021 h 10000"/>
              <a:gd name="T54" fmla="*/ 11872 w 16120"/>
              <a:gd name="T55" fmla="*/ 7737 h 10000"/>
              <a:gd name="T56" fmla="*/ 9256 w 16120"/>
              <a:gd name="T57" fmla="*/ 3442 h 10000"/>
              <a:gd name="T58" fmla="*/ 10491 w 16120"/>
              <a:gd name="T59" fmla="*/ 2726 h 10000"/>
              <a:gd name="T60" fmla="*/ 11872 w 16120"/>
              <a:gd name="T61" fmla="*/ 2261 h 10000"/>
              <a:gd name="T62" fmla="*/ 10636 w 16120"/>
              <a:gd name="T63" fmla="*/ 2978 h 10000"/>
              <a:gd name="T64" fmla="*/ 9256 w 16120"/>
              <a:gd name="T65" fmla="*/ 3442 h 10000"/>
              <a:gd name="T66" fmla="*/ 6937 w 16120"/>
              <a:gd name="T67" fmla="*/ 4999 h 10000"/>
              <a:gd name="T68" fmla="*/ 6646 w 16120"/>
              <a:gd name="T69" fmla="*/ 6431 h 10000"/>
              <a:gd name="T70" fmla="*/ 6646 w 16120"/>
              <a:gd name="T71" fmla="*/ 3568 h 10000"/>
              <a:gd name="T72" fmla="*/ 4248 w 16120"/>
              <a:gd name="T73" fmla="*/ 7988 h 10000"/>
              <a:gd name="T74" fmla="*/ 3010 w 16120"/>
              <a:gd name="T75" fmla="*/ 7273 h 10000"/>
              <a:gd name="T76" fmla="*/ 1919 w 16120"/>
              <a:gd name="T77" fmla="*/ 6305 h 10000"/>
              <a:gd name="T78" fmla="*/ 3155 w 16120"/>
              <a:gd name="T79" fmla="*/ 7021 h 10000"/>
              <a:gd name="T80" fmla="*/ 4248 w 16120"/>
              <a:gd name="T81" fmla="*/ 7988 h 10000"/>
              <a:gd name="T82" fmla="*/ 3010 w 16120"/>
              <a:gd name="T83" fmla="*/ 2727 h 10000"/>
              <a:gd name="T84" fmla="*/ 4247 w 16120"/>
              <a:gd name="T85" fmla="*/ 2011 h 10000"/>
              <a:gd name="T86" fmla="*/ 3155 w 16120"/>
              <a:gd name="T87" fmla="*/ 2978 h 10000"/>
              <a:gd name="T88" fmla="*/ 1918 w 16120"/>
              <a:gd name="T89" fmla="*/ 3693 h 10000"/>
              <a:gd name="T90" fmla="*/ 8639 w 16120"/>
              <a:gd name="T91" fmla="*/ 3167 h 10000"/>
              <a:gd name="T92" fmla="*/ 8639 w 16120"/>
              <a:gd name="T93" fmla="*/ 6831 h 10000"/>
              <a:gd name="T94" fmla="*/ 11801 w 16120"/>
              <a:gd name="T95" fmla="*/ 8662 h 10000"/>
              <a:gd name="T96" fmla="*/ 14962 w 16120"/>
              <a:gd name="T97" fmla="*/ 6831 h 10000"/>
              <a:gd name="T98" fmla="*/ 14962 w 16120"/>
              <a:gd name="T99" fmla="*/ 3167 h 10000"/>
              <a:gd name="T100" fmla="*/ 13382 w 16120"/>
              <a:gd name="T101" fmla="*/ 2250 h 10000"/>
              <a:gd name="T102" fmla="*/ 10219 w 16120"/>
              <a:gd name="T103" fmla="*/ 2250 h 10000"/>
              <a:gd name="T104" fmla="*/ 8639 w 16120"/>
              <a:gd name="T105" fmla="*/ 3167 h 10000"/>
              <a:gd name="T106" fmla="*/ 7481 w 16120"/>
              <a:gd name="T107" fmla="*/ 4999 h 10000"/>
              <a:gd name="T108" fmla="*/ 5900 w 16120"/>
              <a:gd name="T109" fmla="*/ 2251 h 10000"/>
              <a:gd name="T110" fmla="*/ 4319 w 16120"/>
              <a:gd name="T111" fmla="*/ 1335 h 10000"/>
              <a:gd name="T112" fmla="*/ 2738 w 16120"/>
              <a:gd name="T113" fmla="*/ 2251 h 10000"/>
              <a:gd name="T114" fmla="*/ 1158 w 16120"/>
              <a:gd name="T115" fmla="*/ 4999 h 10000"/>
              <a:gd name="T116" fmla="*/ 2738 w 16120"/>
              <a:gd name="T117" fmla="*/ 7747 h 10000"/>
              <a:gd name="T118" fmla="*/ 5900 w 16120"/>
              <a:gd name="T119" fmla="*/ 7747 h 10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120" h="10000">
                <a:moveTo>
                  <a:pt x="4606" y="166"/>
                </a:moveTo>
                <a:lnTo>
                  <a:pt x="6477" y="1249"/>
                </a:lnTo>
                <a:lnTo>
                  <a:pt x="6479" y="1249"/>
                </a:lnTo>
                <a:lnTo>
                  <a:pt x="8060" y="2164"/>
                </a:lnTo>
                <a:lnTo>
                  <a:pt x="9641" y="1249"/>
                </a:lnTo>
                <a:lnTo>
                  <a:pt x="9643" y="1249"/>
                </a:lnTo>
                <a:lnTo>
                  <a:pt x="11514" y="166"/>
                </a:lnTo>
                <a:lnTo>
                  <a:pt x="11801" y="0"/>
                </a:lnTo>
                <a:lnTo>
                  <a:pt x="12088" y="166"/>
                </a:lnTo>
                <a:lnTo>
                  <a:pt x="13958" y="1249"/>
                </a:lnTo>
                <a:lnTo>
                  <a:pt x="13960" y="1249"/>
                </a:lnTo>
                <a:lnTo>
                  <a:pt x="15831" y="2332"/>
                </a:lnTo>
                <a:lnTo>
                  <a:pt x="16120" y="2500"/>
                </a:lnTo>
                <a:lnTo>
                  <a:pt x="16120" y="2833"/>
                </a:lnTo>
                <a:lnTo>
                  <a:pt x="16120" y="4999"/>
                </a:lnTo>
                <a:lnTo>
                  <a:pt x="16120" y="7165"/>
                </a:lnTo>
                <a:lnTo>
                  <a:pt x="16120" y="7499"/>
                </a:lnTo>
                <a:lnTo>
                  <a:pt x="15831" y="7666"/>
                </a:lnTo>
                <a:lnTo>
                  <a:pt x="13960" y="8749"/>
                </a:lnTo>
                <a:lnTo>
                  <a:pt x="12090" y="9832"/>
                </a:lnTo>
                <a:lnTo>
                  <a:pt x="11801" y="10000"/>
                </a:lnTo>
                <a:lnTo>
                  <a:pt x="11511" y="9832"/>
                </a:lnTo>
                <a:lnTo>
                  <a:pt x="9641" y="8749"/>
                </a:lnTo>
                <a:lnTo>
                  <a:pt x="8060" y="7834"/>
                </a:lnTo>
                <a:lnTo>
                  <a:pt x="6479" y="8749"/>
                </a:lnTo>
                <a:lnTo>
                  <a:pt x="4609" y="9832"/>
                </a:lnTo>
                <a:lnTo>
                  <a:pt x="4319" y="10000"/>
                </a:lnTo>
                <a:lnTo>
                  <a:pt x="4030" y="9832"/>
                </a:lnTo>
                <a:lnTo>
                  <a:pt x="2160" y="8749"/>
                </a:lnTo>
                <a:lnTo>
                  <a:pt x="289" y="7666"/>
                </a:lnTo>
                <a:lnTo>
                  <a:pt x="0" y="7498"/>
                </a:lnTo>
                <a:lnTo>
                  <a:pt x="0" y="7165"/>
                </a:lnTo>
                <a:lnTo>
                  <a:pt x="0" y="4999"/>
                </a:lnTo>
                <a:lnTo>
                  <a:pt x="0" y="2833"/>
                </a:lnTo>
                <a:lnTo>
                  <a:pt x="0" y="2500"/>
                </a:lnTo>
                <a:lnTo>
                  <a:pt x="289" y="2332"/>
                </a:lnTo>
                <a:lnTo>
                  <a:pt x="2160" y="1249"/>
                </a:lnTo>
                <a:lnTo>
                  <a:pt x="2162" y="1249"/>
                </a:lnTo>
                <a:lnTo>
                  <a:pt x="4032" y="166"/>
                </a:lnTo>
                <a:lnTo>
                  <a:pt x="4319" y="0"/>
                </a:lnTo>
                <a:lnTo>
                  <a:pt x="4606" y="166"/>
                </a:lnTo>
                <a:close/>
                <a:moveTo>
                  <a:pt x="14418" y="3568"/>
                </a:moveTo>
                <a:lnTo>
                  <a:pt x="14418" y="4999"/>
                </a:lnTo>
                <a:lnTo>
                  <a:pt x="14418" y="6431"/>
                </a:lnTo>
                <a:lnTo>
                  <a:pt x="14127" y="6431"/>
                </a:lnTo>
                <a:lnTo>
                  <a:pt x="14127" y="4999"/>
                </a:lnTo>
                <a:lnTo>
                  <a:pt x="14127" y="3568"/>
                </a:lnTo>
                <a:lnTo>
                  <a:pt x="14418" y="3568"/>
                </a:lnTo>
                <a:close/>
                <a:moveTo>
                  <a:pt x="11728" y="7988"/>
                </a:moveTo>
                <a:lnTo>
                  <a:pt x="10492" y="7273"/>
                </a:lnTo>
                <a:lnTo>
                  <a:pt x="10491" y="7273"/>
                </a:lnTo>
                <a:lnTo>
                  <a:pt x="9255" y="6557"/>
                </a:lnTo>
                <a:lnTo>
                  <a:pt x="9400" y="6305"/>
                </a:lnTo>
                <a:lnTo>
                  <a:pt x="10637" y="7021"/>
                </a:lnTo>
                <a:lnTo>
                  <a:pt x="10636" y="7021"/>
                </a:lnTo>
                <a:lnTo>
                  <a:pt x="11872" y="7737"/>
                </a:lnTo>
                <a:lnTo>
                  <a:pt x="11728" y="7988"/>
                </a:lnTo>
                <a:close/>
                <a:moveTo>
                  <a:pt x="9256" y="3442"/>
                </a:moveTo>
                <a:lnTo>
                  <a:pt x="10491" y="2727"/>
                </a:lnTo>
                <a:lnTo>
                  <a:pt x="10491" y="2726"/>
                </a:lnTo>
                <a:lnTo>
                  <a:pt x="11727" y="2011"/>
                </a:lnTo>
                <a:lnTo>
                  <a:pt x="11872" y="2261"/>
                </a:lnTo>
                <a:lnTo>
                  <a:pt x="10637" y="2978"/>
                </a:lnTo>
                <a:lnTo>
                  <a:pt x="10636" y="2978"/>
                </a:lnTo>
                <a:lnTo>
                  <a:pt x="9400" y="3693"/>
                </a:lnTo>
                <a:lnTo>
                  <a:pt x="9256" y="3442"/>
                </a:lnTo>
                <a:close/>
                <a:moveTo>
                  <a:pt x="6937" y="3568"/>
                </a:moveTo>
                <a:lnTo>
                  <a:pt x="6937" y="4999"/>
                </a:lnTo>
                <a:lnTo>
                  <a:pt x="6937" y="6431"/>
                </a:lnTo>
                <a:lnTo>
                  <a:pt x="6646" y="6431"/>
                </a:lnTo>
                <a:lnTo>
                  <a:pt x="6646" y="4999"/>
                </a:lnTo>
                <a:lnTo>
                  <a:pt x="6646" y="3568"/>
                </a:lnTo>
                <a:lnTo>
                  <a:pt x="6937" y="3568"/>
                </a:lnTo>
                <a:close/>
                <a:moveTo>
                  <a:pt x="4248" y="7988"/>
                </a:moveTo>
                <a:lnTo>
                  <a:pt x="3011" y="7273"/>
                </a:lnTo>
                <a:lnTo>
                  <a:pt x="3010" y="7273"/>
                </a:lnTo>
                <a:lnTo>
                  <a:pt x="1774" y="6557"/>
                </a:lnTo>
                <a:lnTo>
                  <a:pt x="1919" y="6305"/>
                </a:lnTo>
                <a:lnTo>
                  <a:pt x="3155" y="7021"/>
                </a:lnTo>
                <a:lnTo>
                  <a:pt x="3155" y="7021"/>
                </a:lnTo>
                <a:lnTo>
                  <a:pt x="4392" y="7737"/>
                </a:lnTo>
                <a:lnTo>
                  <a:pt x="4248" y="7988"/>
                </a:lnTo>
                <a:close/>
                <a:moveTo>
                  <a:pt x="1774" y="3442"/>
                </a:moveTo>
                <a:lnTo>
                  <a:pt x="3010" y="2727"/>
                </a:lnTo>
                <a:lnTo>
                  <a:pt x="3010" y="2726"/>
                </a:lnTo>
                <a:lnTo>
                  <a:pt x="4247" y="2011"/>
                </a:lnTo>
                <a:lnTo>
                  <a:pt x="4392" y="2261"/>
                </a:lnTo>
                <a:lnTo>
                  <a:pt x="3155" y="2978"/>
                </a:lnTo>
                <a:lnTo>
                  <a:pt x="3155" y="2978"/>
                </a:lnTo>
                <a:lnTo>
                  <a:pt x="1918" y="3693"/>
                </a:lnTo>
                <a:lnTo>
                  <a:pt x="1774" y="3442"/>
                </a:lnTo>
                <a:close/>
                <a:moveTo>
                  <a:pt x="8639" y="3167"/>
                </a:moveTo>
                <a:lnTo>
                  <a:pt x="8639" y="4999"/>
                </a:lnTo>
                <a:lnTo>
                  <a:pt x="8639" y="6831"/>
                </a:lnTo>
                <a:lnTo>
                  <a:pt x="10220" y="7747"/>
                </a:lnTo>
                <a:lnTo>
                  <a:pt x="11801" y="8662"/>
                </a:lnTo>
                <a:lnTo>
                  <a:pt x="13382" y="7747"/>
                </a:lnTo>
                <a:lnTo>
                  <a:pt x="14962" y="6831"/>
                </a:lnTo>
                <a:lnTo>
                  <a:pt x="14962" y="4999"/>
                </a:lnTo>
                <a:lnTo>
                  <a:pt x="14962" y="3167"/>
                </a:lnTo>
                <a:lnTo>
                  <a:pt x="13382" y="2251"/>
                </a:lnTo>
                <a:lnTo>
                  <a:pt x="13382" y="2250"/>
                </a:lnTo>
                <a:lnTo>
                  <a:pt x="11801" y="1335"/>
                </a:lnTo>
                <a:lnTo>
                  <a:pt x="10219" y="2250"/>
                </a:lnTo>
                <a:lnTo>
                  <a:pt x="10220" y="2251"/>
                </a:lnTo>
                <a:lnTo>
                  <a:pt x="8639" y="3167"/>
                </a:lnTo>
                <a:close/>
                <a:moveTo>
                  <a:pt x="7481" y="6831"/>
                </a:moveTo>
                <a:lnTo>
                  <a:pt x="7481" y="4999"/>
                </a:lnTo>
                <a:lnTo>
                  <a:pt x="7481" y="3167"/>
                </a:lnTo>
                <a:lnTo>
                  <a:pt x="5900" y="2251"/>
                </a:lnTo>
                <a:lnTo>
                  <a:pt x="5901" y="2250"/>
                </a:lnTo>
                <a:lnTo>
                  <a:pt x="4319" y="1335"/>
                </a:lnTo>
                <a:lnTo>
                  <a:pt x="2738" y="2250"/>
                </a:lnTo>
                <a:lnTo>
                  <a:pt x="2738" y="2251"/>
                </a:lnTo>
                <a:lnTo>
                  <a:pt x="1158" y="3167"/>
                </a:lnTo>
                <a:lnTo>
                  <a:pt x="1158" y="4999"/>
                </a:lnTo>
                <a:lnTo>
                  <a:pt x="1158" y="6831"/>
                </a:lnTo>
                <a:lnTo>
                  <a:pt x="2738" y="7747"/>
                </a:lnTo>
                <a:lnTo>
                  <a:pt x="4319" y="8662"/>
                </a:lnTo>
                <a:lnTo>
                  <a:pt x="5900" y="7747"/>
                </a:lnTo>
                <a:lnTo>
                  <a:pt x="7481" y="68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sp>
        <p:nvSpPr>
          <p:cNvPr id="22" name="razlom"/>
          <p:cNvSpPr>
            <a:spLocks noEditPoints="1"/>
          </p:cNvSpPr>
          <p:nvPr/>
        </p:nvSpPr>
        <p:spPr bwMode="auto">
          <a:xfrm>
            <a:off x="8403548" y="1286041"/>
            <a:ext cx="401805" cy="366763"/>
          </a:xfrm>
          <a:custGeom>
            <a:avLst/>
            <a:gdLst>
              <a:gd name="T0" fmla="*/ 3765 w 16320"/>
              <a:gd name="T1" fmla="*/ 5793 h 12528"/>
              <a:gd name="T2" fmla="*/ 5199 w 16320"/>
              <a:gd name="T3" fmla="*/ 1505 h 12528"/>
              <a:gd name="T4" fmla="*/ 5702 w 16320"/>
              <a:gd name="T5" fmla="*/ 0 h 12528"/>
              <a:gd name="T6" fmla="*/ 4753 w 16320"/>
              <a:gd name="T7" fmla="*/ 948 h 12528"/>
              <a:gd name="T8" fmla="*/ 3114 w 16320"/>
              <a:gd name="T9" fmla="*/ 4941 h 12528"/>
              <a:gd name="T10" fmla="*/ 0 w 16320"/>
              <a:gd name="T11" fmla="*/ 12528 h 12528"/>
              <a:gd name="T12" fmla="*/ 13406 w 16320"/>
              <a:gd name="T13" fmla="*/ 12528 h 12528"/>
              <a:gd name="T14" fmla="*/ 10497 w 16320"/>
              <a:gd name="T15" fmla="*/ 6752 h 12528"/>
              <a:gd name="T16" fmla="*/ 10653 w 16320"/>
              <a:gd name="T17" fmla="*/ 10210 h 12528"/>
              <a:gd name="T18" fmla="*/ 9420 w 16320"/>
              <a:gd name="T19" fmla="*/ 12528 h 12528"/>
              <a:gd name="T20" fmla="*/ 12719 w 16320"/>
              <a:gd name="T21" fmla="*/ 6284 h 12528"/>
              <a:gd name="T22" fmla="*/ 16320 w 16320"/>
              <a:gd name="T23" fmla="*/ 12528 h 12528"/>
              <a:gd name="T24" fmla="*/ 12719 w 16320"/>
              <a:gd name="T25" fmla="*/ 6284 h 12528"/>
              <a:gd name="T26" fmla="*/ 10757 w 16320"/>
              <a:gd name="T27" fmla="*/ 2491 h 12528"/>
              <a:gd name="T28" fmla="*/ 10826 w 16320"/>
              <a:gd name="T29" fmla="*/ 4548 h 12528"/>
              <a:gd name="T30" fmla="*/ 8704 w 16320"/>
              <a:gd name="T31" fmla="*/ 5688 h 12528"/>
              <a:gd name="T32" fmla="*/ 9967 w 16320"/>
              <a:gd name="T33" fmla="*/ 6254 h 12528"/>
              <a:gd name="T34" fmla="*/ 10618 w 16320"/>
              <a:gd name="T35" fmla="*/ 0 h 12528"/>
              <a:gd name="T36" fmla="*/ 12973 w 16320"/>
              <a:gd name="T37" fmla="*/ 4374 h 12528"/>
              <a:gd name="T38" fmla="*/ 10618 w 16320"/>
              <a:gd name="T39" fmla="*/ 0 h 12528"/>
              <a:gd name="T40" fmla="*/ 8345 w 16320"/>
              <a:gd name="T41" fmla="*/ 3180 h 12528"/>
              <a:gd name="T42" fmla="*/ 8533 w 16320"/>
              <a:gd name="T43" fmla="*/ 4890 h 12528"/>
              <a:gd name="T44" fmla="*/ 10364 w 16320"/>
              <a:gd name="T45" fmla="*/ 4294 h 12528"/>
              <a:gd name="T46" fmla="*/ 10638 w 16320"/>
              <a:gd name="T47" fmla="*/ 2389 h 12528"/>
              <a:gd name="T48" fmla="*/ 10100 w 16320"/>
              <a:gd name="T49" fmla="*/ 0 h 12528"/>
              <a:gd name="T50" fmla="*/ 6764 w 16320"/>
              <a:gd name="T51" fmla="*/ 2035 h 12528"/>
              <a:gd name="T52" fmla="*/ 7763 w 16320"/>
              <a:gd name="T53" fmla="*/ 3314 h 12528"/>
              <a:gd name="T54" fmla="*/ 8114 w 16320"/>
              <a:gd name="T55" fmla="*/ 3147 h 12528"/>
              <a:gd name="T56" fmla="*/ 6220 w 16320"/>
              <a:gd name="T57" fmla="*/ 0 h 12528"/>
              <a:gd name="T58" fmla="*/ 6764 w 16320"/>
              <a:gd name="T59" fmla="*/ 2035 h 12528"/>
              <a:gd name="T60" fmla="*/ 6712 w 16320"/>
              <a:gd name="T61" fmla="*/ 7241 h 12528"/>
              <a:gd name="T62" fmla="*/ 8239 w 16320"/>
              <a:gd name="T63" fmla="*/ 8971 h 12528"/>
              <a:gd name="T64" fmla="*/ 8192 w 16320"/>
              <a:gd name="T65" fmla="*/ 5806 h 12528"/>
              <a:gd name="T66" fmla="*/ 7994 w 16320"/>
              <a:gd name="T67" fmla="*/ 3830 h 12528"/>
              <a:gd name="T68" fmla="*/ 6600 w 16320"/>
              <a:gd name="T69" fmla="*/ 2271 h 12528"/>
              <a:gd name="T70" fmla="*/ 4480 w 16320"/>
              <a:gd name="T71" fmla="*/ 6595 h 12528"/>
              <a:gd name="T72" fmla="*/ 4305 w 16320"/>
              <a:gd name="T73" fmla="*/ 7253 h 12528"/>
              <a:gd name="T74" fmla="*/ 7897 w 16320"/>
              <a:gd name="T75" fmla="*/ 12528 h 12528"/>
              <a:gd name="T76" fmla="*/ 9351 w 16320"/>
              <a:gd name="T77" fmla="*/ 10306 h 12528"/>
              <a:gd name="T78" fmla="*/ 6418 w 16320"/>
              <a:gd name="T79" fmla="*/ 7668 h 12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6320" h="12528">
                <a:moveTo>
                  <a:pt x="1514" y="12528"/>
                </a:moveTo>
                <a:lnTo>
                  <a:pt x="3765" y="5793"/>
                </a:lnTo>
                <a:lnTo>
                  <a:pt x="3841" y="5566"/>
                </a:lnTo>
                <a:lnTo>
                  <a:pt x="5199" y="1505"/>
                </a:lnTo>
                <a:lnTo>
                  <a:pt x="5244" y="1370"/>
                </a:lnTo>
                <a:lnTo>
                  <a:pt x="5702" y="0"/>
                </a:lnTo>
                <a:lnTo>
                  <a:pt x="5142" y="0"/>
                </a:lnTo>
                <a:lnTo>
                  <a:pt x="4753" y="948"/>
                </a:lnTo>
                <a:lnTo>
                  <a:pt x="4746" y="965"/>
                </a:lnTo>
                <a:lnTo>
                  <a:pt x="3114" y="4941"/>
                </a:lnTo>
                <a:lnTo>
                  <a:pt x="3094" y="4991"/>
                </a:lnTo>
                <a:lnTo>
                  <a:pt x="0" y="12528"/>
                </a:lnTo>
                <a:lnTo>
                  <a:pt x="1514" y="12528"/>
                </a:lnTo>
                <a:close/>
                <a:moveTo>
                  <a:pt x="13406" y="12528"/>
                </a:moveTo>
                <a:lnTo>
                  <a:pt x="11969" y="7079"/>
                </a:lnTo>
                <a:lnTo>
                  <a:pt x="10497" y="6752"/>
                </a:lnTo>
                <a:lnTo>
                  <a:pt x="9414" y="9004"/>
                </a:lnTo>
                <a:lnTo>
                  <a:pt x="10653" y="10210"/>
                </a:lnTo>
                <a:lnTo>
                  <a:pt x="9359" y="12252"/>
                </a:lnTo>
                <a:lnTo>
                  <a:pt x="9420" y="12528"/>
                </a:lnTo>
                <a:lnTo>
                  <a:pt x="13406" y="12528"/>
                </a:lnTo>
                <a:close/>
                <a:moveTo>
                  <a:pt x="12719" y="6284"/>
                </a:moveTo>
                <a:lnTo>
                  <a:pt x="14806" y="12528"/>
                </a:lnTo>
                <a:lnTo>
                  <a:pt x="16320" y="12528"/>
                </a:lnTo>
                <a:lnTo>
                  <a:pt x="13271" y="5101"/>
                </a:lnTo>
                <a:lnTo>
                  <a:pt x="12719" y="6284"/>
                </a:lnTo>
                <a:close/>
                <a:moveTo>
                  <a:pt x="11859" y="6663"/>
                </a:moveTo>
                <a:lnTo>
                  <a:pt x="10757" y="2491"/>
                </a:lnTo>
                <a:lnTo>
                  <a:pt x="10254" y="2761"/>
                </a:lnTo>
                <a:lnTo>
                  <a:pt x="10826" y="4548"/>
                </a:lnTo>
                <a:lnTo>
                  <a:pt x="9151" y="4689"/>
                </a:lnTo>
                <a:lnTo>
                  <a:pt x="8704" y="5688"/>
                </a:lnTo>
                <a:lnTo>
                  <a:pt x="9137" y="7715"/>
                </a:lnTo>
                <a:lnTo>
                  <a:pt x="9967" y="6254"/>
                </a:lnTo>
                <a:lnTo>
                  <a:pt x="11859" y="6663"/>
                </a:lnTo>
                <a:close/>
                <a:moveTo>
                  <a:pt x="10618" y="0"/>
                </a:moveTo>
                <a:lnTo>
                  <a:pt x="12459" y="5506"/>
                </a:lnTo>
                <a:lnTo>
                  <a:pt x="12973" y="4374"/>
                </a:lnTo>
                <a:lnTo>
                  <a:pt x="11178" y="0"/>
                </a:lnTo>
                <a:lnTo>
                  <a:pt x="10618" y="0"/>
                </a:lnTo>
                <a:close/>
                <a:moveTo>
                  <a:pt x="7520" y="0"/>
                </a:moveTo>
                <a:lnTo>
                  <a:pt x="8345" y="3180"/>
                </a:lnTo>
                <a:lnTo>
                  <a:pt x="8285" y="4885"/>
                </a:lnTo>
                <a:lnTo>
                  <a:pt x="8533" y="4890"/>
                </a:lnTo>
                <a:lnTo>
                  <a:pt x="8820" y="4493"/>
                </a:lnTo>
                <a:lnTo>
                  <a:pt x="10364" y="4294"/>
                </a:lnTo>
                <a:lnTo>
                  <a:pt x="10082" y="2696"/>
                </a:lnTo>
                <a:lnTo>
                  <a:pt x="10638" y="2389"/>
                </a:lnTo>
                <a:lnTo>
                  <a:pt x="10682" y="2206"/>
                </a:lnTo>
                <a:lnTo>
                  <a:pt x="10100" y="0"/>
                </a:lnTo>
                <a:lnTo>
                  <a:pt x="7520" y="0"/>
                </a:lnTo>
                <a:close/>
                <a:moveTo>
                  <a:pt x="6764" y="2035"/>
                </a:moveTo>
                <a:lnTo>
                  <a:pt x="6965" y="3448"/>
                </a:lnTo>
                <a:lnTo>
                  <a:pt x="7763" y="3314"/>
                </a:lnTo>
                <a:lnTo>
                  <a:pt x="8095" y="3543"/>
                </a:lnTo>
                <a:lnTo>
                  <a:pt x="8114" y="3147"/>
                </a:lnTo>
                <a:lnTo>
                  <a:pt x="7518" y="0"/>
                </a:lnTo>
                <a:lnTo>
                  <a:pt x="6220" y="0"/>
                </a:lnTo>
                <a:lnTo>
                  <a:pt x="5646" y="2177"/>
                </a:lnTo>
                <a:lnTo>
                  <a:pt x="6764" y="2035"/>
                </a:lnTo>
                <a:close/>
                <a:moveTo>
                  <a:pt x="4652" y="7100"/>
                </a:moveTo>
                <a:lnTo>
                  <a:pt x="6712" y="7241"/>
                </a:lnTo>
                <a:lnTo>
                  <a:pt x="7411" y="8949"/>
                </a:lnTo>
                <a:lnTo>
                  <a:pt x="8239" y="8971"/>
                </a:lnTo>
                <a:lnTo>
                  <a:pt x="8276" y="7484"/>
                </a:lnTo>
                <a:lnTo>
                  <a:pt x="8192" y="5806"/>
                </a:lnTo>
                <a:lnTo>
                  <a:pt x="7580" y="5386"/>
                </a:lnTo>
                <a:lnTo>
                  <a:pt x="7994" y="3830"/>
                </a:lnTo>
                <a:lnTo>
                  <a:pt x="6737" y="3701"/>
                </a:lnTo>
                <a:lnTo>
                  <a:pt x="6600" y="2271"/>
                </a:lnTo>
                <a:lnTo>
                  <a:pt x="5624" y="2256"/>
                </a:lnTo>
                <a:lnTo>
                  <a:pt x="4480" y="6595"/>
                </a:lnTo>
                <a:lnTo>
                  <a:pt x="4652" y="7100"/>
                </a:lnTo>
                <a:close/>
                <a:moveTo>
                  <a:pt x="4305" y="7253"/>
                </a:moveTo>
                <a:lnTo>
                  <a:pt x="2914" y="12528"/>
                </a:lnTo>
                <a:lnTo>
                  <a:pt x="7897" y="12528"/>
                </a:lnTo>
                <a:lnTo>
                  <a:pt x="7899" y="12201"/>
                </a:lnTo>
                <a:lnTo>
                  <a:pt x="9351" y="10306"/>
                </a:lnTo>
                <a:lnTo>
                  <a:pt x="7000" y="9405"/>
                </a:lnTo>
                <a:lnTo>
                  <a:pt x="6418" y="7668"/>
                </a:lnTo>
                <a:lnTo>
                  <a:pt x="4305" y="72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3C3C3C"/>
              </a:solidFill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68" t="14439" r="6384" b="4103"/>
          <a:stretch/>
        </p:blipFill>
        <p:spPr>
          <a:xfrm>
            <a:off x="287525" y="3639845"/>
            <a:ext cx="1871661" cy="2666627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4011" y="3932342"/>
            <a:ext cx="2272215" cy="237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7944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16422"/>
            <a:ext cx="8562975" cy="817033"/>
          </a:xfrm>
        </p:spPr>
        <p:txBody>
          <a:bodyPr/>
          <a:lstStyle/>
          <a:p>
            <a:r>
              <a:rPr lang="ru-RU" sz="2400" dirty="0" smtClean="0"/>
              <a:t>Важнейшие задачи научно-исследовательского центра </a:t>
            </a:r>
            <a:endParaRPr lang="ru-RU" sz="2400" dirty="0"/>
          </a:p>
        </p:txBody>
      </p:sp>
      <p:grpSp>
        <p:nvGrpSpPr>
          <p:cNvPr id="79" name="Группа 78"/>
          <p:cNvGrpSpPr/>
          <p:nvPr/>
        </p:nvGrpSpPr>
        <p:grpSpPr>
          <a:xfrm>
            <a:off x="350775" y="548680"/>
            <a:ext cx="8505888" cy="5633345"/>
            <a:chOff x="350775" y="981419"/>
            <a:chExt cx="8505888" cy="4572223"/>
          </a:xfrm>
        </p:grpSpPr>
        <p:grpSp>
          <p:nvGrpSpPr>
            <p:cNvPr id="5" name="Группа 4"/>
            <p:cNvGrpSpPr/>
            <p:nvPr/>
          </p:nvGrpSpPr>
          <p:grpSpPr>
            <a:xfrm>
              <a:off x="2807804" y="1803146"/>
              <a:ext cx="3492388" cy="2126027"/>
              <a:chOff x="2547514" y="2990358"/>
              <a:chExt cx="3592563" cy="2530257"/>
            </a:xfrm>
          </p:grpSpPr>
          <p:pic>
            <p:nvPicPr>
              <p:cNvPr id="8" name="Picture 2"/>
              <p:cNvPicPr>
                <a:picLocks noChangeAspect="1" noChangeArrowheads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069" t="1080" b="-1080"/>
              <a:stretch/>
            </p:blipFill>
            <p:spPr bwMode="auto">
              <a:xfrm>
                <a:off x="2843808" y="2990363"/>
                <a:ext cx="3074049" cy="2530252"/>
              </a:xfrm>
              <a:prstGeom prst="roundRect">
                <a:avLst>
                  <a:gd name="adj" fmla="val 32361"/>
                </a:avLst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9" name="Скругленный прямоугольник 8"/>
              <p:cNvSpPr/>
              <p:nvPr/>
            </p:nvSpPr>
            <p:spPr>
              <a:xfrm>
                <a:off x="2547514" y="2990358"/>
                <a:ext cx="3592563" cy="2530252"/>
              </a:xfrm>
              <a:prstGeom prst="roundRect">
                <a:avLst>
                  <a:gd name="adj" fmla="val 31145"/>
                </a:avLst>
              </a:prstGeom>
              <a:solidFill>
                <a:schemeClr val="accent1">
                  <a:alpha val="67000"/>
                </a:schemeClr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ts val="2200"/>
                  </a:lnSpc>
                  <a:spcBef>
                    <a:spcPts val="600"/>
                  </a:spcBef>
                </a:pPr>
                <a:r>
                  <a:rPr lang="ru-RU" sz="2000" dirty="0" smtClean="0">
                    <a:solidFill>
                      <a:srgbClr val="FFFFFF"/>
                    </a:solidFill>
                  </a:rPr>
                  <a:t>Научно-Исследовательский Центр ГПН-БМ</a:t>
                </a:r>
                <a:endParaRPr lang="ru-RU" sz="2000" b="1" dirty="0" smtClean="0">
                  <a:solidFill>
                    <a:srgbClr val="F7A600"/>
                  </a:solidFill>
                </a:endParaRPr>
              </a:p>
            </p:txBody>
          </p:sp>
        </p:grpSp>
        <p:grpSp>
          <p:nvGrpSpPr>
            <p:cNvPr id="16" name="Группа 15"/>
            <p:cNvGrpSpPr/>
            <p:nvPr/>
          </p:nvGrpSpPr>
          <p:grpSpPr>
            <a:xfrm>
              <a:off x="350775" y="1651972"/>
              <a:ext cx="1243930" cy="738031"/>
              <a:chOff x="477112" y="3184265"/>
              <a:chExt cx="1243930" cy="738031"/>
            </a:xfrm>
          </p:grpSpPr>
          <p:sp>
            <p:nvSpPr>
              <p:cNvPr id="17" name="Picture42"/>
              <p:cNvSpPr>
                <a:spLocks noChangeAspect="1" noEditPoints="1"/>
              </p:cNvSpPr>
              <p:nvPr/>
            </p:nvSpPr>
            <p:spPr bwMode="auto">
              <a:xfrm>
                <a:off x="953921" y="3184265"/>
                <a:ext cx="272266" cy="468000"/>
              </a:xfrm>
              <a:custGeom>
                <a:avLst/>
                <a:gdLst>
                  <a:gd name="T0" fmla="*/ 580 w 740"/>
                  <a:gd name="T1" fmla="*/ 1238 h 1272"/>
                  <a:gd name="T2" fmla="*/ 514 w 740"/>
                  <a:gd name="T3" fmla="*/ 1188 h 1272"/>
                  <a:gd name="T4" fmla="*/ 437 w 740"/>
                  <a:gd name="T5" fmla="*/ 1205 h 1272"/>
                  <a:gd name="T6" fmla="*/ 158 w 740"/>
                  <a:gd name="T7" fmla="*/ 1251 h 1272"/>
                  <a:gd name="T8" fmla="*/ 321 w 740"/>
                  <a:gd name="T9" fmla="*/ 1226 h 1272"/>
                  <a:gd name="T10" fmla="*/ 242 w 740"/>
                  <a:gd name="T11" fmla="*/ 1187 h 1272"/>
                  <a:gd name="T12" fmla="*/ 172 w 740"/>
                  <a:gd name="T13" fmla="*/ 1215 h 1272"/>
                  <a:gd name="T14" fmla="*/ 309 w 740"/>
                  <a:gd name="T15" fmla="*/ 339 h 1272"/>
                  <a:gd name="T16" fmla="*/ 176 w 740"/>
                  <a:gd name="T17" fmla="*/ 363 h 1272"/>
                  <a:gd name="T18" fmla="*/ 1 w 740"/>
                  <a:gd name="T19" fmla="*/ 717 h 1272"/>
                  <a:gd name="T20" fmla="*/ 19 w 740"/>
                  <a:gd name="T21" fmla="*/ 770 h 1272"/>
                  <a:gd name="T22" fmla="*/ 72 w 740"/>
                  <a:gd name="T23" fmla="*/ 776 h 1272"/>
                  <a:gd name="T24" fmla="*/ 190 w 740"/>
                  <a:gd name="T25" fmla="*/ 357 h 1272"/>
                  <a:gd name="T26" fmla="*/ 562 w 740"/>
                  <a:gd name="T27" fmla="*/ 363 h 1272"/>
                  <a:gd name="T28" fmla="*/ 647 w 740"/>
                  <a:gd name="T29" fmla="*/ 759 h 1272"/>
                  <a:gd name="T30" fmla="*/ 710 w 740"/>
                  <a:gd name="T31" fmla="*/ 776 h 1272"/>
                  <a:gd name="T32" fmla="*/ 740 w 740"/>
                  <a:gd name="T33" fmla="*/ 737 h 1272"/>
                  <a:gd name="T34" fmla="*/ 523 w 740"/>
                  <a:gd name="T35" fmla="*/ 184 h 1272"/>
                  <a:gd name="T36" fmla="*/ 308 w 740"/>
                  <a:gd name="T37" fmla="*/ 188 h 1272"/>
                  <a:gd name="T38" fmla="*/ 232 w 740"/>
                  <a:gd name="T39" fmla="*/ 170 h 1272"/>
                  <a:gd name="T40" fmla="*/ 266 w 740"/>
                  <a:gd name="T41" fmla="*/ 247 h 1272"/>
                  <a:gd name="T42" fmla="*/ 335 w 740"/>
                  <a:gd name="T43" fmla="*/ 291 h 1272"/>
                  <a:gd name="T44" fmla="*/ 404 w 740"/>
                  <a:gd name="T45" fmla="*/ 294 h 1272"/>
                  <a:gd name="T46" fmla="*/ 471 w 740"/>
                  <a:gd name="T47" fmla="*/ 265 h 1272"/>
                  <a:gd name="T48" fmla="*/ 514 w 740"/>
                  <a:gd name="T49" fmla="*/ 208 h 1272"/>
                  <a:gd name="T50" fmla="*/ 286 w 740"/>
                  <a:gd name="T51" fmla="*/ 138 h 1272"/>
                  <a:gd name="T52" fmla="*/ 454 w 740"/>
                  <a:gd name="T53" fmla="*/ 155 h 1272"/>
                  <a:gd name="T54" fmla="*/ 526 w 740"/>
                  <a:gd name="T55" fmla="*/ 141 h 1272"/>
                  <a:gd name="T56" fmla="*/ 517 w 740"/>
                  <a:gd name="T57" fmla="*/ 97 h 1272"/>
                  <a:gd name="T58" fmla="*/ 469 w 740"/>
                  <a:gd name="T59" fmla="*/ 31 h 1272"/>
                  <a:gd name="T60" fmla="*/ 393 w 740"/>
                  <a:gd name="T61" fmla="*/ 1 h 1272"/>
                  <a:gd name="T62" fmla="*/ 297 w 740"/>
                  <a:gd name="T63" fmla="*/ 25 h 1272"/>
                  <a:gd name="T64" fmla="*/ 362 w 740"/>
                  <a:gd name="T65" fmla="*/ 82 h 1272"/>
                  <a:gd name="T66" fmla="*/ 434 w 740"/>
                  <a:gd name="T67" fmla="*/ 133 h 1272"/>
                  <a:gd name="T68" fmla="*/ 339 w 740"/>
                  <a:gd name="T69" fmla="*/ 108 h 1272"/>
                  <a:gd name="T70" fmla="*/ 236 w 740"/>
                  <a:gd name="T71" fmla="*/ 46 h 1272"/>
                  <a:gd name="T72" fmla="*/ 151 w 740"/>
                  <a:gd name="T73" fmla="*/ 52 h 1272"/>
                  <a:gd name="T74" fmla="*/ 132 w 740"/>
                  <a:gd name="T75" fmla="*/ 96 h 1272"/>
                  <a:gd name="T76" fmla="*/ 163 w 740"/>
                  <a:gd name="T77" fmla="*/ 112 h 1272"/>
                  <a:gd name="T78" fmla="*/ 250 w 740"/>
                  <a:gd name="T79" fmla="*/ 123 h 1272"/>
                  <a:gd name="T80" fmla="*/ 431 w 740"/>
                  <a:gd name="T81" fmla="*/ 623 h 1272"/>
                  <a:gd name="T82" fmla="*/ 158 w 740"/>
                  <a:gd name="T83" fmla="*/ 1157 h 1272"/>
                  <a:gd name="T84" fmla="*/ 169 w 740"/>
                  <a:gd name="T85" fmla="*/ 972 h 1272"/>
                  <a:gd name="T86" fmla="*/ 217 w 740"/>
                  <a:gd name="T87" fmla="*/ 921 h 1272"/>
                  <a:gd name="T88" fmla="*/ 238 w 740"/>
                  <a:gd name="T89" fmla="*/ 831 h 1272"/>
                  <a:gd name="T90" fmla="*/ 507 w 740"/>
                  <a:gd name="T91" fmla="*/ 865 h 1272"/>
                  <a:gd name="T92" fmla="*/ 543 w 740"/>
                  <a:gd name="T93" fmla="*/ 951 h 1272"/>
                  <a:gd name="T94" fmla="*/ 387 w 740"/>
                  <a:gd name="T95" fmla="*/ 1187 h 1272"/>
                  <a:gd name="T96" fmla="*/ 522 w 740"/>
                  <a:gd name="T97" fmla="*/ 341 h 1272"/>
                  <a:gd name="T98" fmla="*/ 280 w 740"/>
                  <a:gd name="T99" fmla="*/ 341 h 1272"/>
                  <a:gd name="T100" fmla="*/ 218 w 740"/>
                  <a:gd name="T101" fmla="*/ 604 h 1272"/>
                  <a:gd name="T102" fmla="*/ 158 w 740"/>
                  <a:gd name="T103" fmla="*/ 741 h 1272"/>
                  <a:gd name="T104" fmla="*/ 263 w 740"/>
                  <a:gd name="T105" fmla="*/ 868 h 1272"/>
                  <a:gd name="T106" fmla="*/ 221 w 740"/>
                  <a:gd name="T107" fmla="*/ 967 h 1272"/>
                  <a:gd name="T108" fmla="*/ 158 w 740"/>
                  <a:gd name="T109" fmla="*/ 1127 h 1272"/>
                  <a:gd name="T110" fmla="*/ 582 w 740"/>
                  <a:gd name="T111" fmla="*/ 1006 h 1272"/>
                  <a:gd name="T112" fmla="*/ 517 w 740"/>
                  <a:gd name="T113" fmla="*/ 967 h 1272"/>
                  <a:gd name="T114" fmla="*/ 477 w 740"/>
                  <a:gd name="T115" fmla="*/ 868 h 1272"/>
                  <a:gd name="T116" fmla="*/ 582 w 740"/>
                  <a:gd name="T117" fmla="*/ 741 h 1272"/>
                  <a:gd name="T118" fmla="*/ 522 w 740"/>
                  <a:gd name="T119" fmla="*/ 604 h 1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740" h="1272">
                    <a:moveTo>
                      <a:pt x="413" y="1251"/>
                    </a:moveTo>
                    <a:lnTo>
                      <a:pt x="413" y="1272"/>
                    </a:lnTo>
                    <a:lnTo>
                      <a:pt x="582" y="1272"/>
                    </a:lnTo>
                    <a:lnTo>
                      <a:pt x="582" y="1251"/>
                    </a:lnTo>
                    <a:lnTo>
                      <a:pt x="582" y="1251"/>
                    </a:lnTo>
                    <a:lnTo>
                      <a:pt x="580" y="1238"/>
                    </a:lnTo>
                    <a:lnTo>
                      <a:pt x="576" y="1226"/>
                    </a:lnTo>
                    <a:lnTo>
                      <a:pt x="567" y="1215"/>
                    </a:lnTo>
                    <a:lnTo>
                      <a:pt x="556" y="1205"/>
                    </a:lnTo>
                    <a:lnTo>
                      <a:pt x="544" y="1197"/>
                    </a:lnTo>
                    <a:lnTo>
                      <a:pt x="529" y="1191"/>
                    </a:lnTo>
                    <a:lnTo>
                      <a:pt x="514" y="1188"/>
                    </a:lnTo>
                    <a:lnTo>
                      <a:pt x="496" y="1187"/>
                    </a:lnTo>
                    <a:lnTo>
                      <a:pt x="496" y="1187"/>
                    </a:lnTo>
                    <a:lnTo>
                      <a:pt x="480" y="1188"/>
                    </a:lnTo>
                    <a:lnTo>
                      <a:pt x="463" y="1191"/>
                    </a:lnTo>
                    <a:lnTo>
                      <a:pt x="450" y="1197"/>
                    </a:lnTo>
                    <a:lnTo>
                      <a:pt x="437" y="1205"/>
                    </a:lnTo>
                    <a:lnTo>
                      <a:pt x="426" y="1215"/>
                    </a:lnTo>
                    <a:lnTo>
                      <a:pt x="419" y="1226"/>
                    </a:lnTo>
                    <a:lnTo>
                      <a:pt x="414" y="1238"/>
                    </a:lnTo>
                    <a:lnTo>
                      <a:pt x="413" y="1251"/>
                    </a:lnTo>
                    <a:lnTo>
                      <a:pt x="413" y="1251"/>
                    </a:lnTo>
                    <a:close/>
                    <a:moveTo>
                      <a:pt x="158" y="1251"/>
                    </a:moveTo>
                    <a:lnTo>
                      <a:pt x="158" y="1272"/>
                    </a:lnTo>
                    <a:lnTo>
                      <a:pt x="327" y="1272"/>
                    </a:lnTo>
                    <a:lnTo>
                      <a:pt x="327" y="1251"/>
                    </a:lnTo>
                    <a:lnTo>
                      <a:pt x="327" y="1251"/>
                    </a:lnTo>
                    <a:lnTo>
                      <a:pt x="326" y="1238"/>
                    </a:lnTo>
                    <a:lnTo>
                      <a:pt x="321" y="1226"/>
                    </a:lnTo>
                    <a:lnTo>
                      <a:pt x="312" y="1215"/>
                    </a:lnTo>
                    <a:lnTo>
                      <a:pt x="302" y="1205"/>
                    </a:lnTo>
                    <a:lnTo>
                      <a:pt x="290" y="1197"/>
                    </a:lnTo>
                    <a:lnTo>
                      <a:pt x="275" y="1191"/>
                    </a:lnTo>
                    <a:lnTo>
                      <a:pt x="260" y="1188"/>
                    </a:lnTo>
                    <a:lnTo>
                      <a:pt x="242" y="1187"/>
                    </a:lnTo>
                    <a:lnTo>
                      <a:pt x="242" y="1187"/>
                    </a:lnTo>
                    <a:lnTo>
                      <a:pt x="226" y="1188"/>
                    </a:lnTo>
                    <a:lnTo>
                      <a:pt x="209" y="1191"/>
                    </a:lnTo>
                    <a:lnTo>
                      <a:pt x="196" y="1197"/>
                    </a:lnTo>
                    <a:lnTo>
                      <a:pt x="182" y="1205"/>
                    </a:lnTo>
                    <a:lnTo>
                      <a:pt x="172" y="1215"/>
                    </a:lnTo>
                    <a:lnTo>
                      <a:pt x="164" y="1226"/>
                    </a:lnTo>
                    <a:lnTo>
                      <a:pt x="160" y="1238"/>
                    </a:lnTo>
                    <a:lnTo>
                      <a:pt x="158" y="1251"/>
                    </a:lnTo>
                    <a:lnTo>
                      <a:pt x="158" y="1251"/>
                    </a:lnTo>
                    <a:close/>
                    <a:moveTo>
                      <a:pt x="431" y="339"/>
                    </a:moveTo>
                    <a:lnTo>
                      <a:pt x="309" y="339"/>
                    </a:lnTo>
                    <a:lnTo>
                      <a:pt x="309" y="432"/>
                    </a:lnTo>
                    <a:lnTo>
                      <a:pt x="431" y="432"/>
                    </a:lnTo>
                    <a:lnTo>
                      <a:pt x="431" y="339"/>
                    </a:lnTo>
                    <a:close/>
                    <a:moveTo>
                      <a:pt x="190" y="357"/>
                    </a:moveTo>
                    <a:lnTo>
                      <a:pt x="190" y="357"/>
                    </a:lnTo>
                    <a:lnTo>
                      <a:pt x="176" y="363"/>
                    </a:lnTo>
                    <a:lnTo>
                      <a:pt x="166" y="371"/>
                    </a:lnTo>
                    <a:lnTo>
                      <a:pt x="155" y="381"/>
                    </a:lnTo>
                    <a:lnTo>
                      <a:pt x="149" y="393"/>
                    </a:lnTo>
                    <a:lnTo>
                      <a:pt x="4" y="707"/>
                    </a:lnTo>
                    <a:lnTo>
                      <a:pt x="4" y="707"/>
                    </a:lnTo>
                    <a:lnTo>
                      <a:pt x="1" y="717"/>
                    </a:lnTo>
                    <a:lnTo>
                      <a:pt x="0" y="726"/>
                    </a:lnTo>
                    <a:lnTo>
                      <a:pt x="0" y="737"/>
                    </a:lnTo>
                    <a:lnTo>
                      <a:pt x="1" y="746"/>
                    </a:lnTo>
                    <a:lnTo>
                      <a:pt x="6" y="755"/>
                    </a:lnTo>
                    <a:lnTo>
                      <a:pt x="12" y="762"/>
                    </a:lnTo>
                    <a:lnTo>
                      <a:pt x="19" y="770"/>
                    </a:lnTo>
                    <a:lnTo>
                      <a:pt x="30" y="776"/>
                    </a:lnTo>
                    <a:lnTo>
                      <a:pt x="30" y="776"/>
                    </a:lnTo>
                    <a:lnTo>
                      <a:pt x="39" y="780"/>
                    </a:lnTo>
                    <a:lnTo>
                      <a:pt x="51" y="782"/>
                    </a:lnTo>
                    <a:lnTo>
                      <a:pt x="61" y="780"/>
                    </a:lnTo>
                    <a:lnTo>
                      <a:pt x="72" y="776"/>
                    </a:lnTo>
                    <a:lnTo>
                      <a:pt x="82" y="768"/>
                    </a:lnTo>
                    <a:lnTo>
                      <a:pt x="93" y="759"/>
                    </a:lnTo>
                    <a:lnTo>
                      <a:pt x="102" y="750"/>
                    </a:lnTo>
                    <a:lnTo>
                      <a:pt x="109" y="738"/>
                    </a:lnTo>
                    <a:lnTo>
                      <a:pt x="190" y="568"/>
                    </a:lnTo>
                    <a:lnTo>
                      <a:pt x="190" y="357"/>
                    </a:lnTo>
                    <a:close/>
                    <a:moveTo>
                      <a:pt x="736" y="707"/>
                    </a:moveTo>
                    <a:lnTo>
                      <a:pt x="591" y="393"/>
                    </a:lnTo>
                    <a:lnTo>
                      <a:pt x="591" y="393"/>
                    </a:lnTo>
                    <a:lnTo>
                      <a:pt x="583" y="381"/>
                    </a:lnTo>
                    <a:lnTo>
                      <a:pt x="574" y="371"/>
                    </a:lnTo>
                    <a:lnTo>
                      <a:pt x="562" y="363"/>
                    </a:lnTo>
                    <a:lnTo>
                      <a:pt x="550" y="357"/>
                    </a:lnTo>
                    <a:lnTo>
                      <a:pt x="550" y="568"/>
                    </a:lnTo>
                    <a:lnTo>
                      <a:pt x="631" y="738"/>
                    </a:lnTo>
                    <a:lnTo>
                      <a:pt x="631" y="738"/>
                    </a:lnTo>
                    <a:lnTo>
                      <a:pt x="638" y="750"/>
                    </a:lnTo>
                    <a:lnTo>
                      <a:pt x="647" y="759"/>
                    </a:lnTo>
                    <a:lnTo>
                      <a:pt x="656" y="768"/>
                    </a:lnTo>
                    <a:lnTo>
                      <a:pt x="667" y="776"/>
                    </a:lnTo>
                    <a:lnTo>
                      <a:pt x="679" y="780"/>
                    </a:lnTo>
                    <a:lnTo>
                      <a:pt x="689" y="782"/>
                    </a:lnTo>
                    <a:lnTo>
                      <a:pt x="700" y="780"/>
                    </a:lnTo>
                    <a:lnTo>
                      <a:pt x="710" y="776"/>
                    </a:lnTo>
                    <a:lnTo>
                      <a:pt x="710" y="776"/>
                    </a:lnTo>
                    <a:lnTo>
                      <a:pt x="719" y="770"/>
                    </a:lnTo>
                    <a:lnTo>
                      <a:pt x="727" y="762"/>
                    </a:lnTo>
                    <a:lnTo>
                      <a:pt x="733" y="755"/>
                    </a:lnTo>
                    <a:lnTo>
                      <a:pt x="737" y="746"/>
                    </a:lnTo>
                    <a:lnTo>
                      <a:pt x="740" y="737"/>
                    </a:lnTo>
                    <a:lnTo>
                      <a:pt x="740" y="726"/>
                    </a:lnTo>
                    <a:lnTo>
                      <a:pt x="739" y="717"/>
                    </a:lnTo>
                    <a:lnTo>
                      <a:pt x="736" y="707"/>
                    </a:lnTo>
                    <a:lnTo>
                      <a:pt x="736" y="707"/>
                    </a:lnTo>
                    <a:close/>
                    <a:moveTo>
                      <a:pt x="523" y="184"/>
                    </a:moveTo>
                    <a:lnTo>
                      <a:pt x="523" y="184"/>
                    </a:lnTo>
                    <a:lnTo>
                      <a:pt x="480" y="193"/>
                    </a:lnTo>
                    <a:lnTo>
                      <a:pt x="441" y="199"/>
                    </a:lnTo>
                    <a:lnTo>
                      <a:pt x="404" y="200"/>
                    </a:lnTo>
                    <a:lnTo>
                      <a:pt x="371" y="199"/>
                    </a:lnTo>
                    <a:lnTo>
                      <a:pt x="338" y="194"/>
                    </a:lnTo>
                    <a:lnTo>
                      <a:pt x="308" y="188"/>
                    </a:lnTo>
                    <a:lnTo>
                      <a:pt x="280" y="179"/>
                    </a:lnTo>
                    <a:lnTo>
                      <a:pt x="251" y="167"/>
                    </a:lnTo>
                    <a:lnTo>
                      <a:pt x="251" y="167"/>
                    </a:lnTo>
                    <a:lnTo>
                      <a:pt x="230" y="155"/>
                    </a:lnTo>
                    <a:lnTo>
                      <a:pt x="230" y="155"/>
                    </a:lnTo>
                    <a:lnTo>
                      <a:pt x="232" y="170"/>
                    </a:lnTo>
                    <a:lnTo>
                      <a:pt x="235" y="184"/>
                    </a:lnTo>
                    <a:lnTo>
                      <a:pt x="239" y="199"/>
                    </a:lnTo>
                    <a:lnTo>
                      <a:pt x="244" y="211"/>
                    </a:lnTo>
                    <a:lnTo>
                      <a:pt x="250" y="223"/>
                    </a:lnTo>
                    <a:lnTo>
                      <a:pt x="257" y="235"/>
                    </a:lnTo>
                    <a:lnTo>
                      <a:pt x="266" y="247"/>
                    </a:lnTo>
                    <a:lnTo>
                      <a:pt x="277" y="256"/>
                    </a:lnTo>
                    <a:lnTo>
                      <a:pt x="287" y="265"/>
                    </a:lnTo>
                    <a:lnTo>
                      <a:pt x="297" y="274"/>
                    </a:lnTo>
                    <a:lnTo>
                      <a:pt x="309" y="280"/>
                    </a:lnTo>
                    <a:lnTo>
                      <a:pt x="323" y="285"/>
                    </a:lnTo>
                    <a:lnTo>
                      <a:pt x="335" y="291"/>
                    </a:lnTo>
                    <a:lnTo>
                      <a:pt x="350" y="294"/>
                    </a:lnTo>
                    <a:lnTo>
                      <a:pt x="363" y="296"/>
                    </a:lnTo>
                    <a:lnTo>
                      <a:pt x="378" y="297"/>
                    </a:lnTo>
                    <a:lnTo>
                      <a:pt x="378" y="297"/>
                    </a:lnTo>
                    <a:lnTo>
                      <a:pt x="392" y="296"/>
                    </a:lnTo>
                    <a:lnTo>
                      <a:pt x="404" y="294"/>
                    </a:lnTo>
                    <a:lnTo>
                      <a:pt x="416" y="291"/>
                    </a:lnTo>
                    <a:lnTo>
                      <a:pt x="428" y="288"/>
                    </a:lnTo>
                    <a:lnTo>
                      <a:pt x="440" y="284"/>
                    </a:lnTo>
                    <a:lnTo>
                      <a:pt x="450" y="278"/>
                    </a:lnTo>
                    <a:lnTo>
                      <a:pt x="460" y="272"/>
                    </a:lnTo>
                    <a:lnTo>
                      <a:pt x="471" y="265"/>
                    </a:lnTo>
                    <a:lnTo>
                      <a:pt x="480" y="257"/>
                    </a:lnTo>
                    <a:lnTo>
                      <a:pt x="489" y="248"/>
                    </a:lnTo>
                    <a:lnTo>
                      <a:pt x="496" y="239"/>
                    </a:lnTo>
                    <a:lnTo>
                      <a:pt x="504" y="229"/>
                    </a:lnTo>
                    <a:lnTo>
                      <a:pt x="510" y="218"/>
                    </a:lnTo>
                    <a:lnTo>
                      <a:pt x="514" y="208"/>
                    </a:lnTo>
                    <a:lnTo>
                      <a:pt x="519" y="196"/>
                    </a:lnTo>
                    <a:lnTo>
                      <a:pt x="523" y="184"/>
                    </a:lnTo>
                    <a:lnTo>
                      <a:pt x="523" y="184"/>
                    </a:lnTo>
                    <a:close/>
                    <a:moveTo>
                      <a:pt x="268" y="130"/>
                    </a:moveTo>
                    <a:lnTo>
                      <a:pt x="268" y="130"/>
                    </a:lnTo>
                    <a:lnTo>
                      <a:pt x="286" y="138"/>
                    </a:lnTo>
                    <a:lnTo>
                      <a:pt x="305" y="145"/>
                    </a:lnTo>
                    <a:lnTo>
                      <a:pt x="327" y="151"/>
                    </a:lnTo>
                    <a:lnTo>
                      <a:pt x="353" y="155"/>
                    </a:lnTo>
                    <a:lnTo>
                      <a:pt x="383" y="158"/>
                    </a:lnTo>
                    <a:lnTo>
                      <a:pt x="416" y="158"/>
                    </a:lnTo>
                    <a:lnTo>
                      <a:pt x="454" y="155"/>
                    </a:lnTo>
                    <a:lnTo>
                      <a:pt x="477" y="151"/>
                    </a:lnTo>
                    <a:lnTo>
                      <a:pt x="499" y="146"/>
                    </a:lnTo>
                    <a:lnTo>
                      <a:pt x="499" y="146"/>
                    </a:lnTo>
                    <a:lnTo>
                      <a:pt x="526" y="145"/>
                    </a:lnTo>
                    <a:lnTo>
                      <a:pt x="526" y="145"/>
                    </a:lnTo>
                    <a:lnTo>
                      <a:pt x="526" y="141"/>
                    </a:lnTo>
                    <a:lnTo>
                      <a:pt x="526" y="141"/>
                    </a:lnTo>
                    <a:lnTo>
                      <a:pt x="526" y="139"/>
                    </a:lnTo>
                    <a:lnTo>
                      <a:pt x="526" y="139"/>
                    </a:lnTo>
                    <a:lnTo>
                      <a:pt x="525" y="126"/>
                    </a:lnTo>
                    <a:lnTo>
                      <a:pt x="522" y="111"/>
                    </a:lnTo>
                    <a:lnTo>
                      <a:pt x="517" y="97"/>
                    </a:lnTo>
                    <a:lnTo>
                      <a:pt x="513" y="85"/>
                    </a:lnTo>
                    <a:lnTo>
                      <a:pt x="505" y="73"/>
                    </a:lnTo>
                    <a:lnTo>
                      <a:pt x="498" y="61"/>
                    </a:lnTo>
                    <a:lnTo>
                      <a:pt x="489" y="51"/>
                    </a:lnTo>
                    <a:lnTo>
                      <a:pt x="480" y="40"/>
                    </a:lnTo>
                    <a:lnTo>
                      <a:pt x="469" y="31"/>
                    </a:lnTo>
                    <a:lnTo>
                      <a:pt x="459" y="24"/>
                    </a:lnTo>
                    <a:lnTo>
                      <a:pt x="447" y="16"/>
                    </a:lnTo>
                    <a:lnTo>
                      <a:pt x="434" y="12"/>
                    </a:lnTo>
                    <a:lnTo>
                      <a:pt x="422" y="6"/>
                    </a:lnTo>
                    <a:lnTo>
                      <a:pt x="407" y="3"/>
                    </a:lnTo>
                    <a:lnTo>
                      <a:pt x="393" y="1"/>
                    </a:lnTo>
                    <a:lnTo>
                      <a:pt x="378" y="0"/>
                    </a:lnTo>
                    <a:lnTo>
                      <a:pt x="378" y="0"/>
                    </a:lnTo>
                    <a:lnTo>
                      <a:pt x="356" y="1"/>
                    </a:lnTo>
                    <a:lnTo>
                      <a:pt x="335" y="7"/>
                    </a:lnTo>
                    <a:lnTo>
                      <a:pt x="315" y="15"/>
                    </a:lnTo>
                    <a:lnTo>
                      <a:pt x="297" y="25"/>
                    </a:lnTo>
                    <a:lnTo>
                      <a:pt x="297" y="25"/>
                    </a:lnTo>
                    <a:lnTo>
                      <a:pt x="309" y="34"/>
                    </a:lnTo>
                    <a:lnTo>
                      <a:pt x="323" y="43"/>
                    </a:lnTo>
                    <a:lnTo>
                      <a:pt x="350" y="69"/>
                    </a:lnTo>
                    <a:lnTo>
                      <a:pt x="350" y="69"/>
                    </a:lnTo>
                    <a:lnTo>
                      <a:pt x="362" y="82"/>
                    </a:lnTo>
                    <a:lnTo>
                      <a:pt x="375" y="93"/>
                    </a:lnTo>
                    <a:lnTo>
                      <a:pt x="398" y="111"/>
                    </a:lnTo>
                    <a:lnTo>
                      <a:pt x="420" y="123"/>
                    </a:lnTo>
                    <a:lnTo>
                      <a:pt x="440" y="132"/>
                    </a:lnTo>
                    <a:lnTo>
                      <a:pt x="440" y="132"/>
                    </a:lnTo>
                    <a:lnTo>
                      <a:pt x="434" y="133"/>
                    </a:lnTo>
                    <a:lnTo>
                      <a:pt x="426" y="136"/>
                    </a:lnTo>
                    <a:lnTo>
                      <a:pt x="416" y="138"/>
                    </a:lnTo>
                    <a:lnTo>
                      <a:pt x="402" y="136"/>
                    </a:lnTo>
                    <a:lnTo>
                      <a:pt x="386" y="132"/>
                    </a:lnTo>
                    <a:lnTo>
                      <a:pt x="365" y="123"/>
                    </a:lnTo>
                    <a:lnTo>
                      <a:pt x="339" y="108"/>
                    </a:lnTo>
                    <a:lnTo>
                      <a:pt x="309" y="85"/>
                    </a:lnTo>
                    <a:lnTo>
                      <a:pt x="309" y="85"/>
                    </a:lnTo>
                    <a:lnTo>
                      <a:pt x="290" y="72"/>
                    </a:lnTo>
                    <a:lnTo>
                      <a:pt x="272" y="60"/>
                    </a:lnTo>
                    <a:lnTo>
                      <a:pt x="254" y="52"/>
                    </a:lnTo>
                    <a:lnTo>
                      <a:pt x="236" y="46"/>
                    </a:lnTo>
                    <a:lnTo>
                      <a:pt x="218" y="42"/>
                    </a:lnTo>
                    <a:lnTo>
                      <a:pt x="202" y="40"/>
                    </a:lnTo>
                    <a:lnTo>
                      <a:pt x="187" y="42"/>
                    </a:lnTo>
                    <a:lnTo>
                      <a:pt x="173" y="43"/>
                    </a:lnTo>
                    <a:lnTo>
                      <a:pt x="161" y="46"/>
                    </a:lnTo>
                    <a:lnTo>
                      <a:pt x="151" y="52"/>
                    </a:lnTo>
                    <a:lnTo>
                      <a:pt x="142" y="58"/>
                    </a:lnTo>
                    <a:lnTo>
                      <a:pt x="135" y="64"/>
                    </a:lnTo>
                    <a:lnTo>
                      <a:pt x="130" y="72"/>
                    </a:lnTo>
                    <a:lnTo>
                      <a:pt x="129" y="79"/>
                    </a:lnTo>
                    <a:lnTo>
                      <a:pt x="129" y="88"/>
                    </a:lnTo>
                    <a:lnTo>
                      <a:pt x="132" y="96"/>
                    </a:lnTo>
                    <a:lnTo>
                      <a:pt x="132" y="96"/>
                    </a:lnTo>
                    <a:lnTo>
                      <a:pt x="138" y="103"/>
                    </a:lnTo>
                    <a:lnTo>
                      <a:pt x="142" y="106"/>
                    </a:lnTo>
                    <a:lnTo>
                      <a:pt x="148" y="109"/>
                    </a:lnTo>
                    <a:lnTo>
                      <a:pt x="152" y="112"/>
                    </a:lnTo>
                    <a:lnTo>
                      <a:pt x="163" y="112"/>
                    </a:lnTo>
                    <a:lnTo>
                      <a:pt x="175" y="111"/>
                    </a:lnTo>
                    <a:lnTo>
                      <a:pt x="190" y="111"/>
                    </a:lnTo>
                    <a:lnTo>
                      <a:pt x="209" y="112"/>
                    </a:lnTo>
                    <a:lnTo>
                      <a:pt x="221" y="114"/>
                    </a:lnTo>
                    <a:lnTo>
                      <a:pt x="235" y="118"/>
                    </a:lnTo>
                    <a:lnTo>
                      <a:pt x="250" y="123"/>
                    </a:lnTo>
                    <a:lnTo>
                      <a:pt x="268" y="130"/>
                    </a:lnTo>
                    <a:lnTo>
                      <a:pt x="268" y="130"/>
                    </a:lnTo>
                    <a:close/>
                    <a:moveTo>
                      <a:pt x="431" y="471"/>
                    </a:moveTo>
                    <a:lnTo>
                      <a:pt x="309" y="471"/>
                    </a:lnTo>
                    <a:lnTo>
                      <a:pt x="309" y="623"/>
                    </a:lnTo>
                    <a:lnTo>
                      <a:pt x="431" y="623"/>
                    </a:lnTo>
                    <a:lnTo>
                      <a:pt x="431" y="471"/>
                    </a:lnTo>
                    <a:close/>
                    <a:moveTo>
                      <a:pt x="158" y="1187"/>
                    </a:moveTo>
                    <a:lnTo>
                      <a:pt x="242" y="1187"/>
                    </a:lnTo>
                    <a:lnTo>
                      <a:pt x="353" y="1187"/>
                    </a:lnTo>
                    <a:lnTo>
                      <a:pt x="353" y="1157"/>
                    </a:lnTo>
                    <a:lnTo>
                      <a:pt x="158" y="1157"/>
                    </a:lnTo>
                    <a:lnTo>
                      <a:pt x="158" y="1187"/>
                    </a:lnTo>
                    <a:close/>
                    <a:moveTo>
                      <a:pt x="238" y="831"/>
                    </a:moveTo>
                    <a:lnTo>
                      <a:pt x="158" y="831"/>
                    </a:lnTo>
                    <a:lnTo>
                      <a:pt x="158" y="976"/>
                    </a:lnTo>
                    <a:lnTo>
                      <a:pt x="158" y="976"/>
                    </a:lnTo>
                    <a:lnTo>
                      <a:pt x="169" y="972"/>
                    </a:lnTo>
                    <a:lnTo>
                      <a:pt x="179" y="966"/>
                    </a:lnTo>
                    <a:lnTo>
                      <a:pt x="188" y="958"/>
                    </a:lnTo>
                    <a:lnTo>
                      <a:pt x="197" y="951"/>
                    </a:lnTo>
                    <a:lnTo>
                      <a:pt x="205" y="942"/>
                    </a:lnTo>
                    <a:lnTo>
                      <a:pt x="211" y="931"/>
                    </a:lnTo>
                    <a:lnTo>
                      <a:pt x="217" y="921"/>
                    </a:lnTo>
                    <a:lnTo>
                      <a:pt x="221" y="910"/>
                    </a:lnTo>
                    <a:lnTo>
                      <a:pt x="229" y="888"/>
                    </a:lnTo>
                    <a:lnTo>
                      <a:pt x="233" y="865"/>
                    </a:lnTo>
                    <a:lnTo>
                      <a:pt x="236" y="846"/>
                    </a:lnTo>
                    <a:lnTo>
                      <a:pt x="238" y="831"/>
                    </a:lnTo>
                    <a:lnTo>
                      <a:pt x="238" y="831"/>
                    </a:lnTo>
                    <a:close/>
                    <a:moveTo>
                      <a:pt x="582" y="976"/>
                    </a:moveTo>
                    <a:lnTo>
                      <a:pt x="582" y="831"/>
                    </a:lnTo>
                    <a:lnTo>
                      <a:pt x="502" y="831"/>
                    </a:lnTo>
                    <a:lnTo>
                      <a:pt x="502" y="831"/>
                    </a:lnTo>
                    <a:lnTo>
                      <a:pt x="504" y="846"/>
                    </a:lnTo>
                    <a:lnTo>
                      <a:pt x="507" y="865"/>
                    </a:lnTo>
                    <a:lnTo>
                      <a:pt x="511" y="888"/>
                    </a:lnTo>
                    <a:lnTo>
                      <a:pt x="519" y="910"/>
                    </a:lnTo>
                    <a:lnTo>
                      <a:pt x="523" y="921"/>
                    </a:lnTo>
                    <a:lnTo>
                      <a:pt x="529" y="931"/>
                    </a:lnTo>
                    <a:lnTo>
                      <a:pt x="535" y="942"/>
                    </a:lnTo>
                    <a:lnTo>
                      <a:pt x="543" y="951"/>
                    </a:lnTo>
                    <a:lnTo>
                      <a:pt x="550" y="958"/>
                    </a:lnTo>
                    <a:lnTo>
                      <a:pt x="561" y="966"/>
                    </a:lnTo>
                    <a:lnTo>
                      <a:pt x="570" y="972"/>
                    </a:lnTo>
                    <a:lnTo>
                      <a:pt x="582" y="976"/>
                    </a:lnTo>
                    <a:lnTo>
                      <a:pt x="582" y="976"/>
                    </a:lnTo>
                    <a:close/>
                    <a:moveTo>
                      <a:pt x="387" y="1187"/>
                    </a:moveTo>
                    <a:lnTo>
                      <a:pt x="496" y="1187"/>
                    </a:lnTo>
                    <a:lnTo>
                      <a:pt x="582" y="1187"/>
                    </a:lnTo>
                    <a:lnTo>
                      <a:pt x="582" y="1157"/>
                    </a:lnTo>
                    <a:lnTo>
                      <a:pt x="387" y="1157"/>
                    </a:lnTo>
                    <a:lnTo>
                      <a:pt x="387" y="1187"/>
                    </a:lnTo>
                    <a:close/>
                    <a:moveTo>
                      <a:pt x="522" y="341"/>
                    </a:moveTo>
                    <a:lnTo>
                      <a:pt x="520" y="341"/>
                    </a:lnTo>
                    <a:lnTo>
                      <a:pt x="520" y="341"/>
                    </a:lnTo>
                    <a:lnTo>
                      <a:pt x="459" y="341"/>
                    </a:lnTo>
                    <a:lnTo>
                      <a:pt x="459" y="653"/>
                    </a:lnTo>
                    <a:lnTo>
                      <a:pt x="280" y="653"/>
                    </a:lnTo>
                    <a:lnTo>
                      <a:pt x="280" y="341"/>
                    </a:lnTo>
                    <a:lnTo>
                      <a:pt x="218" y="341"/>
                    </a:lnTo>
                    <a:lnTo>
                      <a:pt x="218" y="341"/>
                    </a:lnTo>
                    <a:lnTo>
                      <a:pt x="218" y="549"/>
                    </a:lnTo>
                    <a:lnTo>
                      <a:pt x="218" y="549"/>
                    </a:lnTo>
                    <a:lnTo>
                      <a:pt x="218" y="578"/>
                    </a:lnTo>
                    <a:lnTo>
                      <a:pt x="218" y="604"/>
                    </a:lnTo>
                    <a:lnTo>
                      <a:pt x="215" y="625"/>
                    </a:lnTo>
                    <a:lnTo>
                      <a:pt x="211" y="644"/>
                    </a:lnTo>
                    <a:lnTo>
                      <a:pt x="203" y="665"/>
                    </a:lnTo>
                    <a:lnTo>
                      <a:pt x="193" y="686"/>
                    </a:lnTo>
                    <a:lnTo>
                      <a:pt x="178" y="711"/>
                    </a:lnTo>
                    <a:lnTo>
                      <a:pt x="158" y="741"/>
                    </a:lnTo>
                    <a:lnTo>
                      <a:pt x="158" y="801"/>
                    </a:lnTo>
                    <a:lnTo>
                      <a:pt x="269" y="801"/>
                    </a:lnTo>
                    <a:lnTo>
                      <a:pt x="269" y="816"/>
                    </a:lnTo>
                    <a:lnTo>
                      <a:pt x="269" y="816"/>
                    </a:lnTo>
                    <a:lnTo>
                      <a:pt x="268" y="842"/>
                    </a:lnTo>
                    <a:lnTo>
                      <a:pt x="263" y="868"/>
                    </a:lnTo>
                    <a:lnTo>
                      <a:pt x="256" y="898"/>
                    </a:lnTo>
                    <a:lnTo>
                      <a:pt x="251" y="913"/>
                    </a:lnTo>
                    <a:lnTo>
                      <a:pt x="245" y="927"/>
                    </a:lnTo>
                    <a:lnTo>
                      <a:pt x="239" y="942"/>
                    </a:lnTo>
                    <a:lnTo>
                      <a:pt x="232" y="954"/>
                    </a:lnTo>
                    <a:lnTo>
                      <a:pt x="221" y="967"/>
                    </a:lnTo>
                    <a:lnTo>
                      <a:pt x="212" y="978"/>
                    </a:lnTo>
                    <a:lnTo>
                      <a:pt x="200" y="987"/>
                    </a:lnTo>
                    <a:lnTo>
                      <a:pt x="187" y="995"/>
                    </a:lnTo>
                    <a:lnTo>
                      <a:pt x="173" y="1001"/>
                    </a:lnTo>
                    <a:lnTo>
                      <a:pt x="158" y="1006"/>
                    </a:lnTo>
                    <a:lnTo>
                      <a:pt x="158" y="1127"/>
                    </a:lnTo>
                    <a:lnTo>
                      <a:pt x="353" y="1127"/>
                    </a:lnTo>
                    <a:lnTo>
                      <a:pt x="353" y="831"/>
                    </a:lnTo>
                    <a:lnTo>
                      <a:pt x="387" y="831"/>
                    </a:lnTo>
                    <a:lnTo>
                      <a:pt x="387" y="1127"/>
                    </a:lnTo>
                    <a:lnTo>
                      <a:pt x="582" y="1127"/>
                    </a:lnTo>
                    <a:lnTo>
                      <a:pt x="582" y="1006"/>
                    </a:lnTo>
                    <a:lnTo>
                      <a:pt x="582" y="1006"/>
                    </a:lnTo>
                    <a:lnTo>
                      <a:pt x="567" y="1001"/>
                    </a:lnTo>
                    <a:lnTo>
                      <a:pt x="552" y="995"/>
                    </a:lnTo>
                    <a:lnTo>
                      <a:pt x="540" y="987"/>
                    </a:lnTo>
                    <a:lnTo>
                      <a:pt x="528" y="978"/>
                    </a:lnTo>
                    <a:lnTo>
                      <a:pt x="517" y="967"/>
                    </a:lnTo>
                    <a:lnTo>
                      <a:pt x="508" y="954"/>
                    </a:lnTo>
                    <a:lnTo>
                      <a:pt x="501" y="942"/>
                    </a:lnTo>
                    <a:lnTo>
                      <a:pt x="493" y="927"/>
                    </a:lnTo>
                    <a:lnTo>
                      <a:pt x="487" y="913"/>
                    </a:lnTo>
                    <a:lnTo>
                      <a:pt x="483" y="898"/>
                    </a:lnTo>
                    <a:lnTo>
                      <a:pt x="477" y="868"/>
                    </a:lnTo>
                    <a:lnTo>
                      <a:pt x="472" y="842"/>
                    </a:lnTo>
                    <a:lnTo>
                      <a:pt x="471" y="816"/>
                    </a:lnTo>
                    <a:lnTo>
                      <a:pt x="471" y="801"/>
                    </a:lnTo>
                    <a:lnTo>
                      <a:pt x="582" y="801"/>
                    </a:lnTo>
                    <a:lnTo>
                      <a:pt x="582" y="741"/>
                    </a:lnTo>
                    <a:lnTo>
                      <a:pt x="582" y="741"/>
                    </a:lnTo>
                    <a:lnTo>
                      <a:pt x="562" y="711"/>
                    </a:lnTo>
                    <a:lnTo>
                      <a:pt x="547" y="686"/>
                    </a:lnTo>
                    <a:lnTo>
                      <a:pt x="535" y="665"/>
                    </a:lnTo>
                    <a:lnTo>
                      <a:pt x="529" y="644"/>
                    </a:lnTo>
                    <a:lnTo>
                      <a:pt x="525" y="625"/>
                    </a:lnTo>
                    <a:lnTo>
                      <a:pt x="522" y="604"/>
                    </a:lnTo>
                    <a:lnTo>
                      <a:pt x="522" y="578"/>
                    </a:lnTo>
                    <a:lnTo>
                      <a:pt x="522" y="549"/>
                    </a:lnTo>
                    <a:lnTo>
                      <a:pt x="522" y="549"/>
                    </a:lnTo>
                    <a:lnTo>
                      <a:pt x="522" y="341"/>
                    </a:lnTo>
                    <a:lnTo>
                      <a:pt x="522" y="341"/>
                    </a:lnTo>
                    <a:close/>
                  </a:path>
                </a:pathLst>
              </a:custGeom>
              <a:solidFill>
                <a:schemeClr val="bg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706F6F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77112" y="3660686"/>
                <a:ext cx="1243930" cy="261610"/>
              </a:xfrm>
              <a:prstGeom prst="rect">
                <a:avLst/>
              </a:prstGeom>
              <a:noFill/>
            </p:spPr>
            <p:txBody>
              <a:bodyPr wrap="none" lIns="0" rIns="0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ru-RU" sz="1000" b="1" dirty="0" smtClean="0">
                    <a:solidFill>
                      <a:srgbClr val="706F6F"/>
                    </a:solidFill>
                    <a:latin typeface="Arial Narrow" panose="020B0606020202030204" pitchFamily="34" charset="0"/>
                  </a:rPr>
                  <a:t>Работники организации</a:t>
                </a:r>
              </a:p>
              <a:p>
                <a:pPr algn="ctr">
                  <a:lnSpc>
                    <a:spcPts val="1000"/>
                  </a:lnSpc>
                </a:pPr>
                <a:r>
                  <a:rPr lang="ru-RU" sz="1000" b="1" dirty="0" smtClean="0">
                    <a:solidFill>
                      <a:srgbClr val="706F6F"/>
                    </a:solidFill>
                    <a:latin typeface="Arial Narrow" panose="020B0606020202030204" pitchFamily="34" charset="0"/>
                  </a:rPr>
                  <a:t>дорожной отрасли</a:t>
                </a:r>
              </a:p>
            </p:txBody>
          </p:sp>
        </p:grpSp>
        <p:grpSp>
          <p:nvGrpSpPr>
            <p:cNvPr id="19" name="Группа 18"/>
            <p:cNvGrpSpPr/>
            <p:nvPr/>
          </p:nvGrpSpPr>
          <p:grpSpPr>
            <a:xfrm>
              <a:off x="370511" y="3767155"/>
              <a:ext cx="1059584" cy="729081"/>
              <a:chOff x="497222" y="4428678"/>
              <a:chExt cx="1059584" cy="729081"/>
            </a:xfrm>
          </p:grpSpPr>
          <p:sp>
            <p:nvSpPr>
              <p:cNvPr id="20" name="Picture153"/>
              <p:cNvSpPr>
                <a:spLocks noEditPoints="1"/>
              </p:cNvSpPr>
              <p:nvPr/>
            </p:nvSpPr>
            <p:spPr bwMode="auto">
              <a:xfrm>
                <a:off x="831735" y="4428678"/>
                <a:ext cx="482600" cy="482599"/>
              </a:xfrm>
              <a:custGeom>
                <a:avLst/>
                <a:gdLst>
                  <a:gd name="T0" fmla="*/ 763 w 911"/>
                  <a:gd name="T1" fmla="*/ 224 h 912"/>
                  <a:gd name="T2" fmla="*/ 771 w 911"/>
                  <a:gd name="T3" fmla="*/ 101 h 912"/>
                  <a:gd name="T4" fmla="*/ 680 w 911"/>
                  <a:gd name="T5" fmla="*/ 57 h 912"/>
                  <a:gd name="T6" fmla="*/ 697 w 911"/>
                  <a:gd name="T7" fmla="*/ 161 h 912"/>
                  <a:gd name="T8" fmla="*/ 733 w 911"/>
                  <a:gd name="T9" fmla="*/ 607 h 912"/>
                  <a:gd name="T10" fmla="*/ 709 w 911"/>
                  <a:gd name="T11" fmla="*/ 893 h 912"/>
                  <a:gd name="T12" fmla="*/ 783 w 911"/>
                  <a:gd name="T13" fmla="*/ 885 h 912"/>
                  <a:gd name="T14" fmla="*/ 844 w 911"/>
                  <a:gd name="T15" fmla="*/ 328 h 912"/>
                  <a:gd name="T16" fmla="*/ 757 w 911"/>
                  <a:gd name="T17" fmla="*/ 298 h 912"/>
                  <a:gd name="T18" fmla="*/ 842 w 911"/>
                  <a:gd name="T19" fmla="*/ 588 h 912"/>
                  <a:gd name="T20" fmla="*/ 911 w 911"/>
                  <a:gd name="T21" fmla="*/ 559 h 912"/>
                  <a:gd name="T22" fmla="*/ 91 w 911"/>
                  <a:gd name="T23" fmla="*/ 294 h 912"/>
                  <a:gd name="T24" fmla="*/ 1 w 911"/>
                  <a:gd name="T25" fmla="*/ 568 h 912"/>
                  <a:gd name="T26" fmla="*/ 75 w 911"/>
                  <a:gd name="T27" fmla="*/ 583 h 912"/>
                  <a:gd name="T28" fmla="*/ 160 w 911"/>
                  <a:gd name="T29" fmla="*/ 285 h 912"/>
                  <a:gd name="T30" fmla="*/ 237 w 911"/>
                  <a:gd name="T31" fmla="*/ 203 h 912"/>
                  <a:gd name="T32" fmla="*/ 225 w 911"/>
                  <a:gd name="T33" fmla="*/ 73 h 912"/>
                  <a:gd name="T34" fmla="*/ 162 w 911"/>
                  <a:gd name="T35" fmla="*/ 79 h 912"/>
                  <a:gd name="T36" fmla="*/ 131 w 911"/>
                  <a:gd name="T37" fmla="*/ 186 h 912"/>
                  <a:gd name="T38" fmla="*/ 132 w 911"/>
                  <a:gd name="T39" fmla="*/ 609 h 912"/>
                  <a:gd name="T40" fmla="*/ 167 w 911"/>
                  <a:gd name="T41" fmla="*/ 912 h 912"/>
                  <a:gd name="T42" fmla="*/ 211 w 911"/>
                  <a:gd name="T43" fmla="*/ 580 h 912"/>
                  <a:gd name="T44" fmla="*/ 568 w 911"/>
                  <a:gd name="T45" fmla="*/ 218 h 912"/>
                  <a:gd name="T46" fmla="*/ 673 w 911"/>
                  <a:gd name="T47" fmla="*/ 153 h 912"/>
                  <a:gd name="T48" fmla="*/ 646 w 911"/>
                  <a:gd name="T49" fmla="*/ 55 h 912"/>
                  <a:gd name="T50" fmla="*/ 568 w 911"/>
                  <a:gd name="T51" fmla="*/ 34 h 912"/>
                  <a:gd name="T52" fmla="*/ 573 w 911"/>
                  <a:gd name="T53" fmla="*/ 170 h 912"/>
                  <a:gd name="T54" fmla="*/ 237 w 911"/>
                  <a:gd name="T55" fmla="*/ 867 h 912"/>
                  <a:gd name="T56" fmla="*/ 295 w 911"/>
                  <a:gd name="T57" fmla="*/ 910 h 912"/>
                  <a:gd name="T58" fmla="*/ 297 w 911"/>
                  <a:gd name="T59" fmla="*/ 594 h 912"/>
                  <a:gd name="T60" fmla="*/ 707 w 911"/>
                  <a:gd name="T61" fmla="*/ 268 h 912"/>
                  <a:gd name="T62" fmla="*/ 721 w 911"/>
                  <a:gd name="T63" fmla="*/ 534 h 912"/>
                  <a:gd name="T64" fmla="*/ 771 w 911"/>
                  <a:gd name="T65" fmla="*/ 584 h 912"/>
                  <a:gd name="T66" fmla="*/ 310 w 911"/>
                  <a:gd name="T67" fmla="*/ 226 h 912"/>
                  <a:gd name="T68" fmla="*/ 335 w 911"/>
                  <a:gd name="T69" fmla="*/ 156 h 912"/>
                  <a:gd name="T70" fmla="*/ 354 w 911"/>
                  <a:gd name="T71" fmla="*/ 25 h 912"/>
                  <a:gd name="T72" fmla="*/ 263 w 911"/>
                  <a:gd name="T73" fmla="*/ 62 h 912"/>
                  <a:gd name="T74" fmla="*/ 245 w 911"/>
                  <a:gd name="T75" fmla="*/ 161 h 912"/>
                  <a:gd name="T76" fmla="*/ 621 w 911"/>
                  <a:gd name="T77" fmla="*/ 598 h 912"/>
                  <a:gd name="T78" fmla="*/ 609 w 911"/>
                  <a:gd name="T79" fmla="*/ 907 h 912"/>
                  <a:gd name="T80" fmla="*/ 674 w 911"/>
                  <a:gd name="T81" fmla="*/ 867 h 912"/>
                  <a:gd name="T82" fmla="*/ 191 w 911"/>
                  <a:gd name="T83" fmla="*/ 522 h 912"/>
                  <a:gd name="T84" fmla="*/ 210 w 911"/>
                  <a:gd name="T85" fmla="*/ 267 h 912"/>
                  <a:gd name="T86" fmla="*/ 108 w 911"/>
                  <a:gd name="T87" fmla="*/ 547 h 912"/>
                  <a:gd name="T88" fmla="*/ 180 w 911"/>
                  <a:gd name="T89" fmla="*/ 577 h 912"/>
                  <a:gd name="T90" fmla="*/ 588 w 911"/>
                  <a:gd name="T91" fmla="*/ 246 h 912"/>
                  <a:gd name="T92" fmla="*/ 329 w 911"/>
                  <a:gd name="T93" fmla="*/ 245 h 912"/>
                  <a:gd name="T94" fmla="*/ 217 w 911"/>
                  <a:gd name="T95" fmla="*/ 527 h 912"/>
                  <a:gd name="T96" fmla="*/ 283 w 911"/>
                  <a:gd name="T97" fmla="*/ 572 h 912"/>
                  <a:gd name="T98" fmla="*/ 363 w 911"/>
                  <a:gd name="T99" fmla="*/ 898 h 912"/>
                  <a:gd name="T100" fmla="*/ 440 w 911"/>
                  <a:gd name="T101" fmla="*/ 876 h 912"/>
                  <a:gd name="T102" fmla="*/ 508 w 911"/>
                  <a:gd name="T103" fmla="*/ 911 h 912"/>
                  <a:gd name="T104" fmla="*/ 562 w 911"/>
                  <a:gd name="T105" fmla="*/ 405 h 912"/>
                  <a:gd name="T106" fmla="*/ 672 w 911"/>
                  <a:gd name="T107" fmla="*/ 572 h 912"/>
                  <a:gd name="T108" fmla="*/ 458 w 911"/>
                  <a:gd name="T109" fmla="*/ 213 h 912"/>
                  <a:gd name="T110" fmla="*/ 556 w 911"/>
                  <a:gd name="T111" fmla="*/ 148 h 912"/>
                  <a:gd name="T112" fmla="*/ 540 w 911"/>
                  <a:gd name="T113" fmla="*/ 39 h 912"/>
                  <a:gd name="T114" fmla="*/ 437 w 911"/>
                  <a:gd name="T115" fmla="*/ 2 h 912"/>
                  <a:gd name="T116" fmla="*/ 353 w 911"/>
                  <a:gd name="T117" fmla="*/ 85 h 912"/>
                  <a:gd name="T118" fmla="*/ 389 w 911"/>
                  <a:gd name="T119" fmla="*/ 189 h 9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911" h="912">
                    <a:moveTo>
                      <a:pt x="645" y="236"/>
                    </a:moveTo>
                    <a:lnTo>
                      <a:pt x="679" y="236"/>
                    </a:lnTo>
                    <a:lnTo>
                      <a:pt x="679" y="236"/>
                    </a:lnTo>
                    <a:lnTo>
                      <a:pt x="691" y="236"/>
                    </a:lnTo>
                    <a:lnTo>
                      <a:pt x="703" y="238"/>
                    </a:lnTo>
                    <a:lnTo>
                      <a:pt x="715" y="242"/>
                    </a:lnTo>
                    <a:lnTo>
                      <a:pt x="721" y="245"/>
                    </a:lnTo>
                    <a:lnTo>
                      <a:pt x="726" y="249"/>
                    </a:lnTo>
                    <a:lnTo>
                      <a:pt x="726" y="249"/>
                    </a:lnTo>
                    <a:lnTo>
                      <a:pt x="739" y="242"/>
                    </a:lnTo>
                    <a:lnTo>
                      <a:pt x="752" y="235"/>
                    </a:lnTo>
                    <a:lnTo>
                      <a:pt x="763" y="224"/>
                    </a:lnTo>
                    <a:lnTo>
                      <a:pt x="771" y="213"/>
                    </a:lnTo>
                    <a:lnTo>
                      <a:pt x="779" y="200"/>
                    </a:lnTo>
                    <a:lnTo>
                      <a:pt x="784" y="186"/>
                    </a:lnTo>
                    <a:lnTo>
                      <a:pt x="788" y="171"/>
                    </a:lnTo>
                    <a:lnTo>
                      <a:pt x="789" y="156"/>
                    </a:lnTo>
                    <a:lnTo>
                      <a:pt x="789" y="156"/>
                    </a:lnTo>
                    <a:lnTo>
                      <a:pt x="789" y="147"/>
                    </a:lnTo>
                    <a:lnTo>
                      <a:pt x="786" y="136"/>
                    </a:lnTo>
                    <a:lnTo>
                      <a:pt x="784" y="126"/>
                    </a:lnTo>
                    <a:lnTo>
                      <a:pt x="781" y="118"/>
                    </a:lnTo>
                    <a:lnTo>
                      <a:pt x="777" y="109"/>
                    </a:lnTo>
                    <a:lnTo>
                      <a:pt x="771" y="101"/>
                    </a:lnTo>
                    <a:lnTo>
                      <a:pt x="766" y="93"/>
                    </a:lnTo>
                    <a:lnTo>
                      <a:pt x="760" y="86"/>
                    </a:lnTo>
                    <a:lnTo>
                      <a:pt x="753" y="79"/>
                    </a:lnTo>
                    <a:lnTo>
                      <a:pt x="745" y="74"/>
                    </a:lnTo>
                    <a:lnTo>
                      <a:pt x="737" y="69"/>
                    </a:lnTo>
                    <a:lnTo>
                      <a:pt x="729" y="64"/>
                    </a:lnTo>
                    <a:lnTo>
                      <a:pt x="719" y="61"/>
                    </a:lnTo>
                    <a:lnTo>
                      <a:pt x="709" y="59"/>
                    </a:lnTo>
                    <a:lnTo>
                      <a:pt x="700" y="57"/>
                    </a:lnTo>
                    <a:lnTo>
                      <a:pt x="689" y="57"/>
                    </a:lnTo>
                    <a:lnTo>
                      <a:pt x="689" y="57"/>
                    </a:lnTo>
                    <a:lnTo>
                      <a:pt x="680" y="57"/>
                    </a:lnTo>
                    <a:lnTo>
                      <a:pt x="680" y="57"/>
                    </a:lnTo>
                    <a:lnTo>
                      <a:pt x="686" y="65"/>
                    </a:lnTo>
                    <a:lnTo>
                      <a:pt x="690" y="73"/>
                    </a:lnTo>
                    <a:lnTo>
                      <a:pt x="693" y="81"/>
                    </a:lnTo>
                    <a:lnTo>
                      <a:pt x="696" y="90"/>
                    </a:lnTo>
                    <a:lnTo>
                      <a:pt x="698" y="100"/>
                    </a:lnTo>
                    <a:lnTo>
                      <a:pt x="701" y="109"/>
                    </a:lnTo>
                    <a:lnTo>
                      <a:pt x="702" y="118"/>
                    </a:lnTo>
                    <a:lnTo>
                      <a:pt x="702" y="129"/>
                    </a:lnTo>
                    <a:lnTo>
                      <a:pt x="702" y="129"/>
                    </a:lnTo>
                    <a:lnTo>
                      <a:pt x="701" y="145"/>
                    </a:lnTo>
                    <a:lnTo>
                      <a:pt x="697" y="161"/>
                    </a:lnTo>
                    <a:lnTo>
                      <a:pt x="693" y="176"/>
                    </a:lnTo>
                    <a:lnTo>
                      <a:pt x="686" y="190"/>
                    </a:lnTo>
                    <a:lnTo>
                      <a:pt x="678" y="203"/>
                    </a:lnTo>
                    <a:lnTo>
                      <a:pt x="668" y="215"/>
                    </a:lnTo>
                    <a:lnTo>
                      <a:pt x="657" y="226"/>
                    </a:lnTo>
                    <a:lnTo>
                      <a:pt x="645" y="236"/>
                    </a:lnTo>
                    <a:lnTo>
                      <a:pt x="645" y="236"/>
                    </a:lnTo>
                    <a:close/>
                    <a:moveTo>
                      <a:pt x="759" y="612"/>
                    </a:moveTo>
                    <a:lnTo>
                      <a:pt x="759" y="612"/>
                    </a:lnTo>
                    <a:lnTo>
                      <a:pt x="750" y="612"/>
                    </a:lnTo>
                    <a:lnTo>
                      <a:pt x="741" y="610"/>
                    </a:lnTo>
                    <a:lnTo>
                      <a:pt x="733" y="607"/>
                    </a:lnTo>
                    <a:lnTo>
                      <a:pt x="725" y="603"/>
                    </a:lnTo>
                    <a:lnTo>
                      <a:pt x="718" y="599"/>
                    </a:lnTo>
                    <a:lnTo>
                      <a:pt x="710" y="594"/>
                    </a:lnTo>
                    <a:lnTo>
                      <a:pt x="705" y="587"/>
                    </a:lnTo>
                    <a:lnTo>
                      <a:pt x="700" y="580"/>
                    </a:lnTo>
                    <a:lnTo>
                      <a:pt x="700" y="598"/>
                    </a:lnTo>
                    <a:lnTo>
                      <a:pt x="702" y="598"/>
                    </a:lnTo>
                    <a:lnTo>
                      <a:pt x="702" y="869"/>
                    </a:lnTo>
                    <a:lnTo>
                      <a:pt x="702" y="869"/>
                    </a:lnTo>
                    <a:lnTo>
                      <a:pt x="703" y="878"/>
                    </a:lnTo>
                    <a:lnTo>
                      <a:pt x="705" y="885"/>
                    </a:lnTo>
                    <a:lnTo>
                      <a:pt x="709" y="893"/>
                    </a:lnTo>
                    <a:lnTo>
                      <a:pt x="714" y="899"/>
                    </a:lnTo>
                    <a:lnTo>
                      <a:pt x="720" y="904"/>
                    </a:lnTo>
                    <a:lnTo>
                      <a:pt x="727" y="909"/>
                    </a:lnTo>
                    <a:lnTo>
                      <a:pt x="736" y="911"/>
                    </a:lnTo>
                    <a:lnTo>
                      <a:pt x="745" y="912"/>
                    </a:lnTo>
                    <a:lnTo>
                      <a:pt x="745" y="912"/>
                    </a:lnTo>
                    <a:lnTo>
                      <a:pt x="753" y="911"/>
                    </a:lnTo>
                    <a:lnTo>
                      <a:pt x="761" y="909"/>
                    </a:lnTo>
                    <a:lnTo>
                      <a:pt x="768" y="904"/>
                    </a:lnTo>
                    <a:lnTo>
                      <a:pt x="775" y="899"/>
                    </a:lnTo>
                    <a:lnTo>
                      <a:pt x="780" y="893"/>
                    </a:lnTo>
                    <a:lnTo>
                      <a:pt x="783" y="885"/>
                    </a:lnTo>
                    <a:lnTo>
                      <a:pt x="786" y="878"/>
                    </a:lnTo>
                    <a:lnTo>
                      <a:pt x="786" y="869"/>
                    </a:lnTo>
                    <a:lnTo>
                      <a:pt x="786" y="607"/>
                    </a:lnTo>
                    <a:lnTo>
                      <a:pt x="786" y="607"/>
                    </a:lnTo>
                    <a:lnTo>
                      <a:pt x="780" y="609"/>
                    </a:lnTo>
                    <a:lnTo>
                      <a:pt x="780" y="609"/>
                    </a:lnTo>
                    <a:lnTo>
                      <a:pt x="769" y="611"/>
                    </a:lnTo>
                    <a:lnTo>
                      <a:pt x="759" y="612"/>
                    </a:lnTo>
                    <a:lnTo>
                      <a:pt x="759" y="612"/>
                    </a:lnTo>
                    <a:close/>
                    <a:moveTo>
                      <a:pt x="910" y="542"/>
                    </a:moveTo>
                    <a:lnTo>
                      <a:pt x="910" y="542"/>
                    </a:lnTo>
                    <a:lnTo>
                      <a:pt x="844" y="328"/>
                    </a:lnTo>
                    <a:lnTo>
                      <a:pt x="844" y="328"/>
                    </a:lnTo>
                    <a:lnTo>
                      <a:pt x="841" y="317"/>
                    </a:lnTo>
                    <a:lnTo>
                      <a:pt x="837" y="309"/>
                    </a:lnTo>
                    <a:lnTo>
                      <a:pt x="832" y="301"/>
                    </a:lnTo>
                    <a:lnTo>
                      <a:pt x="826" y="296"/>
                    </a:lnTo>
                    <a:lnTo>
                      <a:pt x="820" y="290"/>
                    </a:lnTo>
                    <a:lnTo>
                      <a:pt x="811" y="287"/>
                    </a:lnTo>
                    <a:lnTo>
                      <a:pt x="803" y="285"/>
                    </a:lnTo>
                    <a:lnTo>
                      <a:pt x="793" y="285"/>
                    </a:lnTo>
                    <a:lnTo>
                      <a:pt x="753" y="285"/>
                    </a:lnTo>
                    <a:lnTo>
                      <a:pt x="753" y="285"/>
                    </a:lnTo>
                    <a:lnTo>
                      <a:pt x="757" y="298"/>
                    </a:lnTo>
                    <a:lnTo>
                      <a:pt x="757" y="298"/>
                    </a:lnTo>
                    <a:lnTo>
                      <a:pt x="826" y="522"/>
                    </a:lnTo>
                    <a:lnTo>
                      <a:pt x="826" y="522"/>
                    </a:lnTo>
                    <a:lnTo>
                      <a:pt x="828" y="532"/>
                    </a:lnTo>
                    <a:lnTo>
                      <a:pt x="829" y="542"/>
                    </a:lnTo>
                    <a:lnTo>
                      <a:pt x="828" y="552"/>
                    </a:lnTo>
                    <a:lnTo>
                      <a:pt x="826" y="562"/>
                    </a:lnTo>
                    <a:lnTo>
                      <a:pt x="828" y="568"/>
                    </a:lnTo>
                    <a:lnTo>
                      <a:pt x="828" y="568"/>
                    </a:lnTo>
                    <a:lnTo>
                      <a:pt x="832" y="577"/>
                    </a:lnTo>
                    <a:lnTo>
                      <a:pt x="836" y="583"/>
                    </a:lnTo>
                    <a:lnTo>
                      <a:pt x="842" y="588"/>
                    </a:lnTo>
                    <a:lnTo>
                      <a:pt x="849" y="594"/>
                    </a:lnTo>
                    <a:lnTo>
                      <a:pt x="856" y="596"/>
                    </a:lnTo>
                    <a:lnTo>
                      <a:pt x="865" y="598"/>
                    </a:lnTo>
                    <a:lnTo>
                      <a:pt x="873" y="598"/>
                    </a:lnTo>
                    <a:lnTo>
                      <a:pt x="882" y="596"/>
                    </a:lnTo>
                    <a:lnTo>
                      <a:pt x="882" y="596"/>
                    </a:lnTo>
                    <a:lnTo>
                      <a:pt x="889" y="593"/>
                    </a:lnTo>
                    <a:lnTo>
                      <a:pt x="896" y="588"/>
                    </a:lnTo>
                    <a:lnTo>
                      <a:pt x="902" y="582"/>
                    </a:lnTo>
                    <a:lnTo>
                      <a:pt x="907" y="575"/>
                    </a:lnTo>
                    <a:lnTo>
                      <a:pt x="910" y="568"/>
                    </a:lnTo>
                    <a:lnTo>
                      <a:pt x="911" y="559"/>
                    </a:lnTo>
                    <a:lnTo>
                      <a:pt x="911" y="551"/>
                    </a:lnTo>
                    <a:lnTo>
                      <a:pt x="910" y="542"/>
                    </a:lnTo>
                    <a:lnTo>
                      <a:pt x="910" y="542"/>
                    </a:lnTo>
                    <a:close/>
                    <a:moveTo>
                      <a:pt x="160" y="285"/>
                    </a:moveTo>
                    <a:lnTo>
                      <a:pt x="160" y="285"/>
                    </a:lnTo>
                    <a:lnTo>
                      <a:pt x="160" y="285"/>
                    </a:lnTo>
                    <a:lnTo>
                      <a:pt x="122" y="285"/>
                    </a:lnTo>
                    <a:lnTo>
                      <a:pt x="122" y="285"/>
                    </a:lnTo>
                    <a:lnTo>
                      <a:pt x="114" y="285"/>
                    </a:lnTo>
                    <a:lnTo>
                      <a:pt x="106" y="287"/>
                    </a:lnTo>
                    <a:lnTo>
                      <a:pt x="98" y="290"/>
                    </a:lnTo>
                    <a:lnTo>
                      <a:pt x="91" y="294"/>
                    </a:lnTo>
                    <a:lnTo>
                      <a:pt x="85" y="298"/>
                    </a:lnTo>
                    <a:lnTo>
                      <a:pt x="79" y="303"/>
                    </a:lnTo>
                    <a:lnTo>
                      <a:pt x="76" y="310"/>
                    </a:lnTo>
                    <a:lnTo>
                      <a:pt x="73" y="316"/>
                    </a:lnTo>
                    <a:lnTo>
                      <a:pt x="73" y="316"/>
                    </a:lnTo>
                    <a:lnTo>
                      <a:pt x="58" y="361"/>
                    </a:lnTo>
                    <a:lnTo>
                      <a:pt x="34" y="438"/>
                    </a:lnTo>
                    <a:lnTo>
                      <a:pt x="1" y="542"/>
                    </a:lnTo>
                    <a:lnTo>
                      <a:pt x="1" y="542"/>
                    </a:lnTo>
                    <a:lnTo>
                      <a:pt x="0" y="551"/>
                    </a:lnTo>
                    <a:lnTo>
                      <a:pt x="0" y="559"/>
                    </a:lnTo>
                    <a:lnTo>
                      <a:pt x="1" y="568"/>
                    </a:lnTo>
                    <a:lnTo>
                      <a:pt x="4" y="575"/>
                    </a:lnTo>
                    <a:lnTo>
                      <a:pt x="9" y="582"/>
                    </a:lnTo>
                    <a:lnTo>
                      <a:pt x="15" y="588"/>
                    </a:lnTo>
                    <a:lnTo>
                      <a:pt x="21" y="593"/>
                    </a:lnTo>
                    <a:lnTo>
                      <a:pt x="30" y="596"/>
                    </a:lnTo>
                    <a:lnTo>
                      <a:pt x="30" y="596"/>
                    </a:lnTo>
                    <a:lnTo>
                      <a:pt x="39" y="598"/>
                    </a:lnTo>
                    <a:lnTo>
                      <a:pt x="46" y="598"/>
                    </a:lnTo>
                    <a:lnTo>
                      <a:pt x="55" y="596"/>
                    </a:lnTo>
                    <a:lnTo>
                      <a:pt x="62" y="594"/>
                    </a:lnTo>
                    <a:lnTo>
                      <a:pt x="69" y="588"/>
                    </a:lnTo>
                    <a:lnTo>
                      <a:pt x="75" y="583"/>
                    </a:lnTo>
                    <a:lnTo>
                      <a:pt x="79" y="577"/>
                    </a:lnTo>
                    <a:lnTo>
                      <a:pt x="84" y="568"/>
                    </a:lnTo>
                    <a:lnTo>
                      <a:pt x="85" y="562"/>
                    </a:lnTo>
                    <a:lnTo>
                      <a:pt x="85" y="562"/>
                    </a:lnTo>
                    <a:lnTo>
                      <a:pt x="83" y="552"/>
                    </a:lnTo>
                    <a:lnTo>
                      <a:pt x="83" y="542"/>
                    </a:lnTo>
                    <a:lnTo>
                      <a:pt x="83" y="532"/>
                    </a:lnTo>
                    <a:lnTo>
                      <a:pt x="85" y="521"/>
                    </a:lnTo>
                    <a:lnTo>
                      <a:pt x="85" y="521"/>
                    </a:lnTo>
                    <a:lnTo>
                      <a:pt x="120" y="410"/>
                    </a:lnTo>
                    <a:lnTo>
                      <a:pt x="145" y="332"/>
                    </a:lnTo>
                    <a:lnTo>
                      <a:pt x="160" y="285"/>
                    </a:lnTo>
                    <a:lnTo>
                      <a:pt x="160" y="285"/>
                    </a:lnTo>
                    <a:close/>
                    <a:moveTo>
                      <a:pt x="189" y="249"/>
                    </a:moveTo>
                    <a:lnTo>
                      <a:pt x="189" y="249"/>
                    </a:lnTo>
                    <a:lnTo>
                      <a:pt x="200" y="243"/>
                    </a:lnTo>
                    <a:lnTo>
                      <a:pt x="211" y="239"/>
                    </a:lnTo>
                    <a:lnTo>
                      <a:pt x="223" y="237"/>
                    </a:lnTo>
                    <a:lnTo>
                      <a:pt x="236" y="236"/>
                    </a:lnTo>
                    <a:lnTo>
                      <a:pt x="271" y="236"/>
                    </a:lnTo>
                    <a:lnTo>
                      <a:pt x="271" y="236"/>
                    </a:lnTo>
                    <a:lnTo>
                      <a:pt x="259" y="226"/>
                    </a:lnTo>
                    <a:lnTo>
                      <a:pt x="248" y="215"/>
                    </a:lnTo>
                    <a:lnTo>
                      <a:pt x="237" y="203"/>
                    </a:lnTo>
                    <a:lnTo>
                      <a:pt x="230" y="190"/>
                    </a:lnTo>
                    <a:lnTo>
                      <a:pt x="222" y="176"/>
                    </a:lnTo>
                    <a:lnTo>
                      <a:pt x="218" y="161"/>
                    </a:lnTo>
                    <a:lnTo>
                      <a:pt x="215" y="145"/>
                    </a:lnTo>
                    <a:lnTo>
                      <a:pt x="214" y="129"/>
                    </a:lnTo>
                    <a:lnTo>
                      <a:pt x="214" y="129"/>
                    </a:lnTo>
                    <a:lnTo>
                      <a:pt x="214" y="118"/>
                    </a:lnTo>
                    <a:lnTo>
                      <a:pt x="215" y="109"/>
                    </a:lnTo>
                    <a:lnTo>
                      <a:pt x="217" y="100"/>
                    </a:lnTo>
                    <a:lnTo>
                      <a:pt x="219" y="90"/>
                    </a:lnTo>
                    <a:lnTo>
                      <a:pt x="222" y="81"/>
                    </a:lnTo>
                    <a:lnTo>
                      <a:pt x="225" y="73"/>
                    </a:lnTo>
                    <a:lnTo>
                      <a:pt x="230" y="65"/>
                    </a:lnTo>
                    <a:lnTo>
                      <a:pt x="235" y="57"/>
                    </a:lnTo>
                    <a:lnTo>
                      <a:pt x="235" y="57"/>
                    </a:lnTo>
                    <a:lnTo>
                      <a:pt x="226" y="57"/>
                    </a:lnTo>
                    <a:lnTo>
                      <a:pt x="226" y="57"/>
                    </a:lnTo>
                    <a:lnTo>
                      <a:pt x="216" y="57"/>
                    </a:lnTo>
                    <a:lnTo>
                      <a:pt x="206" y="59"/>
                    </a:lnTo>
                    <a:lnTo>
                      <a:pt x="196" y="61"/>
                    </a:lnTo>
                    <a:lnTo>
                      <a:pt x="187" y="64"/>
                    </a:lnTo>
                    <a:lnTo>
                      <a:pt x="178" y="69"/>
                    </a:lnTo>
                    <a:lnTo>
                      <a:pt x="171" y="74"/>
                    </a:lnTo>
                    <a:lnTo>
                      <a:pt x="162" y="79"/>
                    </a:lnTo>
                    <a:lnTo>
                      <a:pt x="156" y="86"/>
                    </a:lnTo>
                    <a:lnTo>
                      <a:pt x="149" y="93"/>
                    </a:lnTo>
                    <a:lnTo>
                      <a:pt x="143" y="101"/>
                    </a:lnTo>
                    <a:lnTo>
                      <a:pt x="138" y="109"/>
                    </a:lnTo>
                    <a:lnTo>
                      <a:pt x="134" y="118"/>
                    </a:lnTo>
                    <a:lnTo>
                      <a:pt x="131" y="126"/>
                    </a:lnTo>
                    <a:lnTo>
                      <a:pt x="128" y="136"/>
                    </a:lnTo>
                    <a:lnTo>
                      <a:pt x="127" y="147"/>
                    </a:lnTo>
                    <a:lnTo>
                      <a:pt x="127" y="156"/>
                    </a:lnTo>
                    <a:lnTo>
                      <a:pt x="127" y="156"/>
                    </a:lnTo>
                    <a:lnTo>
                      <a:pt x="128" y="171"/>
                    </a:lnTo>
                    <a:lnTo>
                      <a:pt x="131" y="186"/>
                    </a:lnTo>
                    <a:lnTo>
                      <a:pt x="136" y="200"/>
                    </a:lnTo>
                    <a:lnTo>
                      <a:pt x="144" y="213"/>
                    </a:lnTo>
                    <a:lnTo>
                      <a:pt x="152" y="224"/>
                    </a:lnTo>
                    <a:lnTo>
                      <a:pt x="163" y="235"/>
                    </a:lnTo>
                    <a:lnTo>
                      <a:pt x="176" y="242"/>
                    </a:lnTo>
                    <a:lnTo>
                      <a:pt x="189" y="249"/>
                    </a:lnTo>
                    <a:lnTo>
                      <a:pt x="189" y="249"/>
                    </a:lnTo>
                    <a:close/>
                    <a:moveTo>
                      <a:pt x="152" y="612"/>
                    </a:moveTo>
                    <a:lnTo>
                      <a:pt x="152" y="612"/>
                    </a:lnTo>
                    <a:lnTo>
                      <a:pt x="142" y="611"/>
                    </a:lnTo>
                    <a:lnTo>
                      <a:pt x="132" y="609"/>
                    </a:lnTo>
                    <a:lnTo>
                      <a:pt x="132" y="609"/>
                    </a:lnTo>
                    <a:lnTo>
                      <a:pt x="124" y="607"/>
                    </a:lnTo>
                    <a:lnTo>
                      <a:pt x="124" y="869"/>
                    </a:lnTo>
                    <a:lnTo>
                      <a:pt x="124" y="869"/>
                    </a:lnTo>
                    <a:lnTo>
                      <a:pt x="126" y="878"/>
                    </a:lnTo>
                    <a:lnTo>
                      <a:pt x="128" y="885"/>
                    </a:lnTo>
                    <a:lnTo>
                      <a:pt x="132" y="893"/>
                    </a:lnTo>
                    <a:lnTo>
                      <a:pt x="136" y="899"/>
                    </a:lnTo>
                    <a:lnTo>
                      <a:pt x="143" y="904"/>
                    </a:lnTo>
                    <a:lnTo>
                      <a:pt x="150" y="909"/>
                    </a:lnTo>
                    <a:lnTo>
                      <a:pt x="159" y="911"/>
                    </a:lnTo>
                    <a:lnTo>
                      <a:pt x="167" y="912"/>
                    </a:lnTo>
                    <a:lnTo>
                      <a:pt x="167" y="912"/>
                    </a:lnTo>
                    <a:lnTo>
                      <a:pt x="176" y="911"/>
                    </a:lnTo>
                    <a:lnTo>
                      <a:pt x="183" y="909"/>
                    </a:lnTo>
                    <a:lnTo>
                      <a:pt x="191" y="904"/>
                    </a:lnTo>
                    <a:lnTo>
                      <a:pt x="197" y="899"/>
                    </a:lnTo>
                    <a:lnTo>
                      <a:pt x="203" y="893"/>
                    </a:lnTo>
                    <a:lnTo>
                      <a:pt x="206" y="885"/>
                    </a:lnTo>
                    <a:lnTo>
                      <a:pt x="209" y="878"/>
                    </a:lnTo>
                    <a:lnTo>
                      <a:pt x="209" y="869"/>
                    </a:lnTo>
                    <a:lnTo>
                      <a:pt x="209" y="598"/>
                    </a:lnTo>
                    <a:lnTo>
                      <a:pt x="211" y="598"/>
                    </a:lnTo>
                    <a:lnTo>
                      <a:pt x="211" y="580"/>
                    </a:lnTo>
                    <a:lnTo>
                      <a:pt x="211" y="580"/>
                    </a:lnTo>
                    <a:lnTo>
                      <a:pt x="206" y="587"/>
                    </a:lnTo>
                    <a:lnTo>
                      <a:pt x="201" y="594"/>
                    </a:lnTo>
                    <a:lnTo>
                      <a:pt x="193" y="599"/>
                    </a:lnTo>
                    <a:lnTo>
                      <a:pt x="187" y="603"/>
                    </a:lnTo>
                    <a:lnTo>
                      <a:pt x="178" y="607"/>
                    </a:lnTo>
                    <a:lnTo>
                      <a:pt x="171" y="610"/>
                    </a:lnTo>
                    <a:lnTo>
                      <a:pt x="161" y="612"/>
                    </a:lnTo>
                    <a:lnTo>
                      <a:pt x="152" y="612"/>
                    </a:lnTo>
                    <a:lnTo>
                      <a:pt x="152" y="612"/>
                    </a:lnTo>
                    <a:close/>
                    <a:moveTo>
                      <a:pt x="529" y="218"/>
                    </a:moveTo>
                    <a:lnTo>
                      <a:pt x="568" y="218"/>
                    </a:lnTo>
                    <a:lnTo>
                      <a:pt x="568" y="218"/>
                    </a:lnTo>
                    <a:lnTo>
                      <a:pt x="577" y="218"/>
                    </a:lnTo>
                    <a:lnTo>
                      <a:pt x="587" y="220"/>
                    </a:lnTo>
                    <a:lnTo>
                      <a:pt x="597" y="222"/>
                    </a:lnTo>
                    <a:lnTo>
                      <a:pt x="606" y="226"/>
                    </a:lnTo>
                    <a:lnTo>
                      <a:pt x="606" y="226"/>
                    </a:lnTo>
                    <a:lnTo>
                      <a:pt x="621" y="220"/>
                    </a:lnTo>
                    <a:lnTo>
                      <a:pt x="634" y="211"/>
                    </a:lnTo>
                    <a:lnTo>
                      <a:pt x="646" y="200"/>
                    </a:lnTo>
                    <a:lnTo>
                      <a:pt x="657" y="189"/>
                    </a:lnTo>
                    <a:lnTo>
                      <a:pt x="664" y="176"/>
                    </a:lnTo>
                    <a:lnTo>
                      <a:pt x="671" y="161"/>
                    </a:lnTo>
                    <a:lnTo>
                      <a:pt x="673" y="153"/>
                    </a:lnTo>
                    <a:lnTo>
                      <a:pt x="675" y="145"/>
                    </a:lnTo>
                    <a:lnTo>
                      <a:pt x="676" y="136"/>
                    </a:lnTo>
                    <a:lnTo>
                      <a:pt x="676" y="129"/>
                    </a:lnTo>
                    <a:lnTo>
                      <a:pt x="676" y="129"/>
                    </a:lnTo>
                    <a:lnTo>
                      <a:pt x="676" y="118"/>
                    </a:lnTo>
                    <a:lnTo>
                      <a:pt x="674" y="107"/>
                    </a:lnTo>
                    <a:lnTo>
                      <a:pt x="672" y="98"/>
                    </a:lnTo>
                    <a:lnTo>
                      <a:pt x="667" y="88"/>
                    </a:lnTo>
                    <a:lnTo>
                      <a:pt x="663" y="78"/>
                    </a:lnTo>
                    <a:lnTo>
                      <a:pt x="659" y="71"/>
                    </a:lnTo>
                    <a:lnTo>
                      <a:pt x="652" y="62"/>
                    </a:lnTo>
                    <a:lnTo>
                      <a:pt x="646" y="55"/>
                    </a:lnTo>
                    <a:lnTo>
                      <a:pt x="638" y="48"/>
                    </a:lnTo>
                    <a:lnTo>
                      <a:pt x="630" y="42"/>
                    </a:lnTo>
                    <a:lnTo>
                      <a:pt x="622" y="38"/>
                    </a:lnTo>
                    <a:lnTo>
                      <a:pt x="613" y="33"/>
                    </a:lnTo>
                    <a:lnTo>
                      <a:pt x="603" y="29"/>
                    </a:lnTo>
                    <a:lnTo>
                      <a:pt x="593" y="27"/>
                    </a:lnTo>
                    <a:lnTo>
                      <a:pt x="583" y="25"/>
                    </a:lnTo>
                    <a:lnTo>
                      <a:pt x="573" y="25"/>
                    </a:lnTo>
                    <a:lnTo>
                      <a:pt x="573" y="25"/>
                    </a:lnTo>
                    <a:lnTo>
                      <a:pt x="561" y="25"/>
                    </a:lnTo>
                    <a:lnTo>
                      <a:pt x="561" y="25"/>
                    </a:lnTo>
                    <a:lnTo>
                      <a:pt x="568" y="34"/>
                    </a:lnTo>
                    <a:lnTo>
                      <a:pt x="574" y="43"/>
                    </a:lnTo>
                    <a:lnTo>
                      <a:pt x="578" y="53"/>
                    </a:lnTo>
                    <a:lnTo>
                      <a:pt x="583" y="63"/>
                    </a:lnTo>
                    <a:lnTo>
                      <a:pt x="586" y="73"/>
                    </a:lnTo>
                    <a:lnTo>
                      <a:pt x="588" y="84"/>
                    </a:lnTo>
                    <a:lnTo>
                      <a:pt x="589" y="95"/>
                    </a:lnTo>
                    <a:lnTo>
                      <a:pt x="590" y="106"/>
                    </a:lnTo>
                    <a:lnTo>
                      <a:pt x="590" y="106"/>
                    </a:lnTo>
                    <a:lnTo>
                      <a:pt x="589" y="123"/>
                    </a:lnTo>
                    <a:lnTo>
                      <a:pt x="586" y="140"/>
                    </a:lnTo>
                    <a:lnTo>
                      <a:pt x="580" y="156"/>
                    </a:lnTo>
                    <a:lnTo>
                      <a:pt x="573" y="170"/>
                    </a:lnTo>
                    <a:lnTo>
                      <a:pt x="564" y="184"/>
                    </a:lnTo>
                    <a:lnTo>
                      <a:pt x="554" y="197"/>
                    </a:lnTo>
                    <a:lnTo>
                      <a:pt x="542" y="208"/>
                    </a:lnTo>
                    <a:lnTo>
                      <a:pt x="529" y="218"/>
                    </a:lnTo>
                    <a:lnTo>
                      <a:pt x="529" y="218"/>
                    </a:lnTo>
                    <a:close/>
                    <a:moveTo>
                      <a:pt x="262" y="603"/>
                    </a:moveTo>
                    <a:lnTo>
                      <a:pt x="262" y="603"/>
                    </a:lnTo>
                    <a:lnTo>
                      <a:pt x="251" y="602"/>
                    </a:lnTo>
                    <a:lnTo>
                      <a:pt x="240" y="600"/>
                    </a:lnTo>
                    <a:lnTo>
                      <a:pt x="240" y="600"/>
                    </a:lnTo>
                    <a:lnTo>
                      <a:pt x="237" y="599"/>
                    </a:lnTo>
                    <a:lnTo>
                      <a:pt x="237" y="867"/>
                    </a:lnTo>
                    <a:lnTo>
                      <a:pt x="237" y="867"/>
                    </a:lnTo>
                    <a:lnTo>
                      <a:pt x="238" y="877"/>
                    </a:lnTo>
                    <a:lnTo>
                      <a:pt x="240" y="884"/>
                    </a:lnTo>
                    <a:lnTo>
                      <a:pt x="245" y="892"/>
                    </a:lnTo>
                    <a:lnTo>
                      <a:pt x="250" y="899"/>
                    </a:lnTo>
                    <a:lnTo>
                      <a:pt x="256" y="904"/>
                    </a:lnTo>
                    <a:lnTo>
                      <a:pt x="264" y="908"/>
                    </a:lnTo>
                    <a:lnTo>
                      <a:pt x="273" y="911"/>
                    </a:lnTo>
                    <a:lnTo>
                      <a:pt x="281" y="912"/>
                    </a:lnTo>
                    <a:lnTo>
                      <a:pt x="281" y="912"/>
                    </a:lnTo>
                    <a:lnTo>
                      <a:pt x="289" y="911"/>
                    </a:lnTo>
                    <a:lnTo>
                      <a:pt x="295" y="910"/>
                    </a:lnTo>
                    <a:lnTo>
                      <a:pt x="301" y="907"/>
                    </a:lnTo>
                    <a:lnTo>
                      <a:pt x="308" y="903"/>
                    </a:lnTo>
                    <a:lnTo>
                      <a:pt x="312" y="899"/>
                    </a:lnTo>
                    <a:lnTo>
                      <a:pt x="317" y="894"/>
                    </a:lnTo>
                    <a:lnTo>
                      <a:pt x="321" y="888"/>
                    </a:lnTo>
                    <a:lnTo>
                      <a:pt x="323" y="882"/>
                    </a:lnTo>
                    <a:lnTo>
                      <a:pt x="323" y="568"/>
                    </a:lnTo>
                    <a:lnTo>
                      <a:pt x="323" y="568"/>
                    </a:lnTo>
                    <a:lnTo>
                      <a:pt x="319" y="575"/>
                    </a:lnTo>
                    <a:lnTo>
                      <a:pt x="312" y="583"/>
                    </a:lnTo>
                    <a:lnTo>
                      <a:pt x="305" y="588"/>
                    </a:lnTo>
                    <a:lnTo>
                      <a:pt x="297" y="594"/>
                    </a:lnTo>
                    <a:lnTo>
                      <a:pt x="290" y="598"/>
                    </a:lnTo>
                    <a:lnTo>
                      <a:pt x="281" y="601"/>
                    </a:lnTo>
                    <a:lnTo>
                      <a:pt x="271" y="602"/>
                    </a:lnTo>
                    <a:lnTo>
                      <a:pt x="262" y="603"/>
                    </a:lnTo>
                    <a:lnTo>
                      <a:pt x="262" y="603"/>
                    </a:lnTo>
                    <a:close/>
                    <a:moveTo>
                      <a:pt x="733" y="305"/>
                    </a:moveTo>
                    <a:lnTo>
                      <a:pt x="733" y="305"/>
                    </a:lnTo>
                    <a:lnTo>
                      <a:pt x="730" y="295"/>
                    </a:lnTo>
                    <a:lnTo>
                      <a:pt x="725" y="286"/>
                    </a:lnTo>
                    <a:lnTo>
                      <a:pt x="721" y="279"/>
                    </a:lnTo>
                    <a:lnTo>
                      <a:pt x="715" y="272"/>
                    </a:lnTo>
                    <a:lnTo>
                      <a:pt x="707" y="268"/>
                    </a:lnTo>
                    <a:lnTo>
                      <a:pt x="700" y="264"/>
                    </a:lnTo>
                    <a:lnTo>
                      <a:pt x="690" y="261"/>
                    </a:lnTo>
                    <a:lnTo>
                      <a:pt x="679" y="261"/>
                    </a:lnTo>
                    <a:lnTo>
                      <a:pt x="641" y="261"/>
                    </a:lnTo>
                    <a:lnTo>
                      <a:pt x="641" y="261"/>
                    </a:lnTo>
                    <a:lnTo>
                      <a:pt x="644" y="271"/>
                    </a:lnTo>
                    <a:lnTo>
                      <a:pt x="648" y="282"/>
                    </a:lnTo>
                    <a:lnTo>
                      <a:pt x="648" y="282"/>
                    </a:lnTo>
                    <a:lnTo>
                      <a:pt x="718" y="511"/>
                    </a:lnTo>
                    <a:lnTo>
                      <a:pt x="718" y="511"/>
                    </a:lnTo>
                    <a:lnTo>
                      <a:pt x="720" y="522"/>
                    </a:lnTo>
                    <a:lnTo>
                      <a:pt x="721" y="534"/>
                    </a:lnTo>
                    <a:lnTo>
                      <a:pt x="720" y="544"/>
                    </a:lnTo>
                    <a:lnTo>
                      <a:pt x="717" y="555"/>
                    </a:lnTo>
                    <a:lnTo>
                      <a:pt x="717" y="555"/>
                    </a:lnTo>
                    <a:lnTo>
                      <a:pt x="720" y="564"/>
                    </a:lnTo>
                    <a:lnTo>
                      <a:pt x="725" y="571"/>
                    </a:lnTo>
                    <a:lnTo>
                      <a:pt x="731" y="577"/>
                    </a:lnTo>
                    <a:lnTo>
                      <a:pt x="738" y="581"/>
                    </a:lnTo>
                    <a:lnTo>
                      <a:pt x="746" y="584"/>
                    </a:lnTo>
                    <a:lnTo>
                      <a:pt x="754" y="586"/>
                    </a:lnTo>
                    <a:lnTo>
                      <a:pt x="763" y="586"/>
                    </a:lnTo>
                    <a:lnTo>
                      <a:pt x="771" y="584"/>
                    </a:lnTo>
                    <a:lnTo>
                      <a:pt x="771" y="584"/>
                    </a:lnTo>
                    <a:lnTo>
                      <a:pt x="780" y="581"/>
                    </a:lnTo>
                    <a:lnTo>
                      <a:pt x="788" y="575"/>
                    </a:lnTo>
                    <a:lnTo>
                      <a:pt x="794" y="570"/>
                    </a:lnTo>
                    <a:lnTo>
                      <a:pt x="798" y="563"/>
                    </a:lnTo>
                    <a:lnTo>
                      <a:pt x="801" y="555"/>
                    </a:lnTo>
                    <a:lnTo>
                      <a:pt x="803" y="547"/>
                    </a:lnTo>
                    <a:lnTo>
                      <a:pt x="803" y="538"/>
                    </a:lnTo>
                    <a:lnTo>
                      <a:pt x="801" y="529"/>
                    </a:lnTo>
                    <a:lnTo>
                      <a:pt x="801" y="529"/>
                    </a:lnTo>
                    <a:lnTo>
                      <a:pt x="733" y="305"/>
                    </a:lnTo>
                    <a:lnTo>
                      <a:pt x="733" y="305"/>
                    </a:lnTo>
                    <a:close/>
                    <a:moveTo>
                      <a:pt x="310" y="226"/>
                    </a:moveTo>
                    <a:lnTo>
                      <a:pt x="310" y="226"/>
                    </a:lnTo>
                    <a:lnTo>
                      <a:pt x="319" y="223"/>
                    </a:lnTo>
                    <a:lnTo>
                      <a:pt x="328" y="220"/>
                    </a:lnTo>
                    <a:lnTo>
                      <a:pt x="338" y="219"/>
                    </a:lnTo>
                    <a:lnTo>
                      <a:pt x="348" y="218"/>
                    </a:lnTo>
                    <a:lnTo>
                      <a:pt x="386" y="218"/>
                    </a:lnTo>
                    <a:lnTo>
                      <a:pt x="386" y="218"/>
                    </a:lnTo>
                    <a:lnTo>
                      <a:pt x="373" y="208"/>
                    </a:lnTo>
                    <a:lnTo>
                      <a:pt x="362" y="197"/>
                    </a:lnTo>
                    <a:lnTo>
                      <a:pt x="351" y="184"/>
                    </a:lnTo>
                    <a:lnTo>
                      <a:pt x="342" y="170"/>
                    </a:lnTo>
                    <a:lnTo>
                      <a:pt x="335" y="156"/>
                    </a:lnTo>
                    <a:lnTo>
                      <a:pt x="329" y="140"/>
                    </a:lnTo>
                    <a:lnTo>
                      <a:pt x="326" y="123"/>
                    </a:lnTo>
                    <a:lnTo>
                      <a:pt x="325" y="106"/>
                    </a:lnTo>
                    <a:lnTo>
                      <a:pt x="325" y="106"/>
                    </a:lnTo>
                    <a:lnTo>
                      <a:pt x="326" y="95"/>
                    </a:lnTo>
                    <a:lnTo>
                      <a:pt x="327" y="84"/>
                    </a:lnTo>
                    <a:lnTo>
                      <a:pt x="329" y="73"/>
                    </a:lnTo>
                    <a:lnTo>
                      <a:pt x="333" y="63"/>
                    </a:lnTo>
                    <a:lnTo>
                      <a:pt x="337" y="53"/>
                    </a:lnTo>
                    <a:lnTo>
                      <a:pt x="342" y="43"/>
                    </a:lnTo>
                    <a:lnTo>
                      <a:pt x="348" y="34"/>
                    </a:lnTo>
                    <a:lnTo>
                      <a:pt x="354" y="25"/>
                    </a:lnTo>
                    <a:lnTo>
                      <a:pt x="354" y="25"/>
                    </a:lnTo>
                    <a:lnTo>
                      <a:pt x="343" y="25"/>
                    </a:lnTo>
                    <a:lnTo>
                      <a:pt x="343" y="25"/>
                    </a:lnTo>
                    <a:lnTo>
                      <a:pt x="333" y="25"/>
                    </a:lnTo>
                    <a:lnTo>
                      <a:pt x="322" y="27"/>
                    </a:lnTo>
                    <a:lnTo>
                      <a:pt x="312" y="29"/>
                    </a:lnTo>
                    <a:lnTo>
                      <a:pt x="303" y="33"/>
                    </a:lnTo>
                    <a:lnTo>
                      <a:pt x="294" y="38"/>
                    </a:lnTo>
                    <a:lnTo>
                      <a:pt x="285" y="42"/>
                    </a:lnTo>
                    <a:lnTo>
                      <a:pt x="277" y="48"/>
                    </a:lnTo>
                    <a:lnTo>
                      <a:pt x="269" y="55"/>
                    </a:lnTo>
                    <a:lnTo>
                      <a:pt x="263" y="62"/>
                    </a:lnTo>
                    <a:lnTo>
                      <a:pt x="258" y="71"/>
                    </a:lnTo>
                    <a:lnTo>
                      <a:pt x="252" y="78"/>
                    </a:lnTo>
                    <a:lnTo>
                      <a:pt x="248" y="88"/>
                    </a:lnTo>
                    <a:lnTo>
                      <a:pt x="244" y="98"/>
                    </a:lnTo>
                    <a:lnTo>
                      <a:pt x="241" y="107"/>
                    </a:lnTo>
                    <a:lnTo>
                      <a:pt x="240" y="118"/>
                    </a:lnTo>
                    <a:lnTo>
                      <a:pt x="239" y="129"/>
                    </a:lnTo>
                    <a:lnTo>
                      <a:pt x="239" y="129"/>
                    </a:lnTo>
                    <a:lnTo>
                      <a:pt x="239" y="136"/>
                    </a:lnTo>
                    <a:lnTo>
                      <a:pt x="240" y="145"/>
                    </a:lnTo>
                    <a:lnTo>
                      <a:pt x="242" y="153"/>
                    </a:lnTo>
                    <a:lnTo>
                      <a:pt x="245" y="161"/>
                    </a:lnTo>
                    <a:lnTo>
                      <a:pt x="251" y="176"/>
                    </a:lnTo>
                    <a:lnTo>
                      <a:pt x="259" y="189"/>
                    </a:lnTo>
                    <a:lnTo>
                      <a:pt x="269" y="201"/>
                    </a:lnTo>
                    <a:lnTo>
                      <a:pt x="281" y="211"/>
                    </a:lnTo>
                    <a:lnTo>
                      <a:pt x="295" y="220"/>
                    </a:lnTo>
                    <a:lnTo>
                      <a:pt x="310" y="226"/>
                    </a:lnTo>
                    <a:lnTo>
                      <a:pt x="310" y="226"/>
                    </a:lnTo>
                    <a:close/>
                    <a:moveTo>
                      <a:pt x="649" y="603"/>
                    </a:moveTo>
                    <a:lnTo>
                      <a:pt x="649" y="603"/>
                    </a:lnTo>
                    <a:lnTo>
                      <a:pt x="639" y="602"/>
                    </a:lnTo>
                    <a:lnTo>
                      <a:pt x="631" y="601"/>
                    </a:lnTo>
                    <a:lnTo>
                      <a:pt x="621" y="598"/>
                    </a:lnTo>
                    <a:lnTo>
                      <a:pt x="614" y="594"/>
                    </a:lnTo>
                    <a:lnTo>
                      <a:pt x="606" y="588"/>
                    </a:lnTo>
                    <a:lnTo>
                      <a:pt x="599" y="583"/>
                    </a:lnTo>
                    <a:lnTo>
                      <a:pt x="593" y="575"/>
                    </a:lnTo>
                    <a:lnTo>
                      <a:pt x="588" y="568"/>
                    </a:lnTo>
                    <a:lnTo>
                      <a:pt x="588" y="882"/>
                    </a:lnTo>
                    <a:lnTo>
                      <a:pt x="588" y="882"/>
                    </a:lnTo>
                    <a:lnTo>
                      <a:pt x="590" y="888"/>
                    </a:lnTo>
                    <a:lnTo>
                      <a:pt x="594" y="894"/>
                    </a:lnTo>
                    <a:lnTo>
                      <a:pt x="599" y="899"/>
                    </a:lnTo>
                    <a:lnTo>
                      <a:pt x="604" y="903"/>
                    </a:lnTo>
                    <a:lnTo>
                      <a:pt x="609" y="907"/>
                    </a:lnTo>
                    <a:lnTo>
                      <a:pt x="616" y="910"/>
                    </a:lnTo>
                    <a:lnTo>
                      <a:pt x="622" y="911"/>
                    </a:lnTo>
                    <a:lnTo>
                      <a:pt x="630" y="912"/>
                    </a:lnTo>
                    <a:lnTo>
                      <a:pt x="630" y="912"/>
                    </a:lnTo>
                    <a:lnTo>
                      <a:pt x="638" y="911"/>
                    </a:lnTo>
                    <a:lnTo>
                      <a:pt x="647" y="908"/>
                    </a:lnTo>
                    <a:lnTo>
                      <a:pt x="654" y="904"/>
                    </a:lnTo>
                    <a:lnTo>
                      <a:pt x="661" y="899"/>
                    </a:lnTo>
                    <a:lnTo>
                      <a:pt x="666" y="892"/>
                    </a:lnTo>
                    <a:lnTo>
                      <a:pt x="671" y="884"/>
                    </a:lnTo>
                    <a:lnTo>
                      <a:pt x="673" y="877"/>
                    </a:lnTo>
                    <a:lnTo>
                      <a:pt x="674" y="867"/>
                    </a:lnTo>
                    <a:lnTo>
                      <a:pt x="674" y="599"/>
                    </a:lnTo>
                    <a:lnTo>
                      <a:pt x="674" y="599"/>
                    </a:lnTo>
                    <a:lnTo>
                      <a:pt x="671" y="600"/>
                    </a:lnTo>
                    <a:lnTo>
                      <a:pt x="671" y="600"/>
                    </a:lnTo>
                    <a:lnTo>
                      <a:pt x="660" y="602"/>
                    </a:lnTo>
                    <a:lnTo>
                      <a:pt x="649" y="603"/>
                    </a:lnTo>
                    <a:lnTo>
                      <a:pt x="649" y="603"/>
                    </a:lnTo>
                    <a:close/>
                    <a:moveTo>
                      <a:pt x="194" y="555"/>
                    </a:moveTo>
                    <a:lnTo>
                      <a:pt x="194" y="555"/>
                    </a:lnTo>
                    <a:lnTo>
                      <a:pt x="192" y="544"/>
                    </a:lnTo>
                    <a:lnTo>
                      <a:pt x="191" y="534"/>
                    </a:lnTo>
                    <a:lnTo>
                      <a:pt x="191" y="522"/>
                    </a:lnTo>
                    <a:lnTo>
                      <a:pt x="194" y="511"/>
                    </a:lnTo>
                    <a:lnTo>
                      <a:pt x="194" y="511"/>
                    </a:lnTo>
                    <a:lnTo>
                      <a:pt x="230" y="397"/>
                    </a:lnTo>
                    <a:lnTo>
                      <a:pt x="254" y="317"/>
                    </a:lnTo>
                    <a:lnTo>
                      <a:pt x="270" y="268"/>
                    </a:lnTo>
                    <a:lnTo>
                      <a:pt x="270" y="268"/>
                    </a:lnTo>
                    <a:lnTo>
                      <a:pt x="274" y="261"/>
                    </a:lnTo>
                    <a:lnTo>
                      <a:pt x="236" y="261"/>
                    </a:lnTo>
                    <a:lnTo>
                      <a:pt x="236" y="261"/>
                    </a:lnTo>
                    <a:lnTo>
                      <a:pt x="226" y="261"/>
                    </a:lnTo>
                    <a:lnTo>
                      <a:pt x="218" y="264"/>
                    </a:lnTo>
                    <a:lnTo>
                      <a:pt x="210" y="267"/>
                    </a:lnTo>
                    <a:lnTo>
                      <a:pt x="203" y="270"/>
                    </a:lnTo>
                    <a:lnTo>
                      <a:pt x="196" y="275"/>
                    </a:lnTo>
                    <a:lnTo>
                      <a:pt x="191" y="281"/>
                    </a:lnTo>
                    <a:lnTo>
                      <a:pt x="187" y="287"/>
                    </a:lnTo>
                    <a:lnTo>
                      <a:pt x="185" y="294"/>
                    </a:lnTo>
                    <a:lnTo>
                      <a:pt x="185" y="294"/>
                    </a:lnTo>
                    <a:lnTo>
                      <a:pt x="168" y="341"/>
                    </a:lnTo>
                    <a:lnTo>
                      <a:pt x="144" y="420"/>
                    </a:lnTo>
                    <a:lnTo>
                      <a:pt x="109" y="529"/>
                    </a:lnTo>
                    <a:lnTo>
                      <a:pt x="109" y="529"/>
                    </a:lnTo>
                    <a:lnTo>
                      <a:pt x="108" y="538"/>
                    </a:lnTo>
                    <a:lnTo>
                      <a:pt x="108" y="547"/>
                    </a:lnTo>
                    <a:lnTo>
                      <a:pt x="109" y="555"/>
                    </a:lnTo>
                    <a:lnTo>
                      <a:pt x="113" y="563"/>
                    </a:lnTo>
                    <a:lnTo>
                      <a:pt x="118" y="570"/>
                    </a:lnTo>
                    <a:lnTo>
                      <a:pt x="123" y="575"/>
                    </a:lnTo>
                    <a:lnTo>
                      <a:pt x="131" y="581"/>
                    </a:lnTo>
                    <a:lnTo>
                      <a:pt x="139" y="584"/>
                    </a:lnTo>
                    <a:lnTo>
                      <a:pt x="139" y="584"/>
                    </a:lnTo>
                    <a:lnTo>
                      <a:pt x="148" y="586"/>
                    </a:lnTo>
                    <a:lnTo>
                      <a:pt x="157" y="586"/>
                    </a:lnTo>
                    <a:lnTo>
                      <a:pt x="165" y="584"/>
                    </a:lnTo>
                    <a:lnTo>
                      <a:pt x="173" y="581"/>
                    </a:lnTo>
                    <a:lnTo>
                      <a:pt x="180" y="577"/>
                    </a:lnTo>
                    <a:lnTo>
                      <a:pt x="186" y="571"/>
                    </a:lnTo>
                    <a:lnTo>
                      <a:pt x="191" y="564"/>
                    </a:lnTo>
                    <a:lnTo>
                      <a:pt x="194" y="555"/>
                    </a:lnTo>
                    <a:lnTo>
                      <a:pt x="194" y="555"/>
                    </a:lnTo>
                    <a:close/>
                    <a:moveTo>
                      <a:pt x="622" y="289"/>
                    </a:moveTo>
                    <a:lnTo>
                      <a:pt x="622" y="289"/>
                    </a:lnTo>
                    <a:lnTo>
                      <a:pt x="619" y="279"/>
                    </a:lnTo>
                    <a:lnTo>
                      <a:pt x="615" y="269"/>
                    </a:lnTo>
                    <a:lnTo>
                      <a:pt x="611" y="261"/>
                    </a:lnTo>
                    <a:lnTo>
                      <a:pt x="604" y="255"/>
                    </a:lnTo>
                    <a:lnTo>
                      <a:pt x="597" y="250"/>
                    </a:lnTo>
                    <a:lnTo>
                      <a:pt x="588" y="246"/>
                    </a:lnTo>
                    <a:lnTo>
                      <a:pt x="578" y="244"/>
                    </a:lnTo>
                    <a:lnTo>
                      <a:pt x="568" y="243"/>
                    </a:lnTo>
                    <a:lnTo>
                      <a:pt x="516" y="243"/>
                    </a:lnTo>
                    <a:lnTo>
                      <a:pt x="516" y="243"/>
                    </a:lnTo>
                    <a:lnTo>
                      <a:pt x="516" y="243"/>
                    </a:lnTo>
                    <a:lnTo>
                      <a:pt x="395" y="243"/>
                    </a:lnTo>
                    <a:lnTo>
                      <a:pt x="395" y="243"/>
                    </a:lnTo>
                    <a:lnTo>
                      <a:pt x="395" y="243"/>
                    </a:lnTo>
                    <a:lnTo>
                      <a:pt x="348" y="243"/>
                    </a:lnTo>
                    <a:lnTo>
                      <a:pt x="348" y="243"/>
                    </a:lnTo>
                    <a:lnTo>
                      <a:pt x="338" y="244"/>
                    </a:lnTo>
                    <a:lnTo>
                      <a:pt x="329" y="245"/>
                    </a:lnTo>
                    <a:lnTo>
                      <a:pt x="321" y="249"/>
                    </a:lnTo>
                    <a:lnTo>
                      <a:pt x="314" y="253"/>
                    </a:lnTo>
                    <a:lnTo>
                      <a:pt x="307" y="258"/>
                    </a:lnTo>
                    <a:lnTo>
                      <a:pt x="301" y="264"/>
                    </a:lnTo>
                    <a:lnTo>
                      <a:pt x="297" y="270"/>
                    </a:lnTo>
                    <a:lnTo>
                      <a:pt x="295" y="276"/>
                    </a:lnTo>
                    <a:lnTo>
                      <a:pt x="295" y="276"/>
                    </a:lnTo>
                    <a:lnTo>
                      <a:pt x="279" y="325"/>
                    </a:lnTo>
                    <a:lnTo>
                      <a:pt x="253" y="407"/>
                    </a:lnTo>
                    <a:lnTo>
                      <a:pt x="218" y="519"/>
                    </a:lnTo>
                    <a:lnTo>
                      <a:pt x="218" y="519"/>
                    </a:lnTo>
                    <a:lnTo>
                      <a:pt x="217" y="527"/>
                    </a:lnTo>
                    <a:lnTo>
                      <a:pt x="217" y="537"/>
                    </a:lnTo>
                    <a:lnTo>
                      <a:pt x="218" y="545"/>
                    </a:lnTo>
                    <a:lnTo>
                      <a:pt x="221" y="553"/>
                    </a:lnTo>
                    <a:lnTo>
                      <a:pt x="226" y="560"/>
                    </a:lnTo>
                    <a:lnTo>
                      <a:pt x="233" y="567"/>
                    </a:lnTo>
                    <a:lnTo>
                      <a:pt x="240" y="572"/>
                    </a:lnTo>
                    <a:lnTo>
                      <a:pt x="248" y="575"/>
                    </a:lnTo>
                    <a:lnTo>
                      <a:pt x="248" y="575"/>
                    </a:lnTo>
                    <a:lnTo>
                      <a:pt x="258" y="578"/>
                    </a:lnTo>
                    <a:lnTo>
                      <a:pt x="266" y="578"/>
                    </a:lnTo>
                    <a:lnTo>
                      <a:pt x="275" y="575"/>
                    </a:lnTo>
                    <a:lnTo>
                      <a:pt x="283" y="572"/>
                    </a:lnTo>
                    <a:lnTo>
                      <a:pt x="291" y="567"/>
                    </a:lnTo>
                    <a:lnTo>
                      <a:pt x="297" y="562"/>
                    </a:lnTo>
                    <a:lnTo>
                      <a:pt x="301" y="554"/>
                    </a:lnTo>
                    <a:lnTo>
                      <a:pt x="306" y="545"/>
                    </a:lnTo>
                    <a:lnTo>
                      <a:pt x="349" y="405"/>
                    </a:lnTo>
                    <a:lnTo>
                      <a:pt x="349" y="532"/>
                    </a:lnTo>
                    <a:lnTo>
                      <a:pt x="349" y="866"/>
                    </a:lnTo>
                    <a:lnTo>
                      <a:pt x="349" y="866"/>
                    </a:lnTo>
                    <a:lnTo>
                      <a:pt x="350" y="876"/>
                    </a:lnTo>
                    <a:lnTo>
                      <a:pt x="353" y="884"/>
                    </a:lnTo>
                    <a:lnTo>
                      <a:pt x="357" y="892"/>
                    </a:lnTo>
                    <a:lnTo>
                      <a:pt x="363" y="898"/>
                    </a:lnTo>
                    <a:lnTo>
                      <a:pt x="369" y="903"/>
                    </a:lnTo>
                    <a:lnTo>
                      <a:pt x="377" y="908"/>
                    </a:lnTo>
                    <a:lnTo>
                      <a:pt x="385" y="911"/>
                    </a:lnTo>
                    <a:lnTo>
                      <a:pt x="395" y="912"/>
                    </a:lnTo>
                    <a:lnTo>
                      <a:pt x="395" y="912"/>
                    </a:lnTo>
                    <a:lnTo>
                      <a:pt x="403" y="911"/>
                    </a:lnTo>
                    <a:lnTo>
                      <a:pt x="412" y="908"/>
                    </a:lnTo>
                    <a:lnTo>
                      <a:pt x="421" y="903"/>
                    </a:lnTo>
                    <a:lnTo>
                      <a:pt x="427" y="898"/>
                    </a:lnTo>
                    <a:lnTo>
                      <a:pt x="432" y="892"/>
                    </a:lnTo>
                    <a:lnTo>
                      <a:pt x="437" y="884"/>
                    </a:lnTo>
                    <a:lnTo>
                      <a:pt x="440" y="876"/>
                    </a:lnTo>
                    <a:lnTo>
                      <a:pt x="440" y="866"/>
                    </a:lnTo>
                    <a:lnTo>
                      <a:pt x="440" y="578"/>
                    </a:lnTo>
                    <a:lnTo>
                      <a:pt x="471" y="578"/>
                    </a:lnTo>
                    <a:lnTo>
                      <a:pt x="471" y="866"/>
                    </a:lnTo>
                    <a:lnTo>
                      <a:pt x="471" y="866"/>
                    </a:lnTo>
                    <a:lnTo>
                      <a:pt x="472" y="876"/>
                    </a:lnTo>
                    <a:lnTo>
                      <a:pt x="474" y="884"/>
                    </a:lnTo>
                    <a:lnTo>
                      <a:pt x="479" y="892"/>
                    </a:lnTo>
                    <a:lnTo>
                      <a:pt x="484" y="898"/>
                    </a:lnTo>
                    <a:lnTo>
                      <a:pt x="491" y="903"/>
                    </a:lnTo>
                    <a:lnTo>
                      <a:pt x="499" y="908"/>
                    </a:lnTo>
                    <a:lnTo>
                      <a:pt x="508" y="911"/>
                    </a:lnTo>
                    <a:lnTo>
                      <a:pt x="516" y="912"/>
                    </a:lnTo>
                    <a:lnTo>
                      <a:pt x="516" y="912"/>
                    </a:lnTo>
                    <a:lnTo>
                      <a:pt x="526" y="911"/>
                    </a:lnTo>
                    <a:lnTo>
                      <a:pt x="534" y="908"/>
                    </a:lnTo>
                    <a:lnTo>
                      <a:pt x="542" y="903"/>
                    </a:lnTo>
                    <a:lnTo>
                      <a:pt x="548" y="898"/>
                    </a:lnTo>
                    <a:lnTo>
                      <a:pt x="555" y="892"/>
                    </a:lnTo>
                    <a:lnTo>
                      <a:pt x="558" y="884"/>
                    </a:lnTo>
                    <a:lnTo>
                      <a:pt x="561" y="876"/>
                    </a:lnTo>
                    <a:lnTo>
                      <a:pt x="562" y="866"/>
                    </a:lnTo>
                    <a:lnTo>
                      <a:pt x="562" y="532"/>
                    </a:lnTo>
                    <a:lnTo>
                      <a:pt x="562" y="405"/>
                    </a:lnTo>
                    <a:lnTo>
                      <a:pt x="605" y="545"/>
                    </a:lnTo>
                    <a:lnTo>
                      <a:pt x="605" y="545"/>
                    </a:lnTo>
                    <a:lnTo>
                      <a:pt x="609" y="554"/>
                    </a:lnTo>
                    <a:lnTo>
                      <a:pt x="615" y="562"/>
                    </a:lnTo>
                    <a:lnTo>
                      <a:pt x="620" y="567"/>
                    </a:lnTo>
                    <a:lnTo>
                      <a:pt x="628" y="572"/>
                    </a:lnTo>
                    <a:lnTo>
                      <a:pt x="636" y="575"/>
                    </a:lnTo>
                    <a:lnTo>
                      <a:pt x="645" y="578"/>
                    </a:lnTo>
                    <a:lnTo>
                      <a:pt x="653" y="578"/>
                    </a:lnTo>
                    <a:lnTo>
                      <a:pt x="663" y="575"/>
                    </a:lnTo>
                    <a:lnTo>
                      <a:pt x="663" y="575"/>
                    </a:lnTo>
                    <a:lnTo>
                      <a:pt x="672" y="572"/>
                    </a:lnTo>
                    <a:lnTo>
                      <a:pt x="679" y="567"/>
                    </a:lnTo>
                    <a:lnTo>
                      <a:pt x="685" y="560"/>
                    </a:lnTo>
                    <a:lnTo>
                      <a:pt x="690" y="553"/>
                    </a:lnTo>
                    <a:lnTo>
                      <a:pt x="693" y="545"/>
                    </a:lnTo>
                    <a:lnTo>
                      <a:pt x="694" y="537"/>
                    </a:lnTo>
                    <a:lnTo>
                      <a:pt x="694" y="527"/>
                    </a:lnTo>
                    <a:lnTo>
                      <a:pt x="693" y="519"/>
                    </a:lnTo>
                    <a:lnTo>
                      <a:pt x="693" y="519"/>
                    </a:lnTo>
                    <a:lnTo>
                      <a:pt x="622" y="289"/>
                    </a:lnTo>
                    <a:lnTo>
                      <a:pt x="622" y="289"/>
                    </a:lnTo>
                    <a:close/>
                    <a:moveTo>
                      <a:pt x="458" y="213"/>
                    </a:moveTo>
                    <a:lnTo>
                      <a:pt x="458" y="213"/>
                    </a:lnTo>
                    <a:lnTo>
                      <a:pt x="469" y="212"/>
                    </a:lnTo>
                    <a:lnTo>
                      <a:pt x="480" y="211"/>
                    </a:lnTo>
                    <a:lnTo>
                      <a:pt x="489" y="208"/>
                    </a:lnTo>
                    <a:lnTo>
                      <a:pt x="499" y="205"/>
                    </a:lnTo>
                    <a:lnTo>
                      <a:pt x="509" y="200"/>
                    </a:lnTo>
                    <a:lnTo>
                      <a:pt x="517" y="195"/>
                    </a:lnTo>
                    <a:lnTo>
                      <a:pt x="526" y="189"/>
                    </a:lnTo>
                    <a:lnTo>
                      <a:pt x="533" y="182"/>
                    </a:lnTo>
                    <a:lnTo>
                      <a:pt x="540" y="175"/>
                    </a:lnTo>
                    <a:lnTo>
                      <a:pt x="546" y="166"/>
                    </a:lnTo>
                    <a:lnTo>
                      <a:pt x="551" y="158"/>
                    </a:lnTo>
                    <a:lnTo>
                      <a:pt x="556" y="148"/>
                    </a:lnTo>
                    <a:lnTo>
                      <a:pt x="559" y="138"/>
                    </a:lnTo>
                    <a:lnTo>
                      <a:pt x="562" y="128"/>
                    </a:lnTo>
                    <a:lnTo>
                      <a:pt x="563" y="118"/>
                    </a:lnTo>
                    <a:lnTo>
                      <a:pt x="564" y="106"/>
                    </a:lnTo>
                    <a:lnTo>
                      <a:pt x="564" y="106"/>
                    </a:lnTo>
                    <a:lnTo>
                      <a:pt x="563" y="95"/>
                    </a:lnTo>
                    <a:lnTo>
                      <a:pt x="562" y="85"/>
                    </a:lnTo>
                    <a:lnTo>
                      <a:pt x="559" y="75"/>
                    </a:lnTo>
                    <a:lnTo>
                      <a:pt x="556" y="65"/>
                    </a:lnTo>
                    <a:lnTo>
                      <a:pt x="551" y="56"/>
                    </a:lnTo>
                    <a:lnTo>
                      <a:pt x="546" y="47"/>
                    </a:lnTo>
                    <a:lnTo>
                      <a:pt x="540" y="39"/>
                    </a:lnTo>
                    <a:lnTo>
                      <a:pt x="533" y="31"/>
                    </a:lnTo>
                    <a:lnTo>
                      <a:pt x="526" y="25"/>
                    </a:lnTo>
                    <a:lnTo>
                      <a:pt x="517" y="18"/>
                    </a:lnTo>
                    <a:lnTo>
                      <a:pt x="509" y="13"/>
                    </a:lnTo>
                    <a:lnTo>
                      <a:pt x="499" y="9"/>
                    </a:lnTo>
                    <a:lnTo>
                      <a:pt x="489" y="5"/>
                    </a:lnTo>
                    <a:lnTo>
                      <a:pt x="480" y="2"/>
                    </a:lnTo>
                    <a:lnTo>
                      <a:pt x="469" y="1"/>
                    </a:lnTo>
                    <a:lnTo>
                      <a:pt x="458" y="0"/>
                    </a:lnTo>
                    <a:lnTo>
                      <a:pt x="458" y="0"/>
                    </a:lnTo>
                    <a:lnTo>
                      <a:pt x="446" y="1"/>
                    </a:lnTo>
                    <a:lnTo>
                      <a:pt x="437" y="2"/>
                    </a:lnTo>
                    <a:lnTo>
                      <a:pt x="426" y="5"/>
                    </a:lnTo>
                    <a:lnTo>
                      <a:pt x="416" y="9"/>
                    </a:lnTo>
                    <a:lnTo>
                      <a:pt x="407" y="13"/>
                    </a:lnTo>
                    <a:lnTo>
                      <a:pt x="398" y="18"/>
                    </a:lnTo>
                    <a:lnTo>
                      <a:pt x="389" y="25"/>
                    </a:lnTo>
                    <a:lnTo>
                      <a:pt x="382" y="31"/>
                    </a:lnTo>
                    <a:lnTo>
                      <a:pt x="376" y="39"/>
                    </a:lnTo>
                    <a:lnTo>
                      <a:pt x="369" y="47"/>
                    </a:lnTo>
                    <a:lnTo>
                      <a:pt x="364" y="56"/>
                    </a:lnTo>
                    <a:lnTo>
                      <a:pt x="359" y="65"/>
                    </a:lnTo>
                    <a:lnTo>
                      <a:pt x="356" y="75"/>
                    </a:lnTo>
                    <a:lnTo>
                      <a:pt x="353" y="85"/>
                    </a:lnTo>
                    <a:lnTo>
                      <a:pt x="352" y="95"/>
                    </a:lnTo>
                    <a:lnTo>
                      <a:pt x="351" y="106"/>
                    </a:lnTo>
                    <a:lnTo>
                      <a:pt x="351" y="106"/>
                    </a:lnTo>
                    <a:lnTo>
                      <a:pt x="352" y="118"/>
                    </a:lnTo>
                    <a:lnTo>
                      <a:pt x="353" y="128"/>
                    </a:lnTo>
                    <a:lnTo>
                      <a:pt x="356" y="138"/>
                    </a:lnTo>
                    <a:lnTo>
                      <a:pt x="359" y="148"/>
                    </a:lnTo>
                    <a:lnTo>
                      <a:pt x="364" y="158"/>
                    </a:lnTo>
                    <a:lnTo>
                      <a:pt x="369" y="166"/>
                    </a:lnTo>
                    <a:lnTo>
                      <a:pt x="376" y="175"/>
                    </a:lnTo>
                    <a:lnTo>
                      <a:pt x="382" y="182"/>
                    </a:lnTo>
                    <a:lnTo>
                      <a:pt x="389" y="189"/>
                    </a:lnTo>
                    <a:lnTo>
                      <a:pt x="398" y="195"/>
                    </a:lnTo>
                    <a:lnTo>
                      <a:pt x="407" y="200"/>
                    </a:lnTo>
                    <a:lnTo>
                      <a:pt x="416" y="205"/>
                    </a:lnTo>
                    <a:lnTo>
                      <a:pt x="426" y="208"/>
                    </a:lnTo>
                    <a:lnTo>
                      <a:pt x="437" y="211"/>
                    </a:lnTo>
                    <a:lnTo>
                      <a:pt x="446" y="212"/>
                    </a:lnTo>
                    <a:lnTo>
                      <a:pt x="458" y="213"/>
                    </a:lnTo>
                    <a:lnTo>
                      <a:pt x="458" y="213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21" name="TextBox 20"/>
              <p:cNvSpPr txBox="1"/>
              <p:nvPr/>
            </p:nvSpPr>
            <p:spPr>
              <a:xfrm>
                <a:off x="497222" y="4896149"/>
                <a:ext cx="1059584" cy="261610"/>
              </a:xfrm>
              <a:prstGeom prst="rect">
                <a:avLst/>
              </a:prstGeom>
              <a:noFill/>
            </p:spPr>
            <p:txBody>
              <a:bodyPr wrap="none" lIns="0" rIns="0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ru-RU" sz="1000" b="1" dirty="0" smtClean="0">
                    <a:solidFill>
                      <a:srgbClr val="2FB4E9"/>
                    </a:solidFill>
                    <a:latin typeface="Arial Narrow" panose="020B0606020202030204" pitchFamily="34" charset="0"/>
                  </a:rPr>
                  <a:t>Студенты</a:t>
                </a:r>
              </a:p>
              <a:p>
                <a:pPr algn="ctr">
                  <a:lnSpc>
                    <a:spcPts val="1000"/>
                  </a:lnSpc>
                </a:pPr>
                <a:r>
                  <a:rPr lang="ru-RU" sz="1000" b="1" dirty="0">
                    <a:solidFill>
                      <a:srgbClr val="2FB4E9"/>
                    </a:solidFill>
                    <a:latin typeface="Arial Narrow" panose="020B0606020202030204" pitchFamily="34" charset="0"/>
                  </a:rPr>
                  <a:t>п</a:t>
                </a:r>
                <a:r>
                  <a:rPr lang="ru-RU" sz="1000" b="1" dirty="0" smtClean="0">
                    <a:solidFill>
                      <a:srgbClr val="2FB4E9"/>
                    </a:solidFill>
                    <a:latin typeface="Arial Narrow" panose="020B0606020202030204" pitchFamily="34" charset="0"/>
                  </a:rPr>
                  <a:t>рофильных ВУЗов</a:t>
                </a:r>
              </a:p>
            </p:txBody>
          </p:sp>
        </p:grpSp>
        <p:grpSp>
          <p:nvGrpSpPr>
            <p:cNvPr id="22" name="Группа 21"/>
            <p:cNvGrpSpPr/>
            <p:nvPr/>
          </p:nvGrpSpPr>
          <p:grpSpPr>
            <a:xfrm>
              <a:off x="581140" y="2786098"/>
              <a:ext cx="625171" cy="711028"/>
              <a:chOff x="702591" y="5252301"/>
              <a:chExt cx="625171" cy="711028"/>
            </a:xfrm>
          </p:grpSpPr>
          <p:sp>
            <p:nvSpPr>
              <p:cNvPr id="23" name="Picture41"/>
              <p:cNvSpPr>
                <a:spLocks noChangeAspect="1" noEditPoints="1"/>
              </p:cNvSpPr>
              <p:nvPr/>
            </p:nvSpPr>
            <p:spPr bwMode="auto">
              <a:xfrm>
                <a:off x="913031" y="5252301"/>
                <a:ext cx="273943" cy="468000"/>
              </a:xfrm>
              <a:custGeom>
                <a:avLst/>
                <a:gdLst>
                  <a:gd name="T0" fmla="*/ 604 w 1022"/>
                  <a:gd name="T1" fmla="*/ 442 h 1746"/>
                  <a:gd name="T2" fmla="*/ 674 w 1022"/>
                  <a:gd name="T3" fmla="*/ 412 h 1746"/>
                  <a:gd name="T4" fmla="*/ 728 w 1022"/>
                  <a:gd name="T5" fmla="*/ 358 h 1746"/>
                  <a:gd name="T6" fmla="*/ 758 w 1022"/>
                  <a:gd name="T7" fmla="*/ 288 h 1746"/>
                  <a:gd name="T8" fmla="*/ 762 w 1022"/>
                  <a:gd name="T9" fmla="*/ 228 h 1746"/>
                  <a:gd name="T10" fmla="*/ 738 w 1022"/>
                  <a:gd name="T11" fmla="*/ 152 h 1746"/>
                  <a:gd name="T12" fmla="*/ 690 w 1022"/>
                  <a:gd name="T13" fmla="*/ 94 h 1746"/>
                  <a:gd name="T14" fmla="*/ 622 w 1022"/>
                  <a:gd name="T15" fmla="*/ 58 h 1746"/>
                  <a:gd name="T16" fmla="*/ 564 w 1022"/>
                  <a:gd name="T17" fmla="*/ 48 h 1746"/>
                  <a:gd name="T18" fmla="*/ 486 w 1022"/>
                  <a:gd name="T19" fmla="*/ 64 h 1746"/>
                  <a:gd name="T20" fmla="*/ 424 w 1022"/>
                  <a:gd name="T21" fmla="*/ 108 h 1746"/>
                  <a:gd name="T22" fmla="*/ 380 w 1022"/>
                  <a:gd name="T23" fmla="*/ 170 h 1746"/>
                  <a:gd name="T24" fmla="*/ 366 w 1022"/>
                  <a:gd name="T25" fmla="*/ 248 h 1746"/>
                  <a:gd name="T26" fmla="*/ 374 w 1022"/>
                  <a:gd name="T27" fmla="*/ 306 h 1746"/>
                  <a:gd name="T28" fmla="*/ 410 w 1022"/>
                  <a:gd name="T29" fmla="*/ 374 h 1746"/>
                  <a:gd name="T30" fmla="*/ 470 w 1022"/>
                  <a:gd name="T31" fmla="*/ 422 h 1746"/>
                  <a:gd name="T32" fmla="*/ 544 w 1022"/>
                  <a:gd name="T33" fmla="*/ 444 h 1746"/>
                  <a:gd name="T34" fmla="*/ 884 w 1022"/>
                  <a:gd name="T35" fmla="*/ 578 h 1746"/>
                  <a:gd name="T36" fmla="*/ 864 w 1022"/>
                  <a:gd name="T37" fmla="*/ 536 h 1746"/>
                  <a:gd name="T38" fmla="*/ 806 w 1022"/>
                  <a:gd name="T39" fmla="*/ 500 h 1746"/>
                  <a:gd name="T40" fmla="*/ 598 w 1022"/>
                  <a:gd name="T41" fmla="*/ 554 h 1746"/>
                  <a:gd name="T42" fmla="*/ 516 w 1022"/>
                  <a:gd name="T43" fmla="*/ 676 h 1746"/>
                  <a:gd name="T44" fmla="*/ 372 w 1022"/>
                  <a:gd name="T45" fmla="*/ 498 h 1746"/>
                  <a:gd name="T46" fmla="*/ 204 w 1022"/>
                  <a:gd name="T47" fmla="*/ 498 h 1746"/>
                  <a:gd name="T48" fmla="*/ 214 w 1022"/>
                  <a:gd name="T49" fmla="*/ 418 h 1746"/>
                  <a:gd name="T50" fmla="*/ 258 w 1022"/>
                  <a:gd name="T51" fmla="*/ 448 h 1746"/>
                  <a:gd name="T52" fmla="*/ 304 w 1022"/>
                  <a:gd name="T53" fmla="*/ 462 h 1746"/>
                  <a:gd name="T54" fmla="*/ 342 w 1022"/>
                  <a:gd name="T55" fmla="*/ 456 h 1746"/>
                  <a:gd name="T56" fmla="*/ 252 w 1022"/>
                  <a:gd name="T57" fmla="*/ 310 h 1746"/>
                  <a:gd name="T58" fmla="*/ 230 w 1022"/>
                  <a:gd name="T59" fmla="*/ 336 h 1746"/>
                  <a:gd name="T60" fmla="*/ 128 w 1022"/>
                  <a:gd name="T61" fmla="*/ 172 h 1746"/>
                  <a:gd name="T62" fmla="*/ 164 w 1022"/>
                  <a:gd name="T63" fmla="*/ 166 h 1746"/>
                  <a:gd name="T64" fmla="*/ 74 w 1022"/>
                  <a:gd name="T65" fmla="*/ 20 h 1746"/>
                  <a:gd name="T66" fmla="*/ 46 w 1022"/>
                  <a:gd name="T67" fmla="*/ 60 h 1746"/>
                  <a:gd name="T68" fmla="*/ 42 w 1022"/>
                  <a:gd name="T69" fmla="*/ 78 h 1746"/>
                  <a:gd name="T70" fmla="*/ 44 w 1022"/>
                  <a:gd name="T71" fmla="*/ 140 h 1746"/>
                  <a:gd name="T72" fmla="*/ 52 w 1022"/>
                  <a:gd name="T73" fmla="*/ 220 h 1746"/>
                  <a:gd name="T74" fmla="*/ 6 w 1022"/>
                  <a:gd name="T75" fmla="*/ 266 h 1746"/>
                  <a:gd name="T76" fmla="*/ 6 w 1022"/>
                  <a:gd name="T77" fmla="*/ 324 h 1746"/>
                  <a:gd name="T78" fmla="*/ 70 w 1022"/>
                  <a:gd name="T79" fmla="*/ 616 h 1746"/>
                  <a:gd name="T80" fmla="*/ 90 w 1022"/>
                  <a:gd name="T81" fmla="*/ 644 h 1746"/>
                  <a:gd name="T82" fmla="*/ 104 w 1022"/>
                  <a:gd name="T83" fmla="*/ 654 h 1746"/>
                  <a:gd name="T84" fmla="*/ 374 w 1022"/>
                  <a:gd name="T85" fmla="*/ 668 h 1746"/>
                  <a:gd name="T86" fmla="*/ 374 w 1022"/>
                  <a:gd name="T87" fmla="*/ 1660 h 1746"/>
                  <a:gd name="T88" fmla="*/ 398 w 1022"/>
                  <a:gd name="T89" fmla="*/ 1720 h 1746"/>
                  <a:gd name="T90" fmla="*/ 460 w 1022"/>
                  <a:gd name="T91" fmla="*/ 1746 h 1746"/>
                  <a:gd name="T92" fmla="*/ 506 w 1022"/>
                  <a:gd name="T93" fmla="*/ 1730 h 1746"/>
                  <a:gd name="T94" fmla="*/ 542 w 1022"/>
                  <a:gd name="T95" fmla="*/ 1678 h 1746"/>
                  <a:gd name="T96" fmla="*/ 600 w 1022"/>
                  <a:gd name="T97" fmla="*/ 1660 h 1746"/>
                  <a:gd name="T98" fmla="*/ 616 w 1022"/>
                  <a:gd name="T99" fmla="*/ 1708 h 1746"/>
                  <a:gd name="T100" fmla="*/ 668 w 1022"/>
                  <a:gd name="T101" fmla="*/ 1744 h 1746"/>
                  <a:gd name="T102" fmla="*/ 718 w 1022"/>
                  <a:gd name="T103" fmla="*/ 1738 h 1746"/>
                  <a:gd name="T104" fmla="*/ 764 w 1022"/>
                  <a:gd name="T105" fmla="*/ 1694 h 1746"/>
                  <a:gd name="T106" fmla="*/ 856 w 1022"/>
                  <a:gd name="T107" fmla="*/ 1062 h 1746"/>
                  <a:gd name="T108" fmla="*/ 884 w 1022"/>
                  <a:gd name="T109" fmla="*/ 1102 h 1746"/>
                  <a:gd name="T110" fmla="*/ 946 w 1022"/>
                  <a:gd name="T111" fmla="*/ 1122 h 1746"/>
                  <a:gd name="T112" fmla="*/ 992 w 1022"/>
                  <a:gd name="T113" fmla="*/ 1102 h 1746"/>
                  <a:gd name="T114" fmla="*/ 1022 w 1022"/>
                  <a:gd name="T115" fmla="*/ 1046 h 17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22" h="1746">
                    <a:moveTo>
                      <a:pt x="564" y="446"/>
                    </a:moveTo>
                    <a:lnTo>
                      <a:pt x="564" y="446"/>
                    </a:lnTo>
                    <a:lnTo>
                      <a:pt x="584" y="444"/>
                    </a:lnTo>
                    <a:lnTo>
                      <a:pt x="604" y="442"/>
                    </a:lnTo>
                    <a:lnTo>
                      <a:pt x="622" y="436"/>
                    </a:lnTo>
                    <a:lnTo>
                      <a:pt x="640" y="430"/>
                    </a:lnTo>
                    <a:lnTo>
                      <a:pt x="658" y="422"/>
                    </a:lnTo>
                    <a:lnTo>
                      <a:pt x="674" y="412"/>
                    </a:lnTo>
                    <a:lnTo>
                      <a:pt x="690" y="400"/>
                    </a:lnTo>
                    <a:lnTo>
                      <a:pt x="704" y="388"/>
                    </a:lnTo>
                    <a:lnTo>
                      <a:pt x="716" y="374"/>
                    </a:lnTo>
                    <a:lnTo>
                      <a:pt x="728" y="358"/>
                    </a:lnTo>
                    <a:lnTo>
                      <a:pt x="738" y="342"/>
                    </a:lnTo>
                    <a:lnTo>
                      <a:pt x="746" y="324"/>
                    </a:lnTo>
                    <a:lnTo>
                      <a:pt x="754" y="306"/>
                    </a:lnTo>
                    <a:lnTo>
                      <a:pt x="758" y="288"/>
                    </a:lnTo>
                    <a:lnTo>
                      <a:pt x="762" y="268"/>
                    </a:lnTo>
                    <a:lnTo>
                      <a:pt x="762" y="248"/>
                    </a:lnTo>
                    <a:lnTo>
                      <a:pt x="762" y="248"/>
                    </a:lnTo>
                    <a:lnTo>
                      <a:pt x="762" y="228"/>
                    </a:lnTo>
                    <a:lnTo>
                      <a:pt x="758" y="208"/>
                    </a:lnTo>
                    <a:lnTo>
                      <a:pt x="754" y="188"/>
                    </a:lnTo>
                    <a:lnTo>
                      <a:pt x="746" y="170"/>
                    </a:lnTo>
                    <a:lnTo>
                      <a:pt x="738" y="152"/>
                    </a:lnTo>
                    <a:lnTo>
                      <a:pt x="728" y="136"/>
                    </a:lnTo>
                    <a:lnTo>
                      <a:pt x="716" y="122"/>
                    </a:lnTo>
                    <a:lnTo>
                      <a:pt x="704" y="108"/>
                    </a:lnTo>
                    <a:lnTo>
                      <a:pt x="690" y="94"/>
                    </a:lnTo>
                    <a:lnTo>
                      <a:pt x="674" y="82"/>
                    </a:lnTo>
                    <a:lnTo>
                      <a:pt x="658" y="72"/>
                    </a:lnTo>
                    <a:lnTo>
                      <a:pt x="640" y="64"/>
                    </a:lnTo>
                    <a:lnTo>
                      <a:pt x="622" y="58"/>
                    </a:lnTo>
                    <a:lnTo>
                      <a:pt x="604" y="54"/>
                    </a:lnTo>
                    <a:lnTo>
                      <a:pt x="584" y="50"/>
                    </a:lnTo>
                    <a:lnTo>
                      <a:pt x="564" y="48"/>
                    </a:lnTo>
                    <a:lnTo>
                      <a:pt x="564" y="48"/>
                    </a:lnTo>
                    <a:lnTo>
                      <a:pt x="544" y="50"/>
                    </a:lnTo>
                    <a:lnTo>
                      <a:pt x="524" y="54"/>
                    </a:lnTo>
                    <a:lnTo>
                      <a:pt x="504" y="58"/>
                    </a:lnTo>
                    <a:lnTo>
                      <a:pt x="486" y="64"/>
                    </a:lnTo>
                    <a:lnTo>
                      <a:pt x="470" y="72"/>
                    </a:lnTo>
                    <a:lnTo>
                      <a:pt x="452" y="82"/>
                    </a:lnTo>
                    <a:lnTo>
                      <a:pt x="438" y="94"/>
                    </a:lnTo>
                    <a:lnTo>
                      <a:pt x="424" y="108"/>
                    </a:lnTo>
                    <a:lnTo>
                      <a:pt x="410" y="122"/>
                    </a:lnTo>
                    <a:lnTo>
                      <a:pt x="400" y="136"/>
                    </a:lnTo>
                    <a:lnTo>
                      <a:pt x="390" y="152"/>
                    </a:lnTo>
                    <a:lnTo>
                      <a:pt x="380" y="170"/>
                    </a:lnTo>
                    <a:lnTo>
                      <a:pt x="374" y="188"/>
                    </a:lnTo>
                    <a:lnTo>
                      <a:pt x="370" y="208"/>
                    </a:lnTo>
                    <a:lnTo>
                      <a:pt x="366" y="228"/>
                    </a:lnTo>
                    <a:lnTo>
                      <a:pt x="366" y="248"/>
                    </a:lnTo>
                    <a:lnTo>
                      <a:pt x="366" y="248"/>
                    </a:lnTo>
                    <a:lnTo>
                      <a:pt x="366" y="268"/>
                    </a:lnTo>
                    <a:lnTo>
                      <a:pt x="370" y="288"/>
                    </a:lnTo>
                    <a:lnTo>
                      <a:pt x="374" y="306"/>
                    </a:lnTo>
                    <a:lnTo>
                      <a:pt x="380" y="324"/>
                    </a:lnTo>
                    <a:lnTo>
                      <a:pt x="390" y="342"/>
                    </a:lnTo>
                    <a:lnTo>
                      <a:pt x="400" y="358"/>
                    </a:lnTo>
                    <a:lnTo>
                      <a:pt x="410" y="374"/>
                    </a:lnTo>
                    <a:lnTo>
                      <a:pt x="424" y="388"/>
                    </a:lnTo>
                    <a:lnTo>
                      <a:pt x="438" y="400"/>
                    </a:lnTo>
                    <a:lnTo>
                      <a:pt x="452" y="412"/>
                    </a:lnTo>
                    <a:lnTo>
                      <a:pt x="470" y="422"/>
                    </a:lnTo>
                    <a:lnTo>
                      <a:pt x="486" y="430"/>
                    </a:lnTo>
                    <a:lnTo>
                      <a:pt x="504" y="436"/>
                    </a:lnTo>
                    <a:lnTo>
                      <a:pt x="524" y="442"/>
                    </a:lnTo>
                    <a:lnTo>
                      <a:pt x="544" y="444"/>
                    </a:lnTo>
                    <a:lnTo>
                      <a:pt x="564" y="446"/>
                    </a:lnTo>
                    <a:lnTo>
                      <a:pt x="564" y="446"/>
                    </a:lnTo>
                    <a:close/>
                    <a:moveTo>
                      <a:pt x="1018" y="1012"/>
                    </a:moveTo>
                    <a:lnTo>
                      <a:pt x="884" y="578"/>
                    </a:lnTo>
                    <a:lnTo>
                      <a:pt x="884" y="578"/>
                    </a:lnTo>
                    <a:lnTo>
                      <a:pt x="880" y="564"/>
                    </a:lnTo>
                    <a:lnTo>
                      <a:pt x="872" y="550"/>
                    </a:lnTo>
                    <a:lnTo>
                      <a:pt x="864" y="536"/>
                    </a:lnTo>
                    <a:lnTo>
                      <a:pt x="854" y="524"/>
                    </a:lnTo>
                    <a:lnTo>
                      <a:pt x="842" y="514"/>
                    </a:lnTo>
                    <a:lnTo>
                      <a:pt x="826" y="506"/>
                    </a:lnTo>
                    <a:lnTo>
                      <a:pt x="806" y="500"/>
                    </a:lnTo>
                    <a:lnTo>
                      <a:pt x="782" y="498"/>
                    </a:lnTo>
                    <a:lnTo>
                      <a:pt x="710" y="498"/>
                    </a:lnTo>
                    <a:lnTo>
                      <a:pt x="622" y="676"/>
                    </a:lnTo>
                    <a:lnTo>
                      <a:pt x="598" y="554"/>
                    </a:lnTo>
                    <a:lnTo>
                      <a:pt x="654" y="498"/>
                    </a:lnTo>
                    <a:lnTo>
                      <a:pt x="484" y="498"/>
                    </a:lnTo>
                    <a:lnTo>
                      <a:pt x="540" y="554"/>
                    </a:lnTo>
                    <a:lnTo>
                      <a:pt x="516" y="676"/>
                    </a:lnTo>
                    <a:lnTo>
                      <a:pt x="428" y="498"/>
                    </a:lnTo>
                    <a:lnTo>
                      <a:pt x="372" y="498"/>
                    </a:lnTo>
                    <a:lnTo>
                      <a:pt x="372" y="498"/>
                    </a:lnTo>
                    <a:lnTo>
                      <a:pt x="372" y="498"/>
                    </a:lnTo>
                    <a:lnTo>
                      <a:pt x="364" y="498"/>
                    </a:lnTo>
                    <a:lnTo>
                      <a:pt x="364" y="498"/>
                    </a:lnTo>
                    <a:lnTo>
                      <a:pt x="364" y="498"/>
                    </a:lnTo>
                    <a:lnTo>
                      <a:pt x="204" y="498"/>
                    </a:lnTo>
                    <a:lnTo>
                      <a:pt x="180" y="388"/>
                    </a:lnTo>
                    <a:lnTo>
                      <a:pt x="180" y="388"/>
                    </a:lnTo>
                    <a:lnTo>
                      <a:pt x="198" y="404"/>
                    </a:lnTo>
                    <a:lnTo>
                      <a:pt x="214" y="418"/>
                    </a:lnTo>
                    <a:lnTo>
                      <a:pt x="232" y="430"/>
                    </a:lnTo>
                    <a:lnTo>
                      <a:pt x="248" y="440"/>
                    </a:lnTo>
                    <a:lnTo>
                      <a:pt x="248" y="440"/>
                    </a:lnTo>
                    <a:lnTo>
                      <a:pt x="258" y="448"/>
                    </a:lnTo>
                    <a:lnTo>
                      <a:pt x="268" y="454"/>
                    </a:lnTo>
                    <a:lnTo>
                      <a:pt x="280" y="458"/>
                    </a:lnTo>
                    <a:lnTo>
                      <a:pt x="292" y="462"/>
                    </a:lnTo>
                    <a:lnTo>
                      <a:pt x="304" y="462"/>
                    </a:lnTo>
                    <a:lnTo>
                      <a:pt x="316" y="462"/>
                    </a:lnTo>
                    <a:lnTo>
                      <a:pt x="328" y="460"/>
                    </a:lnTo>
                    <a:lnTo>
                      <a:pt x="340" y="454"/>
                    </a:lnTo>
                    <a:lnTo>
                      <a:pt x="342" y="456"/>
                    </a:lnTo>
                    <a:lnTo>
                      <a:pt x="374" y="436"/>
                    </a:lnTo>
                    <a:lnTo>
                      <a:pt x="284" y="29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40" y="322"/>
                    </a:lnTo>
                    <a:lnTo>
                      <a:pt x="230" y="336"/>
                    </a:lnTo>
                    <a:lnTo>
                      <a:pt x="230" y="336"/>
                    </a:lnTo>
                    <a:lnTo>
                      <a:pt x="204" y="298"/>
                    </a:lnTo>
                    <a:lnTo>
                      <a:pt x="176" y="256"/>
                    </a:lnTo>
                    <a:lnTo>
                      <a:pt x="150" y="214"/>
                    </a:lnTo>
                    <a:lnTo>
                      <a:pt x="128" y="172"/>
                    </a:lnTo>
                    <a:lnTo>
                      <a:pt x="128" y="172"/>
                    </a:lnTo>
                    <a:lnTo>
                      <a:pt x="146" y="170"/>
                    </a:lnTo>
                    <a:lnTo>
                      <a:pt x="162" y="164"/>
                    </a:lnTo>
                    <a:lnTo>
                      <a:pt x="164" y="166"/>
                    </a:lnTo>
                    <a:lnTo>
                      <a:pt x="196" y="146"/>
                    </a:lnTo>
                    <a:lnTo>
                      <a:pt x="106" y="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62" y="32"/>
                    </a:lnTo>
                    <a:lnTo>
                      <a:pt x="54" y="46"/>
                    </a:lnTo>
                    <a:lnTo>
                      <a:pt x="46" y="60"/>
                    </a:lnTo>
                    <a:lnTo>
                      <a:pt x="42" y="76"/>
                    </a:lnTo>
                    <a:lnTo>
                      <a:pt x="42" y="76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0" y="92"/>
                    </a:lnTo>
                    <a:lnTo>
                      <a:pt x="40" y="106"/>
                    </a:lnTo>
                    <a:lnTo>
                      <a:pt x="42" y="122"/>
                    </a:lnTo>
                    <a:lnTo>
                      <a:pt x="44" y="140"/>
                    </a:lnTo>
                    <a:lnTo>
                      <a:pt x="54" y="176"/>
                    </a:lnTo>
                    <a:lnTo>
                      <a:pt x="68" y="216"/>
                    </a:lnTo>
                    <a:lnTo>
                      <a:pt x="68" y="216"/>
                    </a:lnTo>
                    <a:lnTo>
                      <a:pt x="52" y="220"/>
                    </a:lnTo>
                    <a:lnTo>
                      <a:pt x="38" y="226"/>
                    </a:lnTo>
                    <a:lnTo>
                      <a:pt x="24" y="236"/>
                    </a:lnTo>
                    <a:lnTo>
                      <a:pt x="14" y="250"/>
                    </a:lnTo>
                    <a:lnTo>
                      <a:pt x="6" y="266"/>
                    </a:lnTo>
                    <a:lnTo>
                      <a:pt x="0" y="284"/>
                    </a:lnTo>
                    <a:lnTo>
                      <a:pt x="0" y="302"/>
                    </a:lnTo>
                    <a:lnTo>
                      <a:pt x="2" y="312"/>
                    </a:lnTo>
                    <a:lnTo>
                      <a:pt x="6" y="324"/>
                    </a:lnTo>
                    <a:lnTo>
                      <a:pt x="56" y="584"/>
                    </a:lnTo>
                    <a:lnTo>
                      <a:pt x="56" y="584"/>
                    </a:lnTo>
                    <a:lnTo>
                      <a:pt x="62" y="602"/>
                    </a:lnTo>
                    <a:lnTo>
                      <a:pt x="70" y="616"/>
                    </a:lnTo>
                    <a:lnTo>
                      <a:pt x="78" y="630"/>
                    </a:lnTo>
                    <a:lnTo>
                      <a:pt x="88" y="642"/>
                    </a:lnTo>
                    <a:lnTo>
                      <a:pt x="88" y="642"/>
                    </a:lnTo>
                    <a:lnTo>
                      <a:pt x="90" y="644"/>
                    </a:lnTo>
                    <a:lnTo>
                      <a:pt x="90" y="644"/>
                    </a:lnTo>
                    <a:lnTo>
                      <a:pt x="90" y="644"/>
                    </a:lnTo>
                    <a:lnTo>
                      <a:pt x="90" y="644"/>
                    </a:lnTo>
                    <a:lnTo>
                      <a:pt x="104" y="654"/>
                    </a:lnTo>
                    <a:lnTo>
                      <a:pt x="118" y="662"/>
                    </a:lnTo>
                    <a:lnTo>
                      <a:pt x="134" y="666"/>
                    </a:lnTo>
                    <a:lnTo>
                      <a:pt x="150" y="668"/>
                    </a:lnTo>
                    <a:lnTo>
                      <a:pt x="374" y="668"/>
                    </a:lnTo>
                    <a:lnTo>
                      <a:pt x="374" y="668"/>
                    </a:lnTo>
                    <a:lnTo>
                      <a:pt x="374" y="668"/>
                    </a:lnTo>
                    <a:lnTo>
                      <a:pt x="374" y="1660"/>
                    </a:lnTo>
                    <a:lnTo>
                      <a:pt x="374" y="1660"/>
                    </a:lnTo>
                    <a:lnTo>
                      <a:pt x="376" y="1678"/>
                    </a:lnTo>
                    <a:lnTo>
                      <a:pt x="380" y="1694"/>
                    </a:lnTo>
                    <a:lnTo>
                      <a:pt x="388" y="1708"/>
                    </a:lnTo>
                    <a:lnTo>
                      <a:pt x="398" y="1720"/>
                    </a:lnTo>
                    <a:lnTo>
                      <a:pt x="412" y="1730"/>
                    </a:lnTo>
                    <a:lnTo>
                      <a:pt x="426" y="1738"/>
                    </a:lnTo>
                    <a:lnTo>
                      <a:pt x="442" y="1744"/>
                    </a:lnTo>
                    <a:lnTo>
                      <a:pt x="460" y="1746"/>
                    </a:lnTo>
                    <a:lnTo>
                      <a:pt x="460" y="1746"/>
                    </a:lnTo>
                    <a:lnTo>
                      <a:pt x="476" y="1744"/>
                    </a:lnTo>
                    <a:lnTo>
                      <a:pt x="492" y="1738"/>
                    </a:lnTo>
                    <a:lnTo>
                      <a:pt x="506" y="1730"/>
                    </a:lnTo>
                    <a:lnTo>
                      <a:pt x="520" y="1720"/>
                    </a:lnTo>
                    <a:lnTo>
                      <a:pt x="530" y="1708"/>
                    </a:lnTo>
                    <a:lnTo>
                      <a:pt x="538" y="1694"/>
                    </a:lnTo>
                    <a:lnTo>
                      <a:pt x="542" y="1678"/>
                    </a:lnTo>
                    <a:lnTo>
                      <a:pt x="544" y="1660"/>
                    </a:lnTo>
                    <a:lnTo>
                      <a:pt x="544" y="1122"/>
                    </a:lnTo>
                    <a:lnTo>
                      <a:pt x="600" y="1122"/>
                    </a:lnTo>
                    <a:lnTo>
                      <a:pt x="600" y="1660"/>
                    </a:lnTo>
                    <a:lnTo>
                      <a:pt x="600" y="1660"/>
                    </a:lnTo>
                    <a:lnTo>
                      <a:pt x="602" y="1678"/>
                    </a:lnTo>
                    <a:lnTo>
                      <a:pt x="608" y="1694"/>
                    </a:lnTo>
                    <a:lnTo>
                      <a:pt x="616" y="1708"/>
                    </a:lnTo>
                    <a:lnTo>
                      <a:pt x="626" y="1720"/>
                    </a:lnTo>
                    <a:lnTo>
                      <a:pt x="638" y="1730"/>
                    </a:lnTo>
                    <a:lnTo>
                      <a:pt x="652" y="1738"/>
                    </a:lnTo>
                    <a:lnTo>
                      <a:pt x="668" y="1744"/>
                    </a:lnTo>
                    <a:lnTo>
                      <a:pt x="686" y="1746"/>
                    </a:lnTo>
                    <a:lnTo>
                      <a:pt x="686" y="1746"/>
                    </a:lnTo>
                    <a:lnTo>
                      <a:pt x="702" y="1744"/>
                    </a:lnTo>
                    <a:lnTo>
                      <a:pt x="718" y="1738"/>
                    </a:lnTo>
                    <a:lnTo>
                      <a:pt x="734" y="1730"/>
                    </a:lnTo>
                    <a:lnTo>
                      <a:pt x="746" y="1720"/>
                    </a:lnTo>
                    <a:lnTo>
                      <a:pt x="756" y="1708"/>
                    </a:lnTo>
                    <a:lnTo>
                      <a:pt x="764" y="1694"/>
                    </a:lnTo>
                    <a:lnTo>
                      <a:pt x="770" y="1678"/>
                    </a:lnTo>
                    <a:lnTo>
                      <a:pt x="770" y="1660"/>
                    </a:lnTo>
                    <a:lnTo>
                      <a:pt x="770" y="786"/>
                    </a:lnTo>
                    <a:lnTo>
                      <a:pt x="856" y="1062"/>
                    </a:lnTo>
                    <a:lnTo>
                      <a:pt x="856" y="1062"/>
                    </a:lnTo>
                    <a:lnTo>
                      <a:pt x="862" y="1078"/>
                    </a:lnTo>
                    <a:lnTo>
                      <a:pt x="872" y="1092"/>
                    </a:lnTo>
                    <a:lnTo>
                      <a:pt x="884" y="1102"/>
                    </a:lnTo>
                    <a:lnTo>
                      <a:pt x="898" y="1112"/>
                    </a:lnTo>
                    <a:lnTo>
                      <a:pt x="912" y="1118"/>
                    </a:lnTo>
                    <a:lnTo>
                      <a:pt x="928" y="1122"/>
                    </a:lnTo>
                    <a:lnTo>
                      <a:pt x="946" y="1122"/>
                    </a:lnTo>
                    <a:lnTo>
                      <a:pt x="962" y="1118"/>
                    </a:lnTo>
                    <a:lnTo>
                      <a:pt x="962" y="1118"/>
                    </a:lnTo>
                    <a:lnTo>
                      <a:pt x="978" y="1112"/>
                    </a:lnTo>
                    <a:lnTo>
                      <a:pt x="992" y="1102"/>
                    </a:lnTo>
                    <a:lnTo>
                      <a:pt x="1004" y="1090"/>
                    </a:lnTo>
                    <a:lnTo>
                      <a:pt x="1012" y="1076"/>
                    </a:lnTo>
                    <a:lnTo>
                      <a:pt x="1018" y="1062"/>
                    </a:lnTo>
                    <a:lnTo>
                      <a:pt x="1022" y="1046"/>
                    </a:lnTo>
                    <a:lnTo>
                      <a:pt x="1022" y="1028"/>
                    </a:lnTo>
                    <a:lnTo>
                      <a:pt x="1018" y="1012"/>
                    </a:lnTo>
                    <a:lnTo>
                      <a:pt x="1018" y="1012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702591" y="5701719"/>
                <a:ext cx="625171" cy="261610"/>
              </a:xfrm>
              <a:prstGeom prst="rect">
                <a:avLst/>
              </a:prstGeom>
              <a:noFill/>
            </p:spPr>
            <p:txBody>
              <a:bodyPr wrap="none" lIns="0" rIns="0" rtlCol="0">
                <a:spAutoFit/>
              </a:bodyPr>
              <a:lstStyle/>
              <a:p>
                <a:pPr algn="ctr">
                  <a:lnSpc>
                    <a:spcPts val="1000"/>
                  </a:lnSpc>
                </a:pPr>
                <a:r>
                  <a:rPr lang="ru-RU" sz="1000" b="1" dirty="0" smtClean="0">
                    <a:solidFill>
                      <a:srgbClr val="004077"/>
                    </a:solidFill>
                    <a:latin typeface="Arial Narrow" panose="020B0606020202030204" pitchFamily="34" charset="0"/>
                  </a:rPr>
                  <a:t>Сотрудники</a:t>
                </a:r>
              </a:p>
              <a:p>
                <a:pPr algn="ctr">
                  <a:lnSpc>
                    <a:spcPts val="1000"/>
                  </a:lnSpc>
                </a:pPr>
                <a:r>
                  <a:rPr lang="ru-RU" sz="1000" b="1" dirty="0" smtClean="0">
                    <a:solidFill>
                      <a:srgbClr val="004077"/>
                    </a:solidFill>
                    <a:latin typeface="Arial Narrow" panose="020B0606020202030204" pitchFamily="34" charset="0"/>
                  </a:rPr>
                  <a:t>Заказчика</a:t>
                </a:r>
              </a:p>
            </p:txBody>
          </p:sp>
        </p:grpSp>
        <p:cxnSp>
          <p:nvCxnSpPr>
            <p:cNvPr id="27" name="Соединительная линия уступом 26"/>
            <p:cNvCxnSpPr>
              <a:stCxn id="18" idx="3"/>
            </p:cNvCxnSpPr>
            <p:nvPr/>
          </p:nvCxnSpPr>
          <p:spPr>
            <a:xfrm>
              <a:off x="1594705" y="2259198"/>
              <a:ext cx="1213099" cy="139857"/>
            </a:xfrm>
            <a:prstGeom prst="bentConnector3">
              <a:avLst>
                <a:gd name="adj1" fmla="val 43719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Соединительная линия уступом 27"/>
            <p:cNvCxnSpPr/>
            <p:nvPr/>
          </p:nvCxnSpPr>
          <p:spPr>
            <a:xfrm flipV="1">
              <a:off x="1430095" y="3083450"/>
              <a:ext cx="1377709" cy="261609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Соединительная линия уступом 28"/>
            <p:cNvCxnSpPr/>
            <p:nvPr/>
          </p:nvCxnSpPr>
          <p:spPr>
            <a:xfrm flipV="1">
              <a:off x="1313312" y="3442316"/>
              <a:ext cx="1494492" cy="354943"/>
            </a:xfrm>
            <a:prstGeom prst="bentConnector3">
              <a:avLst>
                <a:gd name="adj1" fmla="val 54079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1430095" y="2398648"/>
              <a:ext cx="1260116" cy="684802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Обучение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Практика НИР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Обмен опытом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Методическое сопровождение</a:t>
              </a:r>
            </a:p>
          </p:txBody>
        </p:sp>
        <p:grpSp>
          <p:nvGrpSpPr>
            <p:cNvPr id="31" name="Группа 30"/>
            <p:cNvGrpSpPr/>
            <p:nvPr/>
          </p:nvGrpSpPr>
          <p:grpSpPr>
            <a:xfrm>
              <a:off x="7816470" y="1778777"/>
              <a:ext cx="792188" cy="692235"/>
              <a:chOff x="6376410" y="2349594"/>
              <a:chExt cx="792188" cy="692235"/>
            </a:xfrm>
          </p:grpSpPr>
          <p:grpSp>
            <p:nvGrpSpPr>
              <p:cNvPr id="32" name="laboratiria"/>
              <p:cNvGrpSpPr>
                <a:grpSpLocks noChangeAspect="1"/>
              </p:cNvGrpSpPr>
              <p:nvPr/>
            </p:nvGrpSpPr>
            <p:grpSpPr bwMode="auto">
              <a:xfrm>
                <a:off x="6480367" y="2349594"/>
                <a:ext cx="480611" cy="475706"/>
                <a:chOff x="2728" y="1471"/>
                <a:chExt cx="392" cy="388"/>
              </a:xfrm>
              <a:solidFill>
                <a:schemeClr val="tx2"/>
              </a:solidFill>
            </p:grpSpPr>
            <p:sp>
              <p:nvSpPr>
                <p:cNvPr id="34" name="Freeform 17"/>
                <p:cNvSpPr>
                  <a:spLocks/>
                </p:cNvSpPr>
                <p:nvPr/>
              </p:nvSpPr>
              <p:spPr bwMode="auto">
                <a:xfrm>
                  <a:off x="2909" y="1677"/>
                  <a:ext cx="41" cy="41"/>
                </a:xfrm>
                <a:custGeom>
                  <a:avLst/>
                  <a:gdLst>
                    <a:gd name="T0" fmla="*/ 4 w 1717"/>
                    <a:gd name="T1" fmla="*/ 948 h 1721"/>
                    <a:gd name="T2" fmla="*/ 26 w 1717"/>
                    <a:gd name="T3" fmla="*/ 1075 h 1721"/>
                    <a:gd name="T4" fmla="*/ 67 w 1717"/>
                    <a:gd name="T5" fmla="*/ 1195 h 1721"/>
                    <a:gd name="T6" fmla="*/ 123 w 1717"/>
                    <a:gd name="T7" fmla="*/ 1306 h 1721"/>
                    <a:gd name="T8" fmla="*/ 195 w 1717"/>
                    <a:gd name="T9" fmla="*/ 1408 h 1721"/>
                    <a:gd name="T10" fmla="*/ 281 w 1717"/>
                    <a:gd name="T11" fmla="*/ 1497 h 1721"/>
                    <a:gd name="T12" fmla="*/ 378 w 1717"/>
                    <a:gd name="T13" fmla="*/ 1574 h 1721"/>
                    <a:gd name="T14" fmla="*/ 486 w 1717"/>
                    <a:gd name="T15" fmla="*/ 1636 h 1721"/>
                    <a:gd name="T16" fmla="*/ 603 w 1717"/>
                    <a:gd name="T17" fmla="*/ 1682 h 1721"/>
                    <a:gd name="T18" fmla="*/ 728 w 1717"/>
                    <a:gd name="T19" fmla="*/ 1711 h 1721"/>
                    <a:gd name="T20" fmla="*/ 858 w 1717"/>
                    <a:gd name="T21" fmla="*/ 1721 h 1721"/>
                    <a:gd name="T22" fmla="*/ 989 w 1717"/>
                    <a:gd name="T23" fmla="*/ 1711 h 1721"/>
                    <a:gd name="T24" fmla="*/ 1114 w 1717"/>
                    <a:gd name="T25" fmla="*/ 1682 h 1721"/>
                    <a:gd name="T26" fmla="*/ 1231 w 1717"/>
                    <a:gd name="T27" fmla="*/ 1636 h 1721"/>
                    <a:gd name="T28" fmla="*/ 1339 w 1717"/>
                    <a:gd name="T29" fmla="*/ 1574 h 1721"/>
                    <a:gd name="T30" fmla="*/ 1436 w 1717"/>
                    <a:gd name="T31" fmla="*/ 1497 h 1721"/>
                    <a:gd name="T32" fmla="*/ 1522 w 1717"/>
                    <a:gd name="T33" fmla="*/ 1408 h 1721"/>
                    <a:gd name="T34" fmla="*/ 1594 w 1717"/>
                    <a:gd name="T35" fmla="*/ 1306 h 1721"/>
                    <a:gd name="T36" fmla="*/ 1650 w 1717"/>
                    <a:gd name="T37" fmla="*/ 1195 h 1721"/>
                    <a:gd name="T38" fmla="*/ 1691 w 1717"/>
                    <a:gd name="T39" fmla="*/ 1075 h 1721"/>
                    <a:gd name="T40" fmla="*/ 1713 w 1717"/>
                    <a:gd name="T41" fmla="*/ 948 h 1721"/>
                    <a:gd name="T42" fmla="*/ 1716 w 1717"/>
                    <a:gd name="T43" fmla="*/ 815 h 1721"/>
                    <a:gd name="T44" fmla="*/ 1700 w 1717"/>
                    <a:gd name="T45" fmla="*/ 686 h 1721"/>
                    <a:gd name="T46" fmla="*/ 1665 w 1717"/>
                    <a:gd name="T47" fmla="*/ 564 h 1721"/>
                    <a:gd name="T48" fmla="*/ 1614 w 1717"/>
                    <a:gd name="T49" fmla="*/ 450 h 1721"/>
                    <a:gd name="T50" fmla="*/ 1547 w 1717"/>
                    <a:gd name="T51" fmla="*/ 345 h 1721"/>
                    <a:gd name="T52" fmla="*/ 1466 w 1717"/>
                    <a:gd name="T53" fmla="*/ 251 h 1721"/>
                    <a:gd name="T54" fmla="*/ 1372 w 1717"/>
                    <a:gd name="T55" fmla="*/ 170 h 1721"/>
                    <a:gd name="T56" fmla="*/ 1268 w 1717"/>
                    <a:gd name="T57" fmla="*/ 103 h 1721"/>
                    <a:gd name="T58" fmla="*/ 1153 w 1717"/>
                    <a:gd name="T59" fmla="*/ 51 h 1721"/>
                    <a:gd name="T60" fmla="*/ 1032 w 1717"/>
                    <a:gd name="T61" fmla="*/ 17 h 1721"/>
                    <a:gd name="T62" fmla="*/ 903 w 1717"/>
                    <a:gd name="T63" fmla="*/ 1 h 1721"/>
                    <a:gd name="T64" fmla="*/ 770 w 1717"/>
                    <a:gd name="T65" fmla="*/ 4 h 1721"/>
                    <a:gd name="T66" fmla="*/ 643 w 1717"/>
                    <a:gd name="T67" fmla="*/ 27 h 1721"/>
                    <a:gd name="T68" fmla="*/ 524 w 1717"/>
                    <a:gd name="T69" fmla="*/ 67 h 1721"/>
                    <a:gd name="T70" fmla="*/ 413 w 1717"/>
                    <a:gd name="T71" fmla="*/ 124 h 1721"/>
                    <a:gd name="T72" fmla="*/ 312 w 1717"/>
                    <a:gd name="T73" fmla="*/ 196 h 1721"/>
                    <a:gd name="T74" fmla="*/ 223 w 1717"/>
                    <a:gd name="T75" fmla="*/ 281 h 1721"/>
                    <a:gd name="T76" fmla="*/ 146 w 1717"/>
                    <a:gd name="T77" fmla="*/ 378 h 1721"/>
                    <a:gd name="T78" fmla="*/ 84 w 1717"/>
                    <a:gd name="T79" fmla="*/ 487 h 1721"/>
                    <a:gd name="T80" fmla="*/ 38 w 1717"/>
                    <a:gd name="T81" fmla="*/ 604 h 1721"/>
                    <a:gd name="T82" fmla="*/ 9 w 1717"/>
                    <a:gd name="T83" fmla="*/ 729 h 1721"/>
                    <a:gd name="T84" fmla="*/ 0 w 1717"/>
                    <a:gd name="T85" fmla="*/ 860 h 17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17" h="1721">
                      <a:moveTo>
                        <a:pt x="0" y="860"/>
                      </a:moveTo>
                      <a:lnTo>
                        <a:pt x="1" y="905"/>
                      </a:lnTo>
                      <a:lnTo>
                        <a:pt x="4" y="948"/>
                      </a:lnTo>
                      <a:lnTo>
                        <a:pt x="9" y="991"/>
                      </a:lnTo>
                      <a:lnTo>
                        <a:pt x="17" y="1034"/>
                      </a:lnTo>
                      <a:lnTo>
                        <a:pt x="26" y="1075"/>
                      </a:lnTo>
                      <a:lnTo>
                        <a:pt x="38" y="1116"/>
                      </a:lnTo>
                      <a:lnTo>
                        <a:pt x="51" y="1156"/>
                      </a:lnTo>
                      <a:lnTo>
                        <a:pt x="67" y="1195"/>
                      </a:lnTo>
                      <a:lnTo>
                        <a:pt x="84" y="1233"/>
                      </a:lnTo>
                      <a:lnTo>
                        <a:pt x="103" y="1270"/>
                      </a:lnTo>
                      <a:lnTo>
                        <a:pt x="123" y="1306"/>
                      </a:lnTo>
                      <a:lnTo>
                        <a:pt x="146" y="1341"/>
                      </a:lnTo>
                      <a:lnTo>
                        <a:pt x="170" y="1375"/>
                      </a:lnTo>
                      <a:lnTo>
                        <a:pt x="195" y="1408"/>
                      </a:lnTo>
                      <a:lnTo>
                        <a:pt x="223" y="1439"/>
                      </a:lnTo>
                      <a:lnTo>
                        <a:pt x="251" y="1468"/>
                      </a:lnTo>
                      <a:lnTo>
                        <a:pt x="281" y="1497"/>
                      </a:lnTo>
                      <a:lnTo>
                        <a:pt x="312" y="1524"/>
                      </a:lnTo>
                      <a:lnTo>
                        <a:pt x="344" y="1550"/>
                      </a:lnTo>
                      <a:lnTo>
                        <a:pt x="378" y="1574"/>
                      </a:lnTo>
                      <a:lnTo>
                        <a:pt x="413" y="1596"/>
                      </a:lnTo>
                      <a:lnTo>
                        <a:pt x="449" y="1617"/>
                      </a:lnTo>
                      <a:lnTo>
                        <a:pt x="486" y="1636"/>
                      </a:lnTo>
                      <a:lnTo>
                        <a:pt x="524" y="1653"/>
                      </a:lnTo>
                      <a:lnTo>
                        <a:pt x="563" y="1669"/>
                      </a:lnTo>
                      <a:lnTo>
                        <a:pt x="603" y="1682"/>
                      </a:lnTo>
                      <a:lnTo>
                        <a:pt x="643" y="1694"/>
                      </a:lnTo>
                      <a:lnTo>
                        <a:pt x="685" y="1703"/>
                      </a:lnTo>
                      <a:lnTo>
                        <a:pt x="728" y="1711"/>
                      </a:lnTo>
                      <a:lnTo>
                        <a:pt x="770" y="1716"/>
                      </a:lnTo>
                      <a:lnTo>
                        <a:pt x="814" y="1719"/>
                      </a:lnTo>
                      <a:lnTo>
                        <a:pt x="858" y="1721"/>
                      </a:lnTo>
                      <a:lnTo>
                        <a:pt x="903" y="1719"/>
                      </a:lnTo>
                      <a:lnTo>
                        <a:pt x="947" y="1716"/>
                      </a:lnTo>
                      <a:lnTo>
                        <a:pt x="989" y="1711"/>
                      </a:lnTo>
                      <a:lnTo>
                        <a:pt x="1032" y="1703"/>
                      </a:lnTo>
                      <a:lnTo>
                        <a:pt x="1073" y="1694"/>
                      </a:lnTo>
                      <a:lnTo>
                        <a:pt x="1114" y="1682"/>
                      </a:lnTo>
                      <a:lnTo>
                        <a:pt x="1153" y="1669"/>
                      </a:lnTo>
                      <a:lnTo>
                        <a:pt x="1193" y="1653"/>
                      </a:lnTo>
                      <a:lnTo>
                        <a:pt x="1231" y="1636"/>
                      </a:lnTo>
                      <a:lnTo>
                        <a:pt x="1268" y="1617"/>
                      </a:lnTo>
                      <a:lnTo>
                        <a:pt x="1304" y="1596"/>
                      </a:lnTo>
                      <a:lnTo>
                        <a:pt x="1339" y="1574"/>
                      </a:lnTo>
                      <a:lnTo>
                        <a:pt x="1372" y="1550"/>
                      </a:lnTo>
                      <a:lnTo>
                        <a:pt x="1405" y="1524"/>
                      </a:lnTo>
                      <a:lnTo>
                        <a:pt x="1436" y="1497"/>
                      </a:lnTo>
                      <a:lnTo>
                        <a:pt x="1466" y="1468"/>
                      </a:lnTo>
                      <a:lnTo>
                        <a:pt x="1494" y="1439"/>
                      </a:lnTo>
                      <a:lnTo>
                        <a:pt x="1522" y="1408"/>
                      </a:lnTo>
                      <a:lnTo>
                        <a:pt x="1547" y="1375"/>
                      </a:lnTo>
                      <a:lnTo>
                        <a:pt x="1571" y="1341"/>
                      </a:lnTo>
                      <a:lnTo>
                        <a:pt x="1594" y="1306"/>
                      </a:lnTo>
                      <a:lnTo>
                        <a:pt x="1614" y="1270"/>
                      </a:lnTo>
                      <a:lnTo>
                        <a:pt x="1633" y="1233"/>
                      </a:lnTo>
                      <a:lnTo>
                        <a:pt x="1650" y="1195"/>
                      </a:lnTo>
                      <a:lnTo>
                        <a:pt x="1665" y="1156"/>
                      </a:lnTo>
                      <a:lnTo>
                        <a:pt x="1679" y="1116"/>
                      </a:lnTo>
                      <a:lnTo>
                        <a:pt x="1691" y="1075"/>
                      </a:lnTo>
                      <a:lnTo>
                        <a:pt x="1700" y="1034"/>
                      </a:lnTo>
                      <a:lnTo>
                        <a:pt x="1708" y="991"/>
                      </a:lnTo>
                      <a:lnTo>
                        <a:pt x="1713" y="948"/>
                      </a:lnTo>
                      <a:lnTo>
                        <a:pt x="1716" y="905"/>
                      </a:lnTo>
                      <a:lnTo>
                        <a:pt x="1717" y="860"/>
                      </a:lnTo>
                      <a:lnTo>
                        <a:pt x="1716" y="815"/>
                      </a:lnTo>
                      <a:lnTo>
                        <a:pt x="1713" y="772"/>
                      </a:lnTo>
                      <a:lnTo>
                        <a:pt x="1708" y="729"/>
                      </a:lnTo>
                      <a:lnTo>
                        <a:pt x="1700" y="686"/>
                      </a:lnTo>
                      <a:lnTo>
                        <a:pt x="1691" y="645"/>
                      </a:lnTo>
                      <a:lnTo>
                        <a:pt x="1679" y="604"/>
                      </a:lnTo>
                      <a:lnTo>
                        <a:pt x="1665" y="564"/>
                      </a:lnTo>
                      <a:lnTo>
                        <a:pt x="1650" y="525"/>
                      </a:lnTo>
                      <a:lnTo>
                        <a:pt x="1633" y="487"/>
                      </a:lnTo>
                      <a:lnTo>
                        <a:pt x="1614" y="450"/>
                      </a:lnTo>
                      <a:lnTo>
                        <a:pt x="1594" y="414"/>
                      </a:lnTo>
                      <a:lnTo>
                        <a:pt x="1571" y="378"/>
                      </a:lnTo>
                      <a:lnTo>
                        <a:pt x="1547" y="345"/>
                      </a:lnTo>
                      <a:lnTo>
                        <a:pt x="1522" y="312"/>
                      </a:lnTo>
                      <a:lnTo>
                        <a:pt x="1494" y="281"/>
                      </a:lnTo>
                      <a:lnTo>
                        <a:pt x="1466" y="251"/>
                      </a:lnTo>
                      <a:lnTo>
                        <a:pt x="1436" y="223"/>
                      </a:lnTo>
                      <a:lnTo>
                        <a:pt x="1405" y="196"/>
                      </a:lnTo>
                      <a:lnTo>
                        <a:pt x="1372" y="170"/>
                      </a:lnTo>
                      <a:lnTo>
                        <a:pt x="1339" y="147"/>
                      </a:lnTo>
                      <a:lnTo>
                        <a:pt x="1304" y="124"/>
                      </a:lnTo>
                      <a:lnTo>
                        <a:pt x="1268" y="103"/>
                      </a:lnTo>
                      <a:lnTo>
                        <a:pt x="1231" y="84"/>
                      </a:lnTo>
                      <a:lnTo>
                        <a:pt x="1193" y="67"/>
                      </a:lnTo>
                      <a:lnTo>
                        <a:pt x="1153" y="51"/>
                      </a:lnTo>
                      <a:lnTo>
                        <a:pt x="1114" y="38"/>
                      </a:lnTo>
                      <a:lnTo>
                        <a:pt x="1073" y="27"/>
                      </a:lnTo>
                      <a:lnTo>
                        <a:pt x="1032" y="17"/>
                      </a:lnTo>
                      <a:lnTo>
                        <a:pt x="989" y="10"/>
                      </a:lnTo>
                      <a:lnTo>
                        <a:pt x="947" y="4"/>
                      </a:lnTo>
                      <a:lnTo>
                        <a:pt x="903" y="1"/>
                      </a:lnTo>
                      <a:lnTo>
                        <a:pt x="858" y="0"/>
                      </a:lnTo>
                      <a:lnTo>
                        <a:pt x="814" y="1"/>
                      </a:lnTo>
                      <a:lnTo>
                        <a:pt x="770" y="4"/>
                      </a:lnTo>
                      <a:lnTo>
                        <a:pt x="728" y="10"/>
                      </a:lnTo>
                      <a:lnTo>
                        <a:pt x="685" y="17"/>
                      </a:lnTo>
                      <a:lnTo>
                        <a:pt x="643" y="27"/>
                      </a:lnTo>
                      <a:lnTo>
                        <a:pt x="603" y="38"/>
                      </a:lnTo>
                      <a:lnTo>
                        <a:pt x="563" y="51"/>
                      </a:lnTo>
                      <a:lnTo>
                        <a:pt x="524" y="67"/>
                      </a:lnTo>
                      <a:lnTo>
                        <a:pt x="486" y="84"/>
                      </a:lnTo>
                      <a:lnTo>
                        <a:pt x="449" y="103"/>
                      </a:lnTo>
                      <a:lnTo>
                        <a:pt x="413" y="124"/>
                      </a:lnTo>
                      <a:lnTo>
                        <a:pt x="378" y="147"/>
                      </a:lnTo>
                      <a:lnTo>
                        <a:pt x="344" y="170"/>
                      </a:lnTo>
                      <a:lnTo>
                        <a:pt x="312" y="196"/>
                      </a:lnTo>
                      <a:lnTo>
                        <a:pt x="281" y="223"/>
                      </a:lnTo>
                      <a:lnTo>
                        <a:pt x="251" y="251"/>
                      </a:lnTo>
                      <a:lnTo>
                        <a:pt x="223" y="281"/>
                      </a:lnTo>
                      <a:lnTo>
                        <a:pt x="195" y="312"/>
                      </a:lnTo>
                      <a:lnTo>
                        <a:pt x="170" y="345"/>
                      </a:lnTo>
                      <a:lnTo>
                        <a:pt x="146" y="378"/>
                      </a:lnTo>
                      <a:lnTo>
                        <a:pt x="123" y="414"/>
                      </a:lnTo>
                      <a:lnTo>
                        <a:pt x="103" y="450"/>
                      </a:lnTo>
                      <a:lnTo>
                        <a:pt x="84" y="487"/>
                      </a:lnTo>
                      <a:lnTo>
                        <a:pt x="67" y="525"/>
                      </a:lnTo>
                      <a:lnTo>
                        <a:pt x="51" y="564"/>
                      </a:lnTo>
                      <a:lnTo>
                        <a:pt x="38" y="604"/>
                      </a:lnTo>
                      <a:lnTo>
                        <a:pt x="26" y="645"/>
                      </a:lnTo>
                      <a:lnTo>
                        <a:pt x="17" y="686"/>
                      </a:lnTo>
                      <a:lnTo>
                        <a:pt x="9" y="729"/>
                      </a:lnTo>
                      <a:lnTo>
                        <a:pt x="4" y="772"/>
                      </a:lnTo>
                      <a:lnTo>
                        <a:pt x="1" y="815"/>
                      </a:lnTo>
                      <a:lnTo>
                        <a:pt x="0" y="8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35" name="Freeform 18"/>
                <p:cNvSpPr>
                  <a:spLocks/>
                </p:cNvSpPr>
                <p:nvPr/>
              </p:nvSpPr>
              <p:spPr bwMode="auto">
                <a:xfrm>
                  <a:off x="2949" y="1513"/>
                  <a:ext cx="25" cy="24"/>
                </a:xfrm>
                <a:custGeom>
                  <a:avLst/>
                  <a:gdLst>
                    <a:gd name="T0" fmla="*/ 3 w 1020"/>
                    <a:gd name="T1" fmla="*/ 563 h 1023"/>
                    <a:gd name="T2" fmla="*/ 16 w 1020"/>
                    <a:gd name="T3" fmla="*/ 639 h 1023"/>
                    <a:gd name="T4" fmla="*/ 40 w 1020"/>
                    <a:gd name="T5" fmla="*/ 710 h 1023"/>
                    <a:gd name="T6" fmla="*/ 74 w 1020"/>
                    <a:gd name="T7" fmla="*/ 776 h 1023"/>
                    <a:gd name="T8" fmla="*/ 116 w 1020"/>
                    <a:gd name="T9" fmla="*/ 836 h 1023"/>
                    <a:gd name="T10" fmla="*/ 167 w 1020"/>
                    <a:gd name="T11" fmla="*/ 890 h 1023"/>
                    <a:gd name="T12" fmla="*/ 225 w 1020"/>
                    <a:gd name="T13" fmla="*/ 935 h 1023"/>
                    <a:gd name="T14" fmla="*/ 289 w 1020"/>
                    <a:gd name="T15" fmla="*/ 972 h 1023"/>
                    <a:gd name="T16" fmla="*/ 359 w 1020"/>
                    <a:gd name="T17" fmla="*/ 999 h 1023"/>
                    <a:gd name="T18" fmla="*/ 433 w 1020"/>
                    <a:gd name="T19" fmla="*/ 1017 h 1023"/>
                    <a:gd name="T20" fmla="*/ 510 w 1020"/>
                    <a:gd name="T21" fmla="*/ 1023 h 1023"/>
                    <a:gd name="T22" fmla="*/ 588 w 1020"/>
                    <a:gd name="T23" fmla="*/ 1017 h 1023"/>
                    <a:gd name="T24" fmla="*/ 662 w 1020"/>
                    <a:gd name="T25" fmla="*/ 999 h 1023"/>
                    <a:gd name="T26" fmla="*/ 731 w 1020"/>
                    <a:gd name="T27" fmla="*/ 972 h 1023"/>
                    <a:gd name="T28" fmla="*/ 795 w 1020"/>
                    <a:gd name="T29" fmla="*/ 935 h 1023"/>
                    <a:gd name="T30" fmla="*/ 852 w 1020"/>
                    <a:gd name="T31" fmla="*/ 890 h 1023"/>
                    <a:gd name="T32" fmla="*/ 903 w 1020"/>
                    <a:gd name="T33" fmla="*/ 836 h 1023"/>
                    <a:gd name="T34" fmla="*/ 946 w 1020"/>
                    <a:gd name="T35" fmla="*/ 776 h 1023"/>
                    <a:gd name="T36" fmla="*/ 980 w 1020"/>
                    <a:gd name="T37" fmla="*/ 710 h 1023"/>
                    <a:gd name="T38" fmla="*/ 1004 w 1020"/>
                    <a:gd name="T39" fmla="*/ 639 h 1023"/>
                    <a:gd name="T40" fmla="*/ 1018 w 1020"/>
                    <a:gd name="T41" fmla="*/ 563 h 1023"/>
                    <a:gd name="T42" fmla="*/ 1020 w 1020"/>
                    <a:gd name="T43" fmla="*/ 485 h 1023"/>
                    <a:gd name="T44" fmla="*/ 1010 w 1020"/>
                    <a:gd name="T45" fmla="*/ 408 h 1023"/>
                    <a:gd name="T46" fmla="*/ 989 w 1020"/>
                    <a:gd name="T47" fmla="*/ 335 h 1023"/>
                    <a:gd name="T48" fmla="*/ 958 w 1020"/>
                    <a:gd name="T49" fmla="*/ 268 h 1023"/>
                    <a:gd name="T50" fmla="*/ 918 w 1020"/>
                    <a:gd name="T51" fmla="*/ 205 h 1023"/>
                    <a:gd name="T52" fmla="*/ 871 w 1020"/>
                    <a:gd name="T53" fmla="*/ 150 h 1023"/>
                    <a:gd name="T54" fmla="*/ 815 w 1020"/>
                    <a:gd name="T55" fmla="*/ 101 h 1023"/>
                    <a:gd name="T56" fmla="*/ 753 w 1020"/>
                    <a:gd name="T57" fmla="*/ 62 h 1023"/>
                    <a:gd name="T58" fmla="*/ 685 w 1020"/>
                    <a:gd name="T59" fmla="*/ 31 h 1023"/>
                    <a:gd name="T60" fmla="*/ 613 w 1020"/>
                    <a:gd name="T61" fmla="*/ 11 h 1023"/>
                    <a:gd name="T62" fmla="*/ 536 w 1020"/>
                    <a:gd name="T63" fmla="*/ 1 h 1023"/>
                    <a:gd name="T64" fmla="*/ 458 w 1020"/>
                    <a:gd name="T65" fmla="*/ 3 h 1023"/>
                    <a:gd name="T66" fmla="*/ 382 w 1020"/>
                    <a:gd name="T67" fmla="*/ 16 h 1023"/>
                    <a:gd name="T68" fmla="*/ 311 w 1020"/>
                    <a:gd name="T69" fmla="*/ 40 h 1023"/>
                    <a:gd name="T70" fmla="*/ 245 w 1020"/>
                    <a:gd name="T71" fmla="*/ 74 h 1023"/>
                    <a:gd name="T72" fmla="*/ 185 w 1020"/>
                    <a:gd name="T73" fmla="*/ 116 h 1023"/>
                    <a:gd name="T74" fmla="*/ 133 w 1020"/>
                    <a:gd name="T75" fmla="*/ 167 h 1023"/>
                    <a:gd name="T76" fmla="*/ 87 w 1020"/>
                    <a:gd name="T77" fmla="*/ 225 h 1023"/>
                    <a:gd name="T78" fmla="*/ 50 w 1020"/>
                    <a:gd name="T79" fmla="*/ 289 h 1023"/>
                    <a:gd name="T80" fmla="*/ 23 w 1020"/>
                    <a:gd name="T81" fmla="*/ 359 h 1023"/>
                    <a:gd name="T82" fmla="*/ 6 w 1020"/>
                    <a:gd name="T83" fmla="*/ 433 h 1023"/>
                    <a:gd name="T84" fmla="*/ 0 w 1020"/>
                    <a:gd name="T85" fmla="*/ 511 h 1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020" h="1023">
                      <a:moveTo>
                        <a:pt x="0" y="511"/>
                      </a:moveTo>
                      <a:lnTo>
                        <a:pt x="1" y="537"/>
                      </a:lnTo>
                      <a:lnTo>
                        <a:pt x="3" y="563"/>
                      </a:lnTo>
                      <a:lnTo>
                        <a:pt x="6" y="589"/>
                      </a:lnTo>
                      <a:lnTo>
                        <a:pt x="10" y="614"/>
                      </a:lnTo>
                      <a:lnTo>
                        <a:pt x="16" y="639"/>
                      </a:lnTo>
                      <a:lnTo>
                        <a:pt x="23" y="663"/>
                      </a:lnTo>
                      <a:lnTo>
                        <a:pt x="31" y="686"/>
                      </a:lnTo>
                      <a:lnTo>
                        <a:pt x="40" y="710"/>
                      </a:lnTo>
                      <a:lnTo>
                        <a:pt x="50" y="733"/>
                      </a:lnTo>
                      <a:lnTo>
                        <a:pt x="62" y="754"/>
                      </a:lnTo>
                      <a:lnTo>
                        <a:pt x="74" y="776"/>
                      </a:lnTo>
                      <a:lnTo>
                        <a:pt x="87" y="797"/>
                      </a:lnTo>
                      <a:lnTo>
                        <a:pt x="101" y="816"/>
                      </a:lnTo>
                      <a:lnTo>
                        <a:pt x="116" y="836"/>
                      </a:lnTo>
                      <a:lnTo>
                        <a:pt x="133" y="855"/>
                      </a:lnTo>
                      <a:lnTo>
                        <a:pt x="149" y="872"/>
                      </a:lnTo>
                      <a:lnTo>
                        <a:pt x="167" y="890"/>
                      </a:lnTo>
                      <a:lnTo>
                        <a:pt x="185" y="906"/>
                      </a:lnTo>
                      <a:lnTo>
                        <a:pt x="205" y="921"/>
                      </a:lnTo>
                      <a:lnTo>
                        <a:pt x="225" y="935"/>
                      </a:lnTo>
                      <a:lnTo>
                        <a:pt x="245" y="948"/>
                      </a:lnTo>
                      <a:lnTo>
                        <a:pt x="266" y="961"/>
                      </a:lnTo>
                      <a:lnTo>
                        <a:pt x="289" y="972"/>
                      </a:lnTo>
                      <a:lnTo>
                        <a:pt x="311" y="982"/>
                      </a:lnTo>
                      <a:lnTo>
                        <a:pt x="334" y="991"/>
                      </a:lnTo>
                      <a:lnTo>
                        <a:pt x="359" y="999"/>
                      </a:lnTo>
                      <a:lnTo>
                        <a:pt x="382" y="1006"/>
                      </a:lnTo>
                      <a:lnTo>
                        <a:pt x="407" y="1011"/>
                      </a:lnTo>
                      <a:lnTo>
                        <a:pt x="433" y="1017"/>
                      </a:lnTo>
                      <a:lnTo>
                        <a:pt x="458" y="1020"/>
                      </a:lnTo>
                      <a:lnTo>
                        <a:pt x="483" y="1022"/>
                      </a:lnTo>
                      <a:lnTo>
                        <a:pt x="510" y="1023"/>
                      </a:lnTo>
                      <a:lnTo>
                        <a:pt x="536" y="1022"/>
                      </a:lnTo>
                      <a:lnTo>
                        <a:pt x="562" y="1020"/>
                      </a:lnTo>
                      <a:lnTo>
                        <a:pt x="588" y="1017"/>
                      </a:lnTo>
                      <a:lnTo>
                        <a:pt x="613" y="1011"/>
                      </a:lnTo>
                      <a:lnTo>
                        <a:pt x="638" y="1006"/>
                      </a:lnTo>
                      <a:lnTo>
                        <a:pt x="662" y="999"/>
                      </a:lnTo>
                      <a:lnTo>
                        <a:pt x="685" y="991"/>
                      </a:lnTo>
                      <a:lnTo>
                        <a:pt x="708" y="982"/>
                      </a:lnTo>
                      <a:lnTo>
                        <a:pt x="731" y="972"/>
                      </a:lnTo>
                      <a:lnTo>
                        <a:pt x="753" y="961"/>
                      </a:lnTo>
                      <a:lnTo>
                        <a:pt x="774" y="948"/>
                      </a:lnTo>
                      <a:lnTo>
                        <a:pt x="795" y="935"/>
                      </a:lnTo>
                      <a:lnTo>
                        <a:pt x="815" y="921"/>
                      </a:lnTo>
                      <a:lnTo>
                        <a:pt x="834" y="906"/>
                      </a:lnTo>
                      <a:lnTo>
                        <a:pt x="852" y="890"/>
                      </a:lnTo>
                      <a:lnTo>
                        <a:pt x="871" y="872"/>
                      </a:lnTo>
                      <a:lnTo>
                        <a:pt x="887" y="855"/>
                      </a:lnTo>
                      <a:lnTo>
                        <a:pt x="903" y="836"/>
                      </a:lnTo>
                      <a:lnTo>
                        <a:pt x="918" y="816"/>
                      </a:lnTo>
                      <a:lnTo>
                        <a:pt x="933" y="797"/>
                      </a:lnTo>
                      <a:lnTo>
                        <a:pt x="946" y="776"/>
                      </a:lnTo>
                      <a:lnTo>
                        <a:pt x="958" y="754"/>
                      </a:lnTo>
                      <a:lnTo>
                        <a:pt x="970" y="733"/>
                      </a:lnTo>
                      <a:lnTo>
                        <a:pt x="980" y="710"/>
                      </a:lnTo>
                      <a:lnTo>
                        <a:pt x="989" y="686"/>
                      </a:lnTo>
                      <a:lnTo>
                        <a:pt x="997" y="663"/>
                      </a:lnTo>
                      <a:lnTo>
                        <a:pt x="1004" y="639"/>
                      </a:lnTo>
                      <a:lnTo>
                        <a:pt x="1010" y="614"/>
                      </a:lnTo>
                      <a:lnTo>
                        <a:pt x="1014" y="589"/>
                      </a:lnTo>
                      <a:lnTo>
                        <a:pt x="1018" y="563"/>
                      </a:lnTo>
                      <a:lnTo>
                        <a:pt x="1020" y="537"/>
                      </a:lnTo>
                      <a:lnTo>
                        <a:pt x="1020" y="511"/>
                      </a:lnTo>
                      <a:lnTo>
                        <a:pt x="1020" y="485"/>
                      </a:lnTo>
                      <a:lnTo>
                        <a:pt x="1018" y="459"/>
                      </a:lnTo>
                      <a:lnTo>
                        <a:pt x="1014" y="433"/>
                      </a:lnTo>
                      <a:lnTo>
                        <a:pt x="1010" y="408"/>
                      </a:lnTo>
                      <a:lnTo>
                        <a:pt x="1004" y="384"/>
                      </a:lnTo>
                      <a:lnTo>
                        <a:pt x="997" y="359"/>
                      </a:lnTo>
                      <a:lnTo>
                        <a:pt x="989" y="335"/>
                      </a:lnTo>
                      <a:lnTo>
                        <a:pt x="980" y="313"/>
                      </a:lnTo>
                      <a:lnTo>
                        <a:pt x="970" y="289"/>
                      </a:lnTo>
                      <a:lnTo>
                        <a:pt x="958" y="268"/>
                      </a:lnTo>
                      <a:lnTo>
                        <a:pt x="946" y="247"/>
                      </a:lnTo>
                      <a:lnTo>
                        <a:pt x="933" y="225"/>
                      </a:lnTo>
                      <a:lnTo>
                        <a:pt x="918" y="205"/>
                      </a:lnTo>
                      <a:lnTo>
                        <a:pt x="903" y="187"/>
                      </a:lnTo>
                      <a:lnTo>
                        <a:pt x="887" y="167"/>
                      </a:lnTo>
                      <a:lnTo>
                        <a:pt x="871" y="150"/>
                      </a:lnTo>
                      <a:lnTo>
                        <a:pt x="852" y="133"/>
                      </a:lnTo>
                      <a:lnTo>
                        <a:pt x="834" y="116"/>
                      </a:lnTo>
                      <a:lnTo>
                        <a:pt x="815" y="101"/>
                      </a:lnTo>
                      <a:lnTo>
                        <a:pt x="795" y="87"/>
                      </a:lnTo>
                      <a:lnTo>
                        <a:pt x="774" y="74"/>
                      </a:lnTo>
                      <a:lnTo>
                        <a:pt x="753" y="62"/>
                      </a:lnTo>
                      <a:lnTo>
                        <a:pt x="731" y="50"/>
                      </a:lnTo>
                      <a:lnTo>
                        <a:pt x="708" y="40"/>
                      </a:lnTo>
                      <a:lnTo>
                        <a:pt x="685" y="31"/>
                      </a:lnTo>
                      <a:lnTo>
                        <a:pt x="662" y="23"/>
                      </a:lnTo>
                      <a:lnTo>
                        <a:pt x="638" y="16"/>
                      </a:lnTo>
                      <a:lnTo>
                        <a:pt x="613" y="11"/>
                      </a:lnTo>
                      <a:lnTo>
                        <a:pt x="588" y="6"/>
                      </a:lnTo>
                      <a:lnTo>
                        <a:pt x="562" y="3"/>
                      </a:lnTo>
                      <a:lnTo>
                        <a:pt x="536" y="1"/>
                      </a:lnTo>
                      <a:lnTo>
                        <a:pt x="510" y="0"/>
                      </a:lnTo>
                      <a:lnTo>
                        <a:pt x="483" y="1"/>
                      </a:lnTo>
                      <a:lnTo>
                        <a:pt x="458" y="3"/>
                      </a:lnTo>
                      <a:lnTo>
                        <a:pt x="433" y="6"/>
                      </a:lnTo>
                      <a:lnTo>
                        <a:pt x="407" y="11"/>
                      </a:lnTo>
                      <a:lnTo>
                        <a:pt x="382" y="16"/>
                      </a:lnTo>
                      <a:lnTo>
                        <a:pt x="359" y="23"/>
                      </a:lnTo>
                      <a:lnTo>
                        <a:pt x="334" y="31"/>
                      </a:lnTo>
                      <a:lnTo>
                        <a:pt x="311" y="40"/>
                      </a:lnTo>
                      <a:lnTo>
                        <a:pt x="289" y="50"/>
                      </a:lnTo>
                      <a:lnTo>
                        <a:pt x="266" y="62"/>
                      </a:lnTo>
                      <a:lnTo>
                        <a:pt x="245" y="74"/>
                      </a:lnTo>
                      <a:lnTo>
                        <a:pt x="225" y="87"/>
                      </a:lnTo>
                      <a:lnTo>
                        <a:pt x="205" y="101"/>
                      </a:lnTo>
                      <a:lnTo>
                        <a:pt x="185" y="116"/>
                      </a:lnTo>
                      <a:lnTo>
                        <a:pt x="167" y="133"/>
                      </a:lnTo>
                      <a:lnTo>
                        <a:pt x="149" y="150"/>
                      </a:lnTo>
                      <a:lnTo>
                        <a:pt x="133" y="167"/>
                      </a:lnTo>
                      <a:lnTo>
                        <a:pt x="116" y="187"/>
                      </a:lnTo>
                      <a:lnTo>
                        <a:pt x="101" y="205"/>
                      </a:lnTo>
                      <a:lnTo>
                        <a:pt x="87" y="225"/>
                      </a:lnTo>
                      <a:lnTo>
                        <a:pt x="74" y="247"/>
                      </a:lnTo>
                      <a:lnTo>
                        <a:pt x="62" y="268"/>
                      </a:lnTo>
                      <a:lnTo>
                        <a:pt x="50" y="289"/>
                      </a:lnTo>
                      <a:lnTo>
                        <a:pt x="40" y="313"/>
                      </a:lnTo>
                      <a:lnTo>
                        <a:pt x="31" y="335"/>
                      </a:lnTo>
                      <a:lnTo>
                        <a:pt x="23" y="359"/>
                      </a:lnTo>
                      <a:lnTo>
                        <a:pt x="16" y="384"/>
                      </a:lnTo>
                      <a:lnTo>
                        <a:pt x="10" y="408"/>
                      </a:lnTo>
                      <a:lnTo>
                        <a:pt x="6" y="433"/>
                      </a:lnTo>
                      <a:lnTo>
                        <a:pt x="3" y="459"/>
                      </a:lnTo>
                      <a:lnTo>
                        <a:pt x="1" y="485"/>
                      </a:lnTo>
                      <a:lnTo>
                        <a:pt x="0" y="51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36" name="Freeform 19"/>
                <p:cNvSpPr>
                  <a:spLocks noEditPoints="1"/>
                </p:cNvSpPr>
                <p:nvPr/>
              </p:nvSpPr>
              <p:spPr bwMode="auto">
                <a:xfrm>
                  <a:off x="2728" y="1471"/>
                  <a:ext cx="314" cy="322"/>
                </a:xfrm>
                <a:custGeom>
                  <a:avLst/>
                  <a:gdLst>
                    <a:gd name="T0" fmla="*/ 326 w 13209"/>
                    <a:gd name="T1" fmla="*/ 3442 h 13541"/>
                    <a:gd name="T2" fmla="*/ 129 w 13209"/>
                    <a:gd name="T3" fmla="*/ 3310 h 13541"/>
                    <a:gd name="T4" fmla="*/ 16 w 13209"/>
                    <a:gd name="T5" fmla="*/ 3099 h 13541"/>
                    <a:gd name="T6" fmla="*/ 16 w 13209"/>
                    <a:gd name="T7" fmla="*/ 2851 h 13541"/>
                    <a:gd name="T8" fmla="*/ 129 w 13209"/>
                    <a:gd name="T9" fmla="*/ 2641 h 13541"/>
                    <a:gd name="T10" fmla="*/ 326 w 13209"/>
                    <a:gd name="T11" fmla="*/ 2508 h 13541"/>
                    <a:gd name="T12" fmla="*/ 1029 w 13209"/>
                    <a:gd name="T13" fmla="*/ 471 h 13541"/>
                    <a:gd name="T14" fmla="*/ 1100 w 13209"/>
                    <a:gd name="T15" fmla="*/ 240 h 13541"/>
                    <a:gd name="T16" fmla="*/ 1268 w 13209"/>
                    <a:gd name="T17" fmla="*/ 72 h 13541"/>
                    <a:gd name="T18" fmla="*/ 1499 w 13209"/>
                    <a:gd name="T19" fmla="*/ 1 h 13541"/>
                    <a:gd name="T20" fmla="*/ 1740 w 13209"/>
                    <a:gd name="T21" fmla="*/ 49 h 13541"/>
                    <a:gd name="T22" fmla="*/ 1923 w 13209"/>
                    <a:gd name="T23" fmla="*/ 200 h 13541"/>
                    <a:gd name="T24" fmla="*/ 2015 w 13209"/>
                    <a:gd name="T25" fmla="*/ 422 h 13541"/>
                    <a:gd name="T26" fmla="*/ 6640 w 13209"/>
                    <a:gd name="T27" fmla="*/ 1953 h 13541"/>
                    <a:gd name="T28" fmla="*/ 6399 w 13209"/>
                    <a:gd name="T29" fmla="*/ 1852 h 13541"/>
                    <a:gd name="T30" fmla="*/ 6235 w 13209"/>
                    <a:gd name="T31" fmla="*/ 1652 h 13541"/>
                    <a:gd name="T32" fmla="*/ 6182 w 13209"/>
                    <a:gd name="T33" fmla="*/ 1039 h 13541"/>
                    <a:gd name="T34" fmla="*/ 6247 w 13209"/>
                    <a:gd name="T35" fmla="*/ 781 h 13541"/>
                    <a:gd name="T36" fmla="*/ 6420 w 13209"/>
                    <a:gd name="T37" fmla="*/ 589 h 13541"/>
                    <a:gd name="T38" fmla="*/ 6668 w 13209"/>
                    <a:gd name="T39" fmla="*/ 500 h 13541"/>
                    <a:gd name="T40" fmla="*/ 10348 w 13209"/>
                    <a:gd name="T41" fmla="*/ 530 h 13541"/>
                    <a:gd name="T42" fmla="*/ 10562 w 13209"/>
                    <a:gd name="T43" fmla="*/ 675 h 13541"/>
                    <a:gd name="T44" fmla="*/ 10686 w 13209"/>
                    <a:gd name="T45" fmla="*/ 904 h 13541"/>
                    <a:gd name="T46" fmla="*/ 10692 w 13209"/>
                    <a:gd name="T47" fmla="*/ 1526 h 13541"/>
                    <a:gd name="T48" fmla="*/ 10579 w 13209"/>
                    <a:gd name="T49" fmla="*/ 1762 h 13541"/>
                    <a:gd name="T50" fmla="*/ 10373 w 13209"/>
                    <a:gd name="T51" fmla="*/ 1917 h 13541"/>
                    <a:gd name="T52" fmla="*/ 10009 w 13209"/>
                    <a:gd name="T53" fmla="*/ 2478 h 13541"/>
                    <a:gd name="T54" fmla="*/ 11110 w 13209"/>
                    <a:gd name="T55" fmla="*/ 2527 h 13541"/>
                    <a:gd name="T56" fmla="*/ 11292 w 13209"/>
                    <a:gd name="T57" fmla="*/ 2678 h 13541"/>
                    <a:gd name="T58" fmla="*/ 11385 w 13209"/>
                    <a:gd name="T59" fmla="*/ 2899 h 13541"/>
                    <a:gd name="T60" fmla="*/ 11361 w 13209"/>
                    <a:gd name="T61" fmla="*/ 3146 h 13541"/>
                    <a:gd name="T62" fmla="*/ 11228 w 13209"/>
                    <a:gd name="T63" fmla="*/ 3343 h 13541"/>
                    <a:gd name="T64" fmla="*/ 11018 w 13209"/>
                    <a:gd name="T65" fmla="*/ 3457 h 13541"/>
                    <a:gd name="T66" fmla="*/ 10518 w 13209"/>
                    <a:gd name="T67" fmla="*/ 4208 h 13541"/>
                    <a:gd name="T68" fmla="*/ 11964 w 13209"/>
                    <a:gd name="T69" fmla="*/ 5291 h 13541"/>
                    <a:gd name="T70" fmla="*/ 12910 w 13209"/>
                    <a:gd name="T71" fmla="*/ 6839 h 13541"/>
                    <a:gd name="T72" fmla="*/ 13203 w 13209"/>
                    <a:gd name="T73" fmla="*/ 8755 h 13541"/>
                    <a:gd name="T74" fmla="*/ 12519 w 13209"/>
                    <a:gd name="T75" fmla="*/ 10986 h 13541"/>
                    <a:gd name="T76" fmla="*/ 10914 w 13209"/>
                    <a:gd name="T77" fmla="*/ 12594 h 13541"/>
                    <a:gd name="T78" fmla="*/ 8687 w 13209"/>
                    <a:gd name="T79" fmla="*/ 13279 h 13541"/>
                    <a:gd name="T80" fmla="*/ 6376 w 13209"/>
                    <a:gd name="T81" fmla="*/ 12814 h 13541"/>
                    <a:gd name="T82" fmla="*/ 4623 w 13209"/>
                    <a:gd name="T83" fmla="*/ 11367 h 13541"/>
                    <a:gd name="T84" fmla="*/ 3730 w 13209"/>
                    <a:gd name="T85" fmla="*/ 9236 h 13541"/>
                    <a:gd name="T86" fmla="*/ 3858 w 13209"/>
                    <a:gd name="T87" fmla="*/ 7191 h 13541"/>
                    <a:gd name="T88" fmla="*/ 4686 w 13209"/>
                    <a:gd name="T89" fmla="*/ 5568 h 13541"/>
                    <a:gd name="T90" fmla="*/ 6044 w 13209"/>
                    <a:gd name="T91" fmla="*/ 4380 h 13541"/>
                    <a:gd name="T92" fmla="*/ 5162 w 13209"/>
                    <a:gd name="T93" fmla="*/ 6482 h 13541"/>
                    <a:gd name="T94" fmla="*/ 4855 w 13209"/>
                    <a:gd name="T95" fmla="*/ 7077 h 13541"/>
                    <a:gd name="T96" fmla="*/ 4652 w 13209"/>
                    <a:gd name="T97" fmla="*/ 7726 h 13541"/>
                    <a:gd name="T98" fmla="*/ 4565 w 13209"/>
                    <a:gd name="T99" fmla="*/ 8419 h 13541"/>
                    <a:gd name="T100" fmla="*/ 4867 w 13209"/>
                    <a:gd name="T101" fmla="*/ 10074 h 13541"/>
                    <a:gd name="T102" fmla="*/ 5974 w 13209"/>
                    <a:gd name="T103" fmla="*/ 11561 h 13541"/>
                    <a:gd name="T104" fmla="*/ 7660 w 13209"/>
                    <a:gd name="T105" fmla="*/ 12369 h 13541"/>
                    <a:gd name="T106" fmla="*/ 9596 w 13209"/>
                    <a:gd name="T107" fmla="*/ 12274 h 13541"/>
                    <a:gd name="T108" fmla="*/ 11186 w 13209"/>
                    <a:gd name="T109" fmla="*/ 11310 h 13541"/>
                    <a:gd name="T110" fmla="*/ 12148 w 13209"/>
                    <a:gd name="T111" fmla="*/ 9717 h 13541"/>
                    <a:gd name="T112" fmla="*/ 12312 w 13209"/>
                    <a:gd name="T113" fmla="*/ 8276 h 13541"/>
                    <a:gd name="T114" fmla="*/ 12201 w 13209"/>
                    <a:gd name="T115" fmla="*/ 7593 h 13541"/>
                    <a:gd name="T116" fmla="*/ 11977 w 13209"/>
                    <a:gd name="T117" fmla="*/ 6954 h 135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3209" h="13541">
                      <a:moveTo>
                        <a:pt x="1028" y="13541"/>
                      </a:moveTo>
                      <a:lnTo>
                        <a:pt x="1028" y="3472"/>
                      </a:lnTo>
                      <a:lnTo>
                        <a:pt x="496" y="3472"/>
                      </a:lnTo>
                      <a:lnTo>
                        <a:pt x="471" y="3471"/>
                      </a:lnTo>
                      <a:lnTo>
                        <a:pt x="445" y="3469"/>
                      </a:lnTo>
                      <a:lnTo>
                        <a:pt x="421" y="3466"/>
                      </a:lnTo>
                      <a:lnTo>
                        <a:pt x="397" y="3462"/>
                      </a:lnTo>
                      <a:lnTo>
                        <a:pt x="372" y="3457"/>
                      </a:lnTo>
                      <a:lnTo>
                        <a:pt x="349" y="3450"/>
                      </a:lnTo>
                      <a:lnTo>
                        <a:pt x="326" y="3442"/>
                      </a:lnTo>
                      <a:lnTo>
                        <a:pt x="303" y="3434"/>
                      </a:lnTo>
                      <a:lnTo>
                        <a:pt x="281" y="3423"/>
                      </a:lnTo>
                      <a:lnTo>
                        <a:pt x="260" y="3412"/>
                      </a:lnTo>
                      <a:lnTo>
                        <a:pt x="240" y="3400"/>
                      </a:lnTo>
                      <a:lnTo>
                        <a:pt x="219" y="3387"/>
                      </a:lnTo>
                      <a:lnTo>
                        <a:pt x="200" y="3374"/>
                      </a:lnTo>
                      <a:lnTo>
                        <a:pt x="181" y="3358"/>
                      </a:lnTo>
                      <a:lnTo>
                        <a:pt x="163" y="3343"/>
                      </a:lnTo>
                      <a:lnTo>
                        <a:pt x="145" y="3327"/>
                      </a:lnTo>
                      <a:lnTo>
                        <a:pt x="129" y="3310"/>
                      </a:lnTo>
                      <a:lnTo>
                        <a:pt x="114" y="3291"/>
                      </a:lnTo>
                      <a:lnTo>
                        <a:pt x="99" y="3272"/>
                      </a:lnTo>
                      <a:lnTo>
                        <a:pt x="85" y="3253"/>
                      </a:lnTo>
                      <a:lnTo>
                        <a:pt x="72" y="3233"/>
                      </a:lnTo>
                      <a:lnTo>
                        <a:pt x="60" y="3212"/>
                      </a:lnTo>
                      <a:lnTo>
                        <a:pt x="49" y="3191"/>
                      </a:lnTo>
                      <a:lnTo>
                        <a:pt x="40" y="3169"/>
                      </a:lnTo>
                      <a:lnTo>
                        <a:pt x="31" y="3146"/>
                      </a:lnTo>
                      <a:lnTo>
                        <a:pt x="23" y="3123"/>
                      </a:lnTo>
                      <a:lnTo>
                        <a:pt x="16" y="3099"/>
                      </a:lnTo>
                      <a:lnTo>
                        <a:pt x="10" y="3075"/>
                      </a:lnTo>
                      <a:lnTo>
                        <a:pt x="6" y="3051"/>
                      </a:lnTo>
                      <a:lnTo>
                        <a:pt x="3" y="3026"/>
                      </a:lnTo>
                      <a:lnTo>
                        <a:pt x="1" y="3001"/>
                      </a:lnTo>
                      <a:lnTo>
                        <a:pt x="0" y="2975"/>
                      </a:lnTo>
                      <a:lnTo>
                        <a:pt x="1" y="2949"/>
                      </a:lnTo>
                      <a:lnTo>
                        <a:pt x="3" y="2925"/>
                      </a:lnTo>
                      <a:lnTo>
                        <a:pt x="6" y="2899"/>
                      </a:lnTo>
                      <a:lnTo>
                        <a:pt x="10" y="2875"/>
                      </a:lnTo>
                      <a:lnTo>
                        <a:pt x="16" y="2851"/>
                      </a:lnTo>
                      <a:lnTo>
                        <a:pt x="23" y="2827"/>
                      </a:lnTo>
                      <a:lnTo>
                        <a:pt x="31" y="2804"/>
                      </a:lnTo>
                      <a:lnTo>
                        <a:pt x="40" y="2781"/>
                      </a:lnTo>
                      <a:lnTo>
                        <a:pt x="49" y="2759"/>
                      </a:lnTo>
                      <a:lnTo>
                        <a:pt x="60" y="2738"/>
                      </a:lnTo>
                      <a:lnTo>
                        <a:pt x="72" y="2717"/>
                      </a:lnTo>
                      <a:lnTo>
                        <a:pt x="85" y="2697"/>
                      </a:lnTo>
                      <a:lnTo>
                        <a:pt x="99" y="2678"/>
                      </a:lnTo>
                      <a:lnTo>
                        <a:pt x="114" y="2659"/>
                      </a:lnTo>
                      <a:lnTo>
                        <a:pt x="129" y="2641"/>
                      </a:lnTo>
                      <a:lnTo>
                        <a:pt x="145" y="2624"/>
                      </a:lnTo>
                      <a:lnTo>
                        <a:pt x="163" y="2607"/>
                      </a:lnTo>
                      <a:lnTo>
                        <a:pt x="181" y="2591"/>
                      </a:lnTo>
                      <a:lnTo>
                        <a:pt x="200" y="2576"/>
                      </a:lnTo>
                      <a:lnTo>
                        <a:pt x="219" y="2563"/>
                      </a:lnTo>
                      <a:lnTo>
                        <a:pt x="240" y="2550"/>
                      </a:lnTo>
                      <a:lnTo>
                        <a:pt x="260" y="2538"/>
                      </a:lnTo>
                      <a:lnTo>
                        <a:pt x="281" y="2527"/>
                      </a:lnTo>
                      <a:lnTo>
                        <a:pt x="303" y="2517"/>
                      </a:lnTo>
                      <a:lnTo>
                        <a:pt x="326" y="2508"/>
                      </a:lnTo>
                      <a:lnTo>
                        <a:pt x="349" y="2500"/>
                      </a:lnTo>
                      <a:lnTo>
                        <a:pt x="372" y="2494"/>
                      </a:lnTo>
                      <a:lnTo>
                        <a:pt x="397" y="2488"/>
                      </a:lnTo>
                      <a:lnTo>
                        <a:pt x="421" y="2484"/>
                      </a:lnTo>
                      <a:lnTo>
                        <a:pt x="445" y="2481"/>
                      </a:lnTo>
                      <a:lnTo>
                        <a:pt x="471" y="2479"/>
                      </a:lnTo>
                      <a:lnTo>
                        <a:pt x="496" y="2478"/>
                      </a:lnTo>
                      <a:lnTo>
                        <a:pt x="1028" y="2478"/>
                      </a:lnTo>
                      <a:lnTo>
                        <a:pt x="1028" y="497"/>
                      </a:lnTo>
                      <a:lnTo>
                        <a:pt x="1029" y="471"/>
                      </a:lnTo>
                      <a:lnTo>
                        <a:pt x="1031" y="446"/>
                      </a:lnTo>
                      <a:lnTo>
                        <a:pt x="1035" y="422"/>
                      </a:lnTo>
                      <a:lnTo>
                        <a:pt x="1039" y="397"/>
                      </a:lnTo>
                      <a:lnTo>
                        <a:pt x="1045" y="373"/>
                      </a:lnTo>
                      <a:lnTo>
                        <a:pt x="1051" y="349"/>
                      </a:lnTo>
                      <a:lnTo>
                        <a:pt x="1059" y="326"/>
                      </a:lnTo>
                      <a:lnTo>
                        <a:pt x="1068" y="304"/>
                      </a:lnTo>
                      <a:lnTo>
                        <a:pt x="1078" y="281"/>
                      </a:lnTo>
                      <a:lnTo>
                        <a:pt x="1088" y="260"/>
                      </a:lnTo>
                      <a:lnTo>
                        <a:pt x="1100" y="240"/>
                      </a:lnTo>
                      <a:lnTo>
                        <a:pt x="1114" y="219"/>
                      </a:lnTo>
                      <a:lnTo>
                        <a:pt x="1128" y="200"/>
                      </a:lnTo>
                      <a:lnTo>
                        <a:pt x="1142" y="181"/>
                      </a:lnTo>
                      <a:lnTo>
                        <a:pt x="1157" y="163"/>
                      </a:lnTo>
                      <a:lnTo>
                        <a:pt x="1174" y="145"/>
                      </a:lnTo>
                      <a:lnTo>
                        <a:pt x="1192" y="129"/>
                      </a:lnTo>
                      <a:lnTo>
                        <a:pt x="1209" y="114"/>
                      </a:lnTo>
                      <a:lnTo>
                        <a:pt x="1228" y="99"/>
                      </a:lnTo>
                      <a:lnTo>
                        <a:pt x="1247" y="85"/>
                      </a:lnTo>
                      <a:lnTo>
                        <a:pt x="1268" y="72"/>
                      </a:lnTo>
                      <a:lnTo>
                        <a:pt x="1288" y="60"/>
                      </a:lnTo>
                      <a:lnTo>
                        <a:pt x="1310" y="49"/>
                      </a:lnTo>
                      <a:lnTo>
                        <a:pt x="1332" y="40"/>
                      </a:lnTo>
                      <a:lnTo>
                        <a:pt x="1354" y="30"/>
                      </a:lnTo>
                      <a:lnTo>
                        <a:pt x="1377" y="22"/>
                      </a:lnTo>
                      <a:lnTo>
                        <a:pt x="1401" y="15"/>
                      </a:lnTo>
                      <a:lnTo>
                        <a:pt x="1425" y="10"/>
                      </a:lnTo>
                      <a:lnTo>
                        <a:pt x="1449" y="6"/>
                      </a:lnTo>
                      <a:lnTo>
                        <a:pt x="1475" y="3"/>
                      </a:lnTo>
                      <a:lnTo>
                        <a:pt x="1499" y="1"/>
                      </a:lnTo>
                      <a:lnTo>
                        <a:pt x="1525" y="0"/>
                      </a:lnTo>
                      <a:lnTo>
                        <a:pt x="1551" y="1"/>
                      </a:lnTo>
                      <a:lnTo>
                        <a:pt x="1576" y="3"/>
                      </a:lnTo>
                      <a:lnTo>
                        <a:pt x="1600" y="6"/>
                      </a:lnTo>
                      <a:lnTo>
                        <a:pt x="1625" y="10"/>
                      </a:lnTo>
                      <a:lnTo>
                        <a:pt x="1649" y="15"/>
                      </a:lnTo>
                      <a:lnTo>
                        <a:pt x="1672" y="22"/>
                      </a:lnTo>
                      <a:lnTo>
                        <a:pt x="1696" y="30"/>
                      </a:lnTo>
                      <a:lnTo>
                        <a:pt x="1718" y="39"/>
                      </a:lnTo>
                      <a:lnTo>
                        <a:pt x="1740" y="49"/>
                      </a:lnTo>
                      <a:lnTo>
                        <a:pt x="1761" y="60"/>
                      </a:lnTo>
                      <a:lnTo>
                        <a:pt x="1782" y="72"/>
                      </a:lnTo>
                      <a:lnTo>
                        <a:pt x="1802" y="85"/>
                      </a:lnTo>
                      <a:lnTo>
                        <a:pt x="1821" y="99"/>
                      </a:lnTo>
                      <a:lnTo>
                        <a:pt x="1841" y="114"/>
                      </a:lnTo>
                      <a:lnTo>
                        <a:pt x="1859" y="129"/>
                      </a:lnTo>
                      <a:lnTo>
                        <a:pt x="1876" y="145"/>
                      </a:lnTo>
                      <a:lnTo>
                        <a:pt x="1892" y="163"/>
                      </a:lnTo>
                      <a:lnTo>
                        <a:pt x="1907" y="181"/>
                      </a:lnTo>
                      <a:lnTo>
                        <a:pt x="1923" y="200"/>
                      </a:lnTo>
                      <a:lnTo>
                        <a:pt x="1936" y="219"/>
                      </a:lnTo>
                      <a:lnTo>
                        <a:pt x="1949" y="240"/>
                      </a:lnTo>
                      <a:lnTo>
                        <a:pt x="1961" y="260"/>
                      </a:lnTo>
                      <a:lnTo>
                        <a:pt x="1972" y="281"/>
                      </a:lnTo>
                      <a:lnTo>
                        <a:pt x="1983" y="304"/>
                      </a:lnTo>
                      <a:lnTo>
                        <a:pt x="1991" y="326"/>
                      </a:lnTo>
                      <a:lnTo>
                        <a:pt x="1999" y="349"/>
                      </a:lnTo>
                      <a:lnTo>
                        <a:pt x="2006" y="373"/>
                      </a:lnTo>
                      <a:lnTo>
                        <a:pt x="2011" y="397"/>
                      </a:lnTo>
                      <a:lnTo>
                        <a:pt x="2015" y="422"/>
                      </a:lnTo>
                      <a:lnTo>
                        <a:pt x="2018" y="446"/>
                      </a:lnTo>
                      <a:lnTo>
                        <a:pt x="2020" y="471"/>
                      </a:lnTo>
                      <a:lnTo>
                        <a:pt x="2021" y="497"/>
                      </a:lnTo>
                      <a:lnTo>
                        <a:pt x="2021" y="2478"/>
                      </a:lnTo>
                      <a:lnTo>
                        <a:pt x="6877" y="2478"/>
                      </a:lnTo>
                      <a:lnTo>
                        <a:pt x="6877" y="1960"/>
                      </a:lnTo>
                      <a:lnTo>
                        <a:pt x="6723" y="1960"/>
                      </a:lnTo>
                      <a:lnTo>
                        <a:pt x="6695" y="1959"/>
                      </a:lnTo>
                      <a:lnTo>
                        <a:pt x="6668" y="1957"/>
                      </a:lnTo>
                      <a:lnTo>
                        <a:pt x="6640" y="1953"/>
                      </a:lnTo>
                      <a:lnTo>
                        <a:pt x="6614" y="1948"/>
                      </a:lnTo>
                      <a:lnTo>
                        <a:pt x="6588" y="1942"/>
                      </a:lnTo>
                      <a:lnTo>
                        <a:pt x="6562" y="1935"/>
                      </a:lnTo>
                      <a:lnTo>
                        <a:pt x="6537" y="1926"/>
                      </a:lnTo>
                      <a:lnTo>
                        <a:pt x="6513" y="1917"/>
                      </a:lnTo>
                      <a:lnTo>
                        <a:pt x="6488" y="1906"/>
                      </a:lnTo>
                      <a:lnTo>
                        <a:pt x="6465" y="1894"/>
                      </a:lnTo>
                      <a:lnTo>
                        <a:pt x="6443" y="1880"/>
                      </a:lnTo>
                      <a:lnTo>
                        <a:pt x="6420" y="1866"/>
                      </a:lnTo>
                      <a:lnTo>
                        <a:pt x="6399" y="1852"/>
                      </a:lnTo>
                      <a:lnTo>
                        <a:pt x="6379" y="1836"/>
                      </a:lnTo>
                      <a:lnTo>
                        <a:pt x="6360" y="1818"/>
                      </a:lnTo>
                      <a:lnTo>
                        <a:pt x="6340" y="1800"/>
                      </a:lnTo>
                      <a:lnTo>
                        <a:pt x="6322" y="1782"/>
                      </a:lnTo>
                      <a:lnTo>
                        <a:pt x="6306" y="1762"/>
                      </a:lnTo>
                      <a:lnTo>
                        <a:pt x="6290" y="1741"/>
                      </a:lnTo>
                      <a:lnTo>
                        <a:pt x="6274" y="1720"/>
                      </a:lnTo>
                      <a:lnTo>
                        <a:pt x="6260" y="1699"/>
                      </a:lnTo>
                      <a:lnTo>
                        <a:pt x="6247" y="1675"/>
                      </a:lnTo>
                      <a:lnTo>
                        <a:pt x="6235" y="1652"/>
                      </a:lnTo>
                      <a:lnTo>
                        <a:pt x="6225" y="1628"/>
                      </a:lnTo>
                      <a:lnTo>
                        <a:pt x="6215" y="1603"/>
                      </a:lnTo>
                      <a:lnTo>
                        <a:pt x="6206" y="1578"/>
                      </a:lnTo>
                      <a:lnTo>
                        <a:pt x="6198" y="1552"/>
                      </a:lnTo>
                      <a:lnTo>
                        <a:pt x="6192" y="1526"/>
                      </a:lnTo>
                      <a:lnTo>
                        <a:pt x="6188" y="1499"/>
                      </a:lnTo>
                      <a:lnTo>
                        <a:pt x="6184" y="1472"/>
                      </a:lnTo>
                      <a:lnTo>
                        <a:pt x="6182" y="1445"/>
                      </a:lnTo>
                      <a:lnTo>
                        <a:pt x="6182" y="1417"/>
                      </a:lnTo>
                      <a:lnTo>
                        <a:pt x="6182" y="1039"/>
                      </a:lnTo>
                      <a:lnTo>
                        <a:pt x="6182" y="1012"/>
                      </a:lnTo>
                      <a:lnTo>
                        <a:pt x="6184" y="984"/>
                      </a:lnTo>
                      <a:lnTo>
                        <a:pt x="6188" y="957"/>
                      </a:lnTo>
                      <a:lnTo>
                        <a:pt x="6192" y="931"/>
                      </a:lnTo>
                      <a:lnTo>
                        <a:pt x="6198" y="904"/>
                      </a:lnTo>
                      <a:lnTo>
                        <a:pt x="6206" y="878"/>
                      </a:lnTo>
                      <a:lnTo>
                        <a:pt x="6215" y="853"/>
                      </a:lnTo>
                      <a:lnTo>
                        <a:pt x="6225" y="828"/>
                      </a:lnTo>
                      <a:lnTo>
                        <a:pt x="6235" y="805"/>
                      </a:lnTo>
                      <a:lnTo>
                        <a:pt x="6247" y="781"/>
                      </a:lnTo>
                      <a:lnTo>
                        <a:pt x="6260" y="758"/>
                      </a:lnTo>
                      <a:lnTo>
                        <a:pt x="6274" y="737"/>
                      </a:lnTo>
                      <a:lnTo>
                        <a:pt x="6290" y="715"/>
                      </a:lnTo>
                      <a:lnTo>
                        <a:pt x="6306" y="695"/>
                      </a:lnTo>
                      <a:lnTo>
                        <a:pt x="6322" y="675"/>
                      </a:lnTo>
                      <a:lnTo>
                        <a:pt x="6340" y="656"/>
                      </a:lnTo>
                      <a:lnTo>
                        <a:pt x="6360" y="638"/>
                      </a:lnTo>
                      <a:lnTo>
                        <a:pt x="6379" y="621"/>
                      </a:lnTo>
                      <a:lnTo>
                        <a:pt x="6399" y="604"/>
                      </a:lnTo>
                      <a:lnTo>
                        <a:pt x="6420" y="589"/>
                      </a:lnTo>
                      <a:lnTo>
                        <a:pt x="6443" y="576"/>
                      </a:lnTo>
                      <a:lnTo>
                        <a:pt x="6465" y="563"/>
                      </a:lnTo>
                      <a:lnTo>
                        <a:pt x="6488" y="551"/>
                      </a:lnTo>
                      <a:lnTo>
                        <a:pt x="6513" y="539"/>
                      </a:lnTo>
                      <a:lnTo>
                        <a:pt x="6537" y="530"/>
                      </a:lnTo>
                      <a:lnTo>
                        <a:pt x="6562" y="521"/>
                      </a:lnTo>
                      <a:lnTo>
                        <a:pt x="6588" y="514"/>
                      </a:lnTo>
                      <a:lnTo>
                        <a:pt x="6614" y="508"/>
                      </a:lnTo>
                      <a:lnTo>
                        <a:pt x="6640" y="503"/>
                      </a:lnTo>
                      <a:lnTo>
                        <a:pt x="6668" y="500"/>
                      </a:lnTo>
                      <a:lnTo>
                        <a:pt x="6695" y="498"/>
                      </a:lnTo>
                      <a:lnTo>
                        <a:pt x="6723" y="497"/>
                      </a:lnTo>
                      <a:lnTo>
                        <a:pt x="10162" y="497"/>
                      </a:lnTo>
                      <a:lnTo>
                        <a:pt x="10189" y="498"/>
                      </a:lnTo>
                      <a:lnTo>
                        <a:pt x="10217" y="500"/>
                      </a:lnTo>
                      <a:lnTo>
                        <a:pt x="10244" y="503"/>
                      </a:lnTo>
                      <a:lnTo>
                        <a:pt x="10271" y="508"/>
                      </a:lnTo>
                      <a:lnTo>
                        <a:pt x="10296" y="514"/>
                      </a:lnTo>
                      <a:lnTo>
                        <a:pt x="10323" y="521"/>
                      </a:lnTo>
                      <a:lnTo>
                        <a:pt x="10348" y="530"/>
                      </a:lnTo>
                      <a:lnTo>
                        <a:pt x="10373" y="539"/>
                      </a:lnTo>
                      <a:lnTo>
                        <a:pt x="10396" y="551"/>
                      </a:lnTo>
                      <a:lnTo>
                        <a:pt x="10420" y="563"/>
                      </a:lnTo>
                      <a:lnTo>
                        <a:pt x="10442" y="576"/>
                      </a:lnTo>
                      <a:lnTo>
                        <a:pt x="10465" y="589"/>
                      </a:lnTo>
                      <a:lnTo>
                        <a:pt x="10485" y="604"/>
                      </a:lnTo>
                      <a:lnTo>
                        <a:pt x="10506" y="621"/>
                      </a:lnTo>
                      <a:lnTo>
                        <a:pt x="10526" y="638"/>
                      </a:lnTo>
                      <a:lnTo>
                        <a:pt x="10544" y="656"/>
                      </a:lnTo>
                      <a:lnTo>
                        <a:pt x="10562" y="675"/>
                      </a:lnTo>
                      <a:lnTo>
                        <a:pt x="10579" y="695"/>
                      </a:lnTo>
                      <a:lnTo>
                        <a:pt x="10596" y="715"/>
                      </a:lnTo>
                      <a:lnTo>
                        <a:pt x="10611" y="737"/>
                      </a:lnTo>
                      <a:lnTo>
                        <a:pt x="10625" y="758"/>
                      </a:lnTo>
                      <a:lnTo>
                        <a:pt x="10637" y="781"/>
                      </a:lnTo>
                      <a:lnTo>
                        <a:pt x="10649" y="805"/>
                      </a:lnTo>
                      <a:lnTo>
                        <a:pt x="10660" y="828"/>
                      </a:lnTo>
                      <a:lnTo>
                        <a:pt x="10670" y="853"/>
                      </a:lnTo>
                      <a:lnTo>
                        <a:pt x="10679" y="878"/>
                      </a:lnTo>
                      <a:lnTo>
                        <a:pt x="10686" y="904"/>
                      </a:lnTo>
                      <a:lnTo>
                        <a:pt x="10692" y="931"/>
                      </a:lnTo>
                      <a:lnTo>
                        <a:pt x="10697" y="957"/>
                      </a:lnTo>
                      <a:lnTo>
                        <a:pt x="10700" y="984"/>
                      </a:lnTo>
                      <a:lnTo>
                        <a:pt x="10702" y="1012"/>
                      </a:lnTo>
                      <a:lnTo>
                        <a:pt x="10703" y="1039"/>
                      </a:lnTo>
                      <a:lnTo>
                        <a:pt x="10703" y="1417"/>
                      </a:lnTo>
                      <a:lnTo>
                        <a:pt x="10702" y="1445"/>
                      </a:lnTo>
                      <a:lnTo>
                        <a:pt x="10700" y="1472"/>
                      </a:lnTo>
                      <a:lnTo>
                        <a:pt x="10697" y="1499"/>
                      </a:lnTo>
                      <a:lnTo>
                        <a:pt x="10692" y="1526"/>
                      </a:lnTo>
                      <a:lnTo>
                        <a:pt x="10686" y="1552"/>
                      </a:lnTo>
                      <a:lnTo>
                        <a:pt x="10679" y="1578"/>
                      </a:lnTo>
                      <a:lnTo>
                        <a:pt x="10670" y="1603"/>
                      </a:lnTo>
                      <a:lnTo>
                        <a:pt x="10660" y="1628"/>
                      </a:lnTo>
                      <a:lnTo>
                        <a:pt x="10649" y="1652"/>
                      </a:lnTo>
                      <a:lnTo>
                        <a:pt x="10637" y="1675"/>
                      </a:lnTo>
                      <a:lnTo>
                        <a:pt x="10625" y="1699"/>
                      </a:lnTo>
                      <a:lnTo>
                        <a:pt x="10611" y="1720"/>
                      </a:lnTo>
                      <a:lnTo>
                        <a:pt x="10596" y="1741"/>
                      </a:lnTo>
                      <a:lnTo>
                        <a:pt x="10579" y="1762"/>
                      </a:lnTo>
                      <a:lnTo>
                        <a:pt x="10562" y="1782"/>
                      </a:lnTo>
                      <a:lnTo>
                        <a:pt x="10544" y="1800"/>
                      </a:lnTo>
                      <a:lnTo>
                        <a:pt x="10526" y="1818"/>
                      </a:lnTo>
                      <a:lnTo>
                        <a:pt x="10506" y="1836"/>
                      </a:lnTo>
                      <a:lnTo>
                        <a:pt x="10485" y="1852"/>
                      </a:lnTo>
                      <a:lnTo>
                        <a:pt x="10465" y="1866"/>
                      </a:lnTo>
                      <a:lnTo>
                        <a:pt x="10442" y="1880"/>
                      </a:lnTo>
                      <a:lnTo>
                        <a:pt x="10420" y="1894"/>
                      </a:lnTo>
                      <a:lnTo>
                        <a:pt x="10396" y="1906"/>
                      </a:lnTo>
                      <a:lnTo>
                        <a:pt x="10373" y="1917"/>
                      </a:lnTo>
                      <a:lnTo>
                        <a:pt x="10348" y="1926"/>
                      </a:lnTo>
                      <a:lnTo>
                        <a:pt x="10323" y="1935"/>
                      </a:lnTo>
                      <a:lnTo>
                        <a:pt x="10296" y="1942"/>
                      </a:lnTo>
                      <a:lnTo>
                        <a:pt x="10271" y="1948"/>
                      </a:lnTo>
                      <a:lnTo>
                        <a:pt x="10244" y="1953"/>
                      </a:lnTo>
                      <a:lnTo>
                        <a:pt x="10217" y="1957"/>
                      </a:lnTo>
                      <a:lnTo>
                        <a:pt x="10189" y="1959"/>
                      </a:lnTo>
                      <a:lnTo>
                        <a:pt x="10162" y="1960"/>
                      </a:lnTo>
                      <a:lnTo>
                        <a:pt x="10009" y="1960"/>
                      </a:lnTo>
                      <a:lnTo>
                        <a:pt x="10009" y="2478"/>
                      </a:lnTo>
                      <a:lnTo>
                        <a:pt x="10895" y="2478"/>
                      </a:lnTo>
                      <a:lnTo>
                        <a:pt x="10920" y="2479"/>
                      </a:lnTo>
                      <a:lnTo>
                        <a:pt x="10945" y="2481"/>
                      </a:lnTo>
                      <a:lnTo>
                        <a:pt x="10971" y="2484"/>
                      </a:lnTo>
                      <a:lnTo>
                        <a:pt x="10995" y="2488"/>
                      </a:lnTo>
                      <a:lnTo>
                        <a:pt x="11018" y="2494"/>
                      </a:lnTo>
                      <a:lnTo>
                        <a:pt x="11043" y="2500"/>
                      </a:lnTo>
                      <a:lnTo>
                        <a:pt x="11065" y="2508"/>
                      </a:lnTo>
                      <a:lnTo>
                        <a:pt x="11088" y="2517"/>
                      </a:lnTo>
                      <a:lnTo>
                        <a:pt x="11110" y="2527"/>
                      </a:lnTo>
                      <a:lnTo>
                        <a:pt x="11131" y="2538"/>
                      </a:lnTo>
                      <a:lnTo>
                        <a:pt x="11152" y="2550"/>
                      </a:lnTo>
                      <a:lnTo>
                        <a:pt x="11172" y="2563"/>
                      </a:lnTo>
                      <a:lnTo>
                        <a:pt x="11192" y="2576"/>
                      </a:lnTo>
                      <a:lnTo>
                        <a:pt x="11210" y="2591"/>
                      </a:lnTo>
                      <a:lnTo>
                        <a:pt x="11228" y="2607"/>
                      </a:lnTo>
                      <a:lnTo>
                        <a:pt x="11245" y="2624"/>
                      </a:lnTo>
                      <a:lnTo>
                        <a:pt x="11262" y="2641"/>
                      </a:lnTo>
                      <a:lnTo>
                        <a:pt x="11278" y="2659"/>
                      </a:lnTo>
                      <a:lnTo>
                        <a:pt x="11292" y="2678"/>
                      </a:lnTo>
                      <a:lnTo>
                        <a:pt x="11306" y="2697"/>
                      </a:lnTo>
                      <a:lnTo>
                        <a:pt x="11319" y="2717"/>
                      </a:lnTo>
                      <a:lnTo>
                        <a:pt x="11331" y="2738"/>
                      </a:lnTo>
                      <a:lnTo>
                        <a:pt x="11342" y="2759"/>
                      </a:lnTo>
                      <a:lnTo>
                        <a:pt x="11352" y="2781"/>
                      </a:lnTo>
                      <a:lnTo>
                        <a:pt x="11361" y="2804"/>
                      </a:lnTo>
                      <a:lnTo>
                        <a:pt x="11369" y="2827"/>
                      </a:lnTo>
                      <a:lnTo>
                        <a:pt x="11375" y="2851"/>
                      </a:lnTo>
                      <a:lnTo>
                        <a:pt x="11381" y="2875"/>
                      </a:lnTo>
                      <a:lnTo>
                        <a:pt x="11385" y="2899"/>
                      </a:lnTo>
                      <a:lnTo>
                        <a:pt x="11388" y="2925"/>
                      </a:lnTo>
                      <a:lnTo>
                        <a:pt x="11390" y="2949"/>
                      </a:lnTo>
                      <a:lnTo>
                        <a:pt x="11391" y="2975"/>
                      </a:lnTo>
                      <a:lnTo>
                        <a:pt x="11390" y="3001"/>
                      </a:lnTo>
                      <a:lnTo>
                        <a:pt x="11388" y="3026"/>
                      </a:lnTo>
                      <a:lnTo>
                        <a:pt x="11385" y="3051"/>
                      </a:lnTo>
                      <a:lnTo>
                        <a:pt x="11381" y="3075"/>
                      </a:lnTo>
                      <a:lnTo>
                        <a:pt x="11375" y="3099"/>
                      </a:lnTo>
                      <a:lnTo>
                        <a:pt x="11369" y="3123"/>
                      </a:lnTo>
                      <a:lnTo>
                        <a:pt x="11361" y="3146"/>
                      </a:lnTo>
                      <a:lnTo>
                        <a:pt x="11352" y="3169"/>
                      </a:lnTo>
                      <a:lnTo>
                        <a:pt x="11342" y="3191"/>
                      </a:lnTo>
                      <a:lnTo>
                        <a:pt x="11331" y="3212"/>
                      </a:lnTo>
                      <a:lnTo>
                        <a:pt x="11319" y="3233"/>
                      </a:lnTo>
                      <a:lnTo>
                        <a:pt x="11306" y="3253"/>
                      </a:lnTo>
                      <a:lnTo>
                        <a:pt x="11292" y="3272"/>
                      </a:lnTo>
                      <a:lnTo>
                        <a:pt x="11278" y="3291"/>
                      </a:lnTo>
                      <a:lnTo>
                        <a:pt x="11262" y="3310"/>
                      </a:lnTo>
                      <a:lnTo>
                        <a:pt x="11245" y="3327"/>
                      </a:lnTo>
                      <a:lnTo>
                        <a:pt x="11228" y="3343"/>
                      </a:lnTo>
                      <a:lnTo>
                        <a:pt x="11210" y="3358"/>
                      </a:lnTo>
                      <a:lnTo>
                        <a:pt x="11192" y="3374"/>
                      </a:lnTo>
                      <a:lnTo>
                        <a:pt x="11172" y="3387"/>
                      </a:lnTo>
                      <a:lnTo>
                        <a:pt x="11152" y="3400"/>
                      </a:lnTo>
                      <a:lnTo>
                        <a:pt x="11131" y="3412"/>
                      </a:lnTo>
                      <a:lnTo>
                        <a:pt x="11110" y="3423"/>
                      </a:lnTo>
                      <a:lnTo>
                        <a:pt x="11088" y="3434"/>
                      </a:lnTo>
                      <a:lnTo>
                        <a:pt x="11065" y="3442"/>
                      </a:lnTo>
                      <a:lnTo>
                        <a:pt x="11043" y="3450"/>
                      </a:lnTo>
                      <a:lnTo>
                        <a:pt x="11018" y="3457"/>
                      </a:lnTo>
                      <a:lnTo>
                        <a:pt x="10995" y="3462"/>
                      </a:lnTo>
                      <a:lnTo>
                        <a:pt x="10971" y="3466"/>
                      </a:lnTo>
                      <a:lnTo>
                        <a:pt x="10945" y="3469"/>
                      </a:lnTo>
                      <a:lnTo>
                        <a:pt x="10920" y="3471"/>
                      </a:lnTo>
                      <a:lnTo>
                        <a:pt x="10895" y="3472"/>
                      </a:lnTo>
                      <a:lnTo>
                        <a:pt x="10009" y="3472"/>
                      </a:lnTo>
                      <a:lnTo>
                        <a:pt x="10009" y="3996"/>
                      </a:lnTo>
                      <a:lnTo>
                        <a:pt x="10181" y="4060"/>
                      </a:lnTo>
                      <a:lnTo>
                        <a:pt x="10351" y="4131"/>
                      </a:lnTo>
                      <a:lnTo>
                        <a:pt x="10518" y="4208"/>
                      </a:lnTo>
                      <a:lnTo>
                        <a:pt x="10681" y="4291"/>
                      </a:lnTo>
                      <a:lnTo>
                        <a:pt x="10840" y="4380"/>
                      </a:lnTo>
                      <a:lnTo>
                        <a:pt x="10996" y="4475"/>
                      </a:lnTo>
                      <a:lnTo>
                        <a:pt x="11147" y="4576"/>
                      </a:lnTo>
                      <a:lnTo>
                        <a:pt x="11294" y="4681"/>
                      </a:lnTo>
                      <a:lnTo>
                        <a:pt x="11438" y="4793"/>
                      </a:lnTo>
                      <a:lnTo>
                        <a:pt x="11576" y="4910"/>
                      </a:lnTo>
                      <a:lnTo>
                        <a:pt x="11711" y="5032"/>
                      </a:lnTo>
                      <a:lnTo>
                        <a:pt x="11840" y="5159"/>
                      </a:lnTo>
                      <a:lnTo>
                        <a:pt x="11964" y="5291"/>
                      </a:lnTo>
                      <a:lnTo>
                        <a:pt x="12084" y="5427"/>
                      </a:lnTo>
                      <a:lnTo>
                        <a:pt x="12199" y="5568"/>
                      </a:lnTo>
                      <a:lnTo>
                        <a:pt x="12308" y="5713"/>
                      </a:lnTo>
                      <a:lnTo>
                        <a:pt x="12411" y="5863"/>
                      </a:lnTo>
                      <a:lnTo>
                        <a:pt x="12509" y="6016"/>
                      </a:lnTo>
                      <a:lnTo>
                        <a:pt x="12601" y="6173"/>
                      </a:lnTo>
                      <a:lnTo>
                        <a:pt x="12688" y="6334"/>
                      </a:lnTo>
                      <a:lnTo>
                        <a:pt x="12768" y="6500"/>
                      </a:lnTo>
                      <a:lnTo>
                        <a:pt x="12842" y="6667"/>
                      </a:lnTo>
                      <a:lnTo>
                        <a:pt x="12910" y="6839"/>
                      </a:lnTo>
                      <a:lnTo>
                        <a:pt x="12971" y="7014"/>
                      </a:lnTo>
                      <a:lnTo>
                        <a:pt x="13026" y="7191"/>
                      </a:lnTo>
                      <a:lnTo>
                        <a:pt x="13074" y="7372"/>
                      </a:lnTo>
                      <a:lnTo>
                        <a:pt x="13114" y="7556"/>
                      </a:lnTo>
                      <a:lnTo>
                        <a:pt x="13149" y="7742"/>
                      </a:lnTo>
                      <a:lnTo>
                        <a:pt x="13175" y="7930"/>
                      </a:lnTo>
                      <a:lnTo>
                        <a:pt x="13194" y="8121"/>
                      </a:lnTo>
                      <a:lnTo>
                        <a:pt x="13205" y="8314"/>
                      </a:lnTo>
                      <a:lnTo>
                        <a:pt x="13209" y="8509"/>
                      </a:lnTo>
                      <a:lnTo>
                        <a:pt x="13203" y="8755"/>
                      </a:lnTo>
                      <a:lnTo>
                        <a:pt x="13185" y="8998"/>
                      </a:lnTo>
                      <a:lnTo>
                        <a:pt x="13155" y="9236"/>
                      </a:lnTo>
                      <a:lnTo>
                        <a:pt x="13113" y="9471"/>
                      </a:lnTo>
                      <a:lnTo>
                        <a:pt x="13059" y="9703"/>
                      </a:lnTo>
                      <a:lnTo>
                        <a:pt x="12995" y="9929"/>
                      </a:lnTo>
                      <a:lnTo>
                        <a:pt x="12920" y="10151"/>
                      </a:lnTo>
                      <a:lnTo>
                        <a:pt x="12835" y="10368"/>
                      </a:lnTo>
                      <a:lnTo>
                        <a:pt x="12739" y="10579"/>
                      </a:lnTo>
                      <a:lnTo>
                        <a:pt x="12635" y="10786"/>
                      </a:lnTo>
                      <a:lnTo>
                        <a:pt x="12519" y="10986"/>
                      </a:lnTo>
                      <a:lnTo>
                        <a:pt x="12395" y="11180"/>
                      </a:lnTo>
                      <a:lnTo>
                        <a:pt x="12262" y="11367"/>
                      </a:lnTo>
                      <a:lnTo>
                        <a:pt x="12120" y="11547"/>
                      </a:lnTo>
                      <a:lnTo>
                        <a:pt x="11971" y="11720"/>
                      </a:lnTo>
                      <a:lnTo>
                        <a:pt x="11813" y="11886"/>
                      </a:lnTo>
                      <a:lnTo>
                        <a:pt x="11648" y="12044"/>
                      </a:lnTo>
                      <a:lnTo>
                        <a:pt x="11475" y="12195"/>
                      </a:lnTo>
                      <a:lnTo>
                        <a:pt x="11294" y="12337"/>
                      </a:lnTo>
                      <a:lnTo>
                        <a:pt x="11108" y="12470"/>
                      </a:lnTo>
                      <a:lnTo>
                        <a:pt x="10914" y="12594"/>
                      </a:lnTo>
                      <a:lnTo>
                        <a:pt x="10714" y="12709"/>
                      </a:lnTo>
                      <a:lnTo>
                        <a:pt x="10509" y="12814"/>
                      </a:lnTo>
                      <a:lnTo>
                        <a:pt x="10297" y="12910"/>
                      </a:lnTo>
                      <a:lnTo>
                        <a:pt x="10082" y="12995"/>
                      </a:lnTo>
                      <a:lnTo>
                        <a:pt x="9859" y="13070"/>
                      </a:lnTo>
                      <a:lnTo>
                        <a:pt x="9633" y="13135"/>
                      </a:lnTo>
                      <a:lnTo>
                        <a:pt x="9403" y="13188"/>
                      </a:lnTo>
                      <a:lnTo>
                        <a:pt x="9168" y="13230"/>
                      </a:lnTo>
                      <a:lnTo>
                        <a:pt x="8930" y="13260"/>
                      </a:lnTo>
                      <a:lnTo>
                        <a:pt x="8687" y="13279"/>
                      </a:lnTo>
                      <a:lnTo>
                        <a:pt x="8442" y="13286"/>
                      </a:lnTo>
                      <a:lnTo>
                        <a:pt x="8197" y="13279"/>
                      </a:lnTo>
                      <a:lnTo>
                        <a:pt x="7954" y="13260"/>
                      </a:lnTo>
                      <a:lnTo>
                        <a:pt x="7716" y="13230"/>
                      </a:lnTo>
                      <a:lnTo>
                        <a:pt x="7482" y="13188"/>
                      </a:lnTo>
                      <a:lnTo>
                        <a:pt x="7251" y="13135"/>
                      </a:lnTo>
                      <a:lnTo>
                        <a:pt x="7025" y="13070"/>
                      </a:lnTo>
                      <a:lnTo>
                        <a:pt x="6804" y="12995"/>
                      </a:lnTo>
                      <a:lnTo>
                        <a:pt x="6587" y="12910"/>
                      </a:lnTo>
                      <a:lnTo>
                        <a:pt x="6376" y="12814"/>
                      </a:lnTo>
                      <a:lnTo>
                        <a:pt x="6170" y="12709"/>
                      </a:lnTo>
                      <a:lnTo>
                        <a:pt x="5970" y="12594"/>
                      </a:lnTo>
                      <a:lnTo>
                        <a:pt x="5777" y="12470"/>
                      </a:lnTo>
                      <a:lnTo>
                        <a:pt x="5590" y="12337"/>
                      </a:lnTo>
                      <a:lnTo>
                        <a:pt x="5409" y="12195"/>
                      </a:lnTo>
                      <a:lnTo>
                        <a:pt x="5237" y="12044"/>
                      </a:lnTo>
                      <a:lnTo>
                        <a:pt x="5072" y="11886"/>
                      </a:lnTo>
                      <a:lnTo>
                        <a:pt x="4914" y="11720"/>
                      </a:lnTo>
                      <a:lnTo>
                        <a:pt x="4764" y="11547"/>
                      </a:lnTo>
                      <a:lnTo>
                        <a:pt x="4623" y="11367"/>
                      </a:lnTo>
                      <a:lnTo>
                        <a:pt x="4489" y="11180"/>
                      </a:lnTo>
                      <a:lnTo>
                        <a:pt x="4365" y="10986"/>
                      </a:lnTo>
                      <a:lnTo>
                        <a:pt x="4251" y="10786"/>
                      </a:lnTo>
                      <a:lnTo>
                        <a:pt x="4145" y="10579"/>
                      </a:lnTo>
                      <a:lnTo>
                        <a:pt x="4050" y="10368"/>
                      </a:lnTo>
                      <a:lnTo>
                        <a:pt x="3965" y="10151"/>
                      </a:lnTo>
                      <a:lnTo>
                        <a:pt x="3890" y="9929"/>
                      </a:lnTo>
                      <a:lnTo>
                        <a:pt x="3825" y="9703"/>
                      </a:lnTo>
                      <a:lnTo>
                        <a:pt x="3772" y="9471"/>
                      </a:lnTo>
                      <a:lnTo>
                        <a:pt x="3730" y="9236"/>
                      </a:lnTo>
                      <a:lnTo>
                        <a:pt x="3700" y="8998"/>
                      </a:lnTo>
                      <a:lnTo>
                        <a:pt x="3682" y="8755"/>
                      </a:lnTo>
                      <a:lnTo>
                        <a:pt x="3675" y="8509"/>
                      </a:lnTo>
                      <a:lnTo>
                        <a:pt x="3679" y="8314"/>
                      </a:lnTo>
                      <a:lnTo>
                        <a:pt x="3691" y="8121"/>
                      </a:lnTo>
                      <a:lnTo>
                        <a:pt x="3710" y="7930"/>
                      </a:lnTo>
                      <a:lnTo>
                        <a:pt x="3737" y="7742"/>
                      </a:lnTo>
                      <a:lnTo>
                        <a:pt x="3770" y="7556"/>
                      </a:lnTo>
                      <a:lnTo>
                        <a:pt x="3811" y="7372"/>
                      </a:lnTo>
                      <a:lnTo>
                        <a:pt x="3858" y="7191"/>
                      </a:lnTo>
                      <a:lnTo>
                        <a:pt x="3913" y="7014"/>
                      </a:lnTo>
                      <a:lnTo>
                        <a:pt x="3975" y="6839"/>
                      </a:lnTo>
                      <a:lnTo>
                        <a:pt x="4042" y="6667"/>
                      </a:lnTo>
                      <a:lnTo>
                        <a:pt x="4117" y="6500"/>
                      </a:lnTo>
                      <a:lnTo>
                        <a:pt x="4197" y="6334"/>
                      </a:lnTo>
                      <a:lnTo>
                        <a:pt x="4283" y="6173"/>
                      </a:lnTo>
                      <a:lnTo>
                        <a:pt x="4375" y="6016"/>
                      </a:lnTo>
                      <a:lnTo>
                        <a:pt x="4474" y="5863"/>
                      </a:lnTo>
                      <a:lnTo>
                        <a:pt x="4577" y="5713"/>
                      </a:lnTo>
                      <a:lnTo>
                        <a:pt x="4686" y="5568"/>
                      </a:lnTo>
                      <a:lnTo>
                        <a:pt x="4800" y="5427"/>
                      </a:lnTo>
                      <a:lnTo>
                        <a:pt x="4920" y="5291"/>
                      </a:lnTo>
                      <a:lnTo>
                        <a:pt x="5044" y="5159"/>
                      </a:lnTo>
                      <a:lnTo>
                        <a:pt x="5174" y="5032"/>
                      </a:lnTo>
                      <a:lnTo>
                        <a:pt x="5308" y="4910"/>
                      </a:lnTo>
                      <a:lnTo>
                        <a:pt x="5447" y="4793"/>
                      </a:lnTo>
                      <a:lnTo>
                        <a:pt x="5590" y="4681"/>
                      </a:lnTo>
                      <a:lnTo>
                        <a:pt x="5737" y="4576"/>
                      </a:lnTo>
                      <a:lnTo>
                        <a:pt x="5889" y="4475"/>
                      </a:lnTo>
                      <a:lnTo>
                        <a:pt x="6044" y="4380"/>
                      </a:lnTo>
                      <a:lnTo>
                        <a:pt x="6203" y="4291"/>
                      </a:lnTo>
                      <a:lnTo>
                        <a:pt x="6367" y="4208"/>
                      </a:lnTo>
                      <a:lnTo>
                        <a:pt x="6533" y="4131"/>
                      </a:lnTo>
                      <a:lnTo>
                        <a:pt x="6703" y="4060"/>
                      </a:lnTo>
                      <a:lnTo>
                        <a:pt x="6877" y="3996"/>
                      </a:lnTo>
                      <a:lnTo>
                        <a:pt x="6877" y="3472"/>
                      </a:lnTo>
                      <a:lnTo>
                        <a:pt x="2021" y="3472"/>
                      </a:lnTo>
                      <a:lnTo>
                        <a:pt x="2021" y="13541"/>
                      </a:lnTo>
                      <a:lnTo>
                        <a:pt x="1028" y="13541"/>
                      </a:lnTo>
                      <a:close/>
                      <a:moveTo>
                        <a:pt x="5162" y="6482"/>
                      </a:moveTo>
                      <a:lnTo>
                        <a:pt x="5128" y="6539"/>
                      </a:lnTo>
                      <a:lnTo>
                        <a:pt x="5093" y="6597"/>
                      </a:lnTo>
                      <a:lnTo>
                        <a:pt x="5060" y="6655"/>
                      </a:lnTo>
                      <a:lnTo>
                        <a:pt x="5027" y="6713"/>
                      </a:lnTo>
                      <a:lnTo>
                        <a:pt x="4996" y="6773"/>
                      </a:lnTo>
                      <a:lnTo>
                        <a:pt x="4965" y="6832"/>
                      </a:lnTo>
                      <a:lnTo>
                        <a:pt x="4937" y="6893"/>
                      </a:lnTo>
                      <a:lnTo>
                        <a:pt x="4909" y="6954"/>
                      </a:lnTo>
                      <a:lnTo>
                        <a:pt x="4881" y="7015"/>
                      </a:lnTo>
                      <a:lnTo>
                        <a:pt x="4855" y="7077"/>
                      </a:lnTo>
                      <a:lnTo>
                        <a:pt x="4830" y="7140"/>
                      </a:lnTo>
                      <a:lnTo>
                        <a:pt x="4805" y="7203"/>
                      </a:lnTo>
                      <a:lnTo>
                        <a:pt x="4782" y="7267"/>
                      </a:lnTo>
                      <a:lnTo>
                        <a:pt x="4761" y="7331"/>
                      </a:lnTo>
                      <a:lnTo>
                        <a:pt x="4739" y="7396"/>
                      </a:lnTo>
                      <a:lnTo>
                        <a:pt x="4720" y="7461"/>
                      </a:lnTo>
                      <a:lnTo>
                        <a:pt x="4701" y="7527"/>
                      </a:lnTo>
                      <a:lnTo>
                        <a:pt x="4684" y="7593"/>
                      </a:lnTo>
                      <a:lnTo>
                        <a:pt x="4667" y="7659"/>
                      </a:lnTo>
                      <a:lnTo>
                        <a:pt x="4652" y="7726"/>
                      </a:lnTo>
                      <a:lnTo>
                        <a:pt x="4638" y="7794"/>
                      </a:lnTo>
                      <a:lnTo>
                        <a:pt x="4625" y="7861"/>
                      </a:lnTo>
                      <a:lnTo>
                        <a:pt x="4613" y="7930"/>
                      </a:lnTo>
                      <a:lnTo>
                        <a:pt x="4602" y="7998"/>
                      </a:lnTo>
                      <a:lnTo>
                        <a:pt x="4593" y="8067"/>
                      </a:lnTo>
                      <a:lnTo>
                        <a:pt x="4585" y="8137"/>
                      </a:lnTo>
                      <a:lnTo>
                        <a:pt x="4578" y="8206"/>
                      </a:lnTo>
                      <a:lnTo>
                        <a:pt x="4572" y="8276"/>
                      </a:lnTo>
                      <a:lnTo>
                        <a:pt x="4568" y="8347"/>
                      </a:lnTo>
                      <a:lnTo>
                        <a:pt x="4565" y="8419"/>
                      </a:lnTo>
                      <a:lnTo>
                        <a:pt x="4563" y="8490"/>
                      </a:lnTo>
                      <a:lnTo>
                        <a:pt x="4562" y="8561"/>
                      </a:lnTo>
                      <a:lnTo>
                        <a:pt x="4567" y="8761"/>
                      </a:lnTo>
                      <a:lnTo>
                        <a:pt x="4582" y="8958"/>
                      </a:lnTo>
                      <a:lnTo>
                        <a:pt x="4606" y="9153"/>
                      </a:lnTo>
                      <a:lnTo>
                        <a:pt x="4641" y="9344"/>
                      </a:lnTo>
                      <a:lnTo>
                        <a:pt x="4685" y="9532"/>
                      </a:lnTo>
                      <a:lnTo>
                        <a:pt x="4736" y="9717"/>
                      </a:lnTo>
                      <a:lnTo>
                        <a:pt x="4797" y="9898"/>
                      </a:lnTo>
                      <a:lnTo>
                        <a:pt x="4867" y="10074"/>
                      </a:lnTo>
                      <a:lnTo>
                        <a:pt x="4945" y="10246"/>
                      </a:lnTo>
                      <a:lnTo>
                        <a:pt x="5030" y="10414"/>
                      </a:lnTo>
                      <a:lnTo>
                        <a:pt x="5124" y="10576"/>
                      </a:lnTo>
                      <a:lnTo>
                        <a:pt x="5225" y="10735"/>
                      </a:lnTo>
                      <a:lnTo>
                        <a:pt x="5333" y="10887"/>
                      </a:lnTo>
                      <a:lnTo>
                        <a:pt x="5448" y="11033"/>
                      </a:lnTo>
                      <a:lnTo>
                        <a:pt x="5570" y="11175"/>
                      </a:lnTo>
                      <a:lnTo>
                        <a:pt x="5698" y="11310"/>
                      </a:lnTo>
                      <a:lnTo>
                        <a:pt x="5833" y="11439"/>
                      </a:lnTo>
                      <a:lnTo>
                        <a:pt x="5974" y="11561"/>
                      </a:lnTo>
                      <a:lnTo>
                        <a:pt x="6120" y="11676"/>
                      </a:lnTo>
                      <a:lnTo>
                        <a:pt x="6273" y="11784"/>
                      </a:lnTo>
                      <a:lnTo>
                        <a:pt x="6430" y="11886"/>
                      </a:lnTo>
                      <a:lnTo>
                        <a:pt x="6593" y="11979"/>
                      </a:lnTo>
                      <a:lnTo>
                        <a:pt x="6760" y="12066"/>
                      </a:lnTo>
                      <a:lnTo>
                        <a:pt x="6932" y="12143"/>
                      </a:lnTo>
                      <a:lnTo>
                        <a:pt x="7108" y="12213"/>
                      </a:lnTo>
                      <a:lnTo>
                        <a:pt x="7288" y="12274"/>
                      </a:lnTo>
                      <a:lnTo>
                        <a:pt x="7473" y="12326"/>
                      </a:lnTo>
                      <a:lnTo>
                        <a:pt x="7660" y="12369"/>
                      </a:lnTo>
                      <a:lnTo>
                        <a:pt x="7851" y="12404"/>
                      </a:lnTo>
                      <a:lnTo>
                        <a:pt x="8046" y="12428"/>
                      </a:lnTo>
                      <a:lnTo>
                        <a:pt x="8242" y="12443"/>
                      </a:lnTo>
                      <a:lnTo>
                        <a:pt x="8442" y="12449"/>
                      </a:lnTo>
                      <a:lnTo>
                        <a:pt x="8642" y="12443"/>
                      </a:lnTo>
                      <a:lnTo>
                        <a:pt x="8838" y="12428"/>
                      </a:lnTo>
                      <a:lnTo>
                        <a:pt x="9033" y="12404"/>
                      </a:lnTo>
                      <a:lnTo>
                        <a:pt x="9224" y="12369"/>
                      </a:lnTo>
                      <a:lnTo>
                        <a:pt x="9412" y="12326"/>
                      </a:lnTo>
                      <a:lnTo>
                        <a:pt x="9596" y="12274"/>
                      </a:lnTo>
                      <a:lnTo>
                        <a:pt x="9776" y="12213"/>
                      </a:lnTo>
                      <a:lnTo>
                        <a:pt x="9953" y="12143"/>
                      </a:lnTo>
                      <a:lnTo>
                        <a:pt x="10124" y="12066"/>
                      </a:lnTo>
                      <a:lnTo>
                        <a:pt x="10291" y="11979"/>
                      </a:lnTo>
                      <a:lnTo>
                        <a:pt x="10455" y="11886"/>
                      </a:lnTo>
                      <a:lnTo>
                        <a:pt x="10612" y="11784"/>
                      </a:lnTo>
                      <a:lnTo>
                        <a:pt x="10764" y="11676"/>
                      </a:lnTo>
                      <a:lnTo>
                        <a:pt x="10911" y="11561"/>
                      </a:lnTo>
                      <a:lnTo>
                        <a:pt x="11051" y="11439"/>
                      </a:lnTo>
                      <a:lnTo>
                        <a:pt x="11186" y="11310"/>
                      </a:lnTo>
                      <a:lnTo>
                        <a:pt x="11314" y="11175"/>
                      </a:lnTo>
                      <a:lnTo>
                        <a:pt x="11436" y="11033"/>
                      </a:lnTo>
                      <a:lnTo>
                        <a:pt x="11552" y="10887"/>
                      </a:lnTo>
                      <a:lnTo>
                        <a:pt x="11660" y="10735"/>
                      </a:lnTo>
                      <a:lnTo>
                        <a:pt x="11761" y="10576"/>
                      </a:lnTo>
                      <a:lnTo>
                        <a:pt x="11854" y="10414"/>
                      </a:lnTo>
                      <a:lnTo>
                        <a:pt x="11940" y="10246"/>
                      </a:lnTo>
                      <a:lnTo>
                        <a:pt x="12017" y="10074"/>
                      </a:lnTo>
                      <a:lnTo>
                        <a:pt x="12087" y="9898"/>
                      </a:lnTo>
                      <a:lnTo>
                        <a:pt x="12148" y="9717"/>
                      </a:lnTo>
                      <a:lnTo>
                        <a:pt x="12201" y="9532"/>
                      </a:lnTo>
                      <a:lnTo>
                        <a:pt x="12243" y="9344"/>
                      </a:lnTo>
                      <a:lnTo>
                        <a:pt x="12278" y="9153"/>
                      </a:lnTo>
                      <a:lnTo>
                        <a:pt x="12302" y="8958"/>
                      </a:lnTo>
                      <a:lnTo>
                        <a:pt x="12317" y="8761"/>
                      </a:lnTo>
                      <a:lnTo>
                        <a:pt x="12322" y="8561"/>
                      </a:lnTo>
                      <a:lnTo>
                        <a:pt x="12322" y="8490"/>
                      </a:lnTo>
                      <a:lnTo>
                        <a:pt x="12320" y="8419"/>
                      </a:lnTo>
                      <a:lnTo>
                        <a:pt x="12317" y="8347"/>
                      </a:lnTo>
                      <a:lnTo>
                        <a:pt x="12312" y="8276"/>
                      </a:lnTo>
                      <a:lnTo>
                        <a:pt x="12307" y="8206"/>
                      </a:lnTo>
                      <a:lnTo>
                        <a:pt x="12300" y="8137"/>
                      </a:lnTo>
                      <a:lnTo>
                        <a:pt x="12292" y="8067"/>
                      </a:lnTo>
                      <a:lnTo>
                        <a:pt x="12282" y="7998"/>
                      </a:lnTo>
                      <a:lnTo>
                        <a:pt x="12272" y="7930"/>
                      </a:lnTo>
                      <a:lnTo>
                        <a:pt x="12259" y="7861"/>
                      </a:lnTo>
                      <a:lnTo>
                        <a:pt x="12247" y="7794"/>
                      </a:lnTo>
                      <a:lnTo>
                        <a:pt x="12233" y="7726"/>
                      </a:lnTo>
                      <a:lnTo>
                        <a:pt x="12218" y="7659"/>
                      </a:lnTo>
                      <a:lnTo>
                        <a:pt x="12201" y="7593"/>
                      </a:lnTo>
                      <a:lnTo>
                        <a:pt x="12183" y="7527"/>
                      </a:lnTo>
                      <a:lnTo>
                        <a:pt x="12165" y="7461"/>
                      </a:lnTo>
                      <a:lnTo>
                        <a:pt x="12145" y="7396"/>
                      </a:lnTo>
                      <a:lnTo>
                        <a:pt x="12125" y="7331"/>
                      </a:lnTo>
                      <a:lnTo>
                        <a:pt x="12102" y="7267"/>
                      </a:lnTo>
                      <a:lnTo>
                        <a:pt x="12079" y="7203"/>
                      </a:lnTo>
                      <a:lnTo>
                        <a:pt x="12055" y="7140"/>
                      </a:lnTo>
                      <a:lnTo>
                        <a:pt x="12030" y="7077"/>
                      </a:lnTo>
                      <a:lnTo>
                        <a:pt x="12004" y="7015"/>
                      </a:lnTo>
                      <a:lnTo>
                        <a:pt x="11977" y="6954"/>
                      </a:lnTo>
                      <a:lnTo>
                        <a:pt x="11948" y="6893"/>
                      </a:lnTo>
                      <a:lnTo>
                        <a:pt x="11919" y="6832"/>
                      </a:lnTo>
                      <a:lnTo>
                        <a:pt x="11888" y="6773"/>
                      </a:lnTo>
                      <a:lnTo>
                        <a:pt x="11857" y="6713"/>
                      </a:lnTo>
                      <a:lnTo>
                        <a:pt x="11824" y="6655"/>
                      </a:lnTo>
                      <a:lnTo>
                        <a:pt x="11792" y="6597"/>
                      </a:lnTo>
                      <a:lnTo>
                        <a:pt x="11758" y="6539"/>
                      </a:lnTo>
                      <a:lnTo>
                        <a:pt x="11722" y="6482"/>
                      </a:lnTo>
                      <a:lnTo>
                        <a:pt x="5162" y="648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37" name="Freeform 20"/>
                <p:cNvSpPr>
                  <a:spLocks/>
                </p:cNvSpPr>
                <p:nvPr/>
              </p:nvSpPr>
              <p:spPr bwMode="auto">
                <a:xfrm>
                  <a:off x="2757" y="1814"/>
                  <a:ext cx="363" cy="45"/>
                </a:xfrm>
                <a:custGeom>
                  <a:avLst/>
                  <a:gdLst>
                    <a:gd name="T0" fmla="*/ 513 w 15246"/>
                    <a:gd name="T1" fmla="*/ 1899 h 1900"/>
                    <a:gd name="T2" fmla="*/ 432 w 15246"/>
                    <a:gd name="T3" fmla="*/ 1889 h 1900"/>
                    <a:gd name="T4" fmla="*/ 355 w 15246"/>
                    <a:gd name="T5" fmla="*/ 1867 h 1900"/>
                    <a:gd name="T6" fmla="*/ 283 w 15246"/>
                    <a:gd name="T7" fmla="*/ 1835 h 1900"/>
                    <a:gd name="T8" fmla="*/ 217 w 15246"/>
                    <a:gd name="T9" fmla="*/ 1792 h 1900"/>
                    <a:gd name="T10" fmla="*/ 158 w 15246"/>
                    <a:gd name="T11" fmla="*/ 1742 h 1900"/>
                    <a:gd name="T12" fmla="*/ 107 w 15246"/>
                    <a:gd name="T13" fmla="*/ 1683 h 1900"/>
                    <a:gd name="T14" fmla="*/ 65 w 15246"/>
                    <a:gd name="T15" fmla="*/ 1617 h 1900"/>
                    <a:gd name="T16" fmla="*/ 32 w 15246"/>
                    <a:gd name="T17" fmla="*/ 1544 h 1900"/>
                    <a:gd name="T18" fmla="*/ 11 w 15246"/>
                    <a:gd name="T19" fmla="*/ 1467 h 1900"/>
                    <a:gd name="T20" fmla="*/ 1 w 15246"/>
                    <a:gd name="T21" fmla="*/ 1386 h 1900"/>
                    <a:gd name="T22" fmla="*/ 1 w 15246"/>
                    <a:gd name="T23" fmla="*/ 514 h 1900"/>
                    <a:gd name="T24" fmla="*/ 11 w 15246"/>
                    <a:gd name="T25" fmla="*/ 433 h 1900"/>
                    <a:gd name="T26" fmla="*/ 32 w 15246"/>
                    <a:gd name="T27" fmla="*/ 356 h 1900"/>
                    <a:gd name="T28" fmla="*/ 65 w 15246"/>
                    <a:gd name="T29" fmla="*/ 284 h 1900"/>
                    <a:gd name="T30" fmla="*/ 107 w 15246"/>
                    <a:gd name="T31" fmla="*/ 218 h 1900"/>
                    <a:gd name="T32" fmla="*/ 158 w 15246"/>
                    <a:gd name="T33" fmla="*/ 159 h 1900"/>
                    <a:gd name="T34" fmla="*/ 217 w 15246"/>
                    <a:gd name="T35" fmla="*/ 108 h 1900"/>
                    <a:gd name="T36" fmla="*/ 283 w 15246"/>
                    <a:gd name="T37" fmla="*/ 65 h 1900"/>
                    <a:gd name="T38" fmla="*/ 355 w 15246"/>
                    <a:gd name="T39" fmla="*/ 33 h 1900"/>
                    <a:gd name="T40" fmla="*/ 432 w 15246"/>
                    <a:gd name="T41" fmla="*/ 11 h 1900"/>
                    <a:gd name="T42" fmla="*/ 513 w 15246"/>
                    <a:gd name="T43" fmla="*/ 1 h 1900"/>
                    <a:gd name="T44" fmla="*/ 14733 w 15246"/>
                    <a:gd name="T45" fmla="*/ 1 h 1900"/>
                    <a:gd name="T46" fmla="*/ 14814 w 15246"/>
                    <a:gd name="T47" fmla="*/ 11 h 1900"/>
                    <a:gd name="T48" fmla="*/ 14891 w 15246"/>
                    <a:gd name="T49" fmla="*/ 33 h 1900"/>
                    <a:gd name="T50" fmla="*/ 14963 w 15246"/>
                    <a:gd name="T51" fmla="*/ 65 h 1900"/>
                    <a:gd name="T52" fmla="*/ 15029 w 15246"/>
                    <a:gd name="T53" fmla="*/ 108 h 1900"/>
                    <a:gd name="T54" fmla="*/ 15088 w 15246"/>
                    <a:gd name="T55" fmla="*/ 159 h 1900"/>
                    <a:gd name="T56" fmla="*/ 15139 w 15246"/>
                    <a:gd name="T57" fmla="*/ 218 h 1900"/>
                    <a:gd name="T58" fmla="*/ 15181 w 15246"/>
                    <a:gd name="T59" fmla="*/ 284 h 1900"/>
                    <a:gd name="T60" fmla="*/ 15214 w 15246"/>
                    <a:gd name="T61" fmla="*/ 356 h 1900"/>
                    <a:gd name="T62" fmla="*/ 15235 w 15246"/>
                    <a:gd name="T63" fmla="*/ 433 h 1900"/>
                    <a:gd name="T64" fmla="*/ 15245 w 15246"/>
                    <a:gd name="T65" fmla="*/ 514 h 1900"/>
                    <a:gd name="T66" fmla="*/ 15245 w 15246"/>
                    <a:gd name="T67" fmla="*/ 1386 h 1900"/>
                    <a:gd name="T68" fmla="*/ 15235 w 15246"/>
                    <a:gd name="T69" fmla="*/ 1467 h 1900"/>
                    <a:gd name="T70" fmla="*/ 15214 w 15246"/>
                    <a:gd name="T71" fmla="*/ 1544 h 1900"/>
                    <a:gd name="T72" fmla="*/ 15181 w 15246"/>
                    <a:gd name="T73" fmla="*/ 1617 h 1900"/>
                    <a:gd name="T74" fmla="*/ 15139 w 15246"/>
                    <a:gd name="T75" fmla="*/ 1683 h 1900"/>
                    <a:gd name="T76" fmla="*/ 15088 w 15246"/>
                    <a:gd name="T77" fmla="*/ 1742 h 1900"/>
                    <a:gd name="T78" fmla="*/ 15029 w 15246"/>
                    <a:gd name="T79" fmla="*/ 1792 h 1900"/>
                    <a:gd name="T80" fmla="*/ 14963 w 15246"/>
                    <a:gd name="T81" fmla="*/ 1835 h 1900"/>
                    <a:gd name="T82" fmla="*/ 14891 w 15246"/>
                    <a:gd name="T83" fmla="*/ 1867 h 1900"/>
                    <a:gd name="T84" fmla="*/ 14814 w 15246"/>
                    <a:gd name="T85" fmla="*/ 1889 h 1900"/>
                    <a:gd name="T86" fmla="*/ 14733 w 15246"/>
                    <a:gd name="T87" fmla="*/ 1899 h 19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5246" h="1900">
                      <a:moveTo>
                        <a:pt x="14705" y="1900"/>
                      </a:moveTo>
                      <a:lnTo>
                        <a:pt x="541" y="1900"/>
                      </a:lnTo>
                      <a:lnTo>
                        <a:pt x="513" y="1899"/>
                      </a:lnTo>
                      <a:lnTo>
                        <a:pt x="486" y="1897"/>
                      </a:lnTo>
                      <a:lnTo>
                        <a:pt x="459" y="1894"/>
                      </a:lnTo>
                      <a:lnTo>
                        <a:pt x="432" y="1889"/>
                      </a:lnTo>
                      <a:lnTo>
                        <a:pt x="406" y="1883"/>
                      </a:lnTo>
                      <a:lnTo>
                        <a:pt x="380" y="1876"/>
                      </a:lnTo>
                      <a:lnTo>
                        <a:pt x="355" y="1867"/>
                      </a:lnTo>
                      <a:lnTo>
                        <a:pt x="331" y="1857"/>
                      </a:lnTo>
                      <a:lnTo>
                        <a:pt x="306" y="1846"/>
                      </a:lnTo>
                      <a:lnTo>
                        <a:pt x="283" y="1835"/>
                      </a:lnTo>
                      <a:lnTo>
                        <a:pt x="261" y="1822"/>
                      </a:lnTo>
                      <a:lnTo>
                        <a:pt x="238" y="1808"/>
                      </a:lnTo>
                      <a:lnTo>
                        <a:pt x="217" y="1792"/>
                      </a:lnTo>
                      <a:lnTo>
                        <a:pt x="197" y="1776"/>
                      </a:lnTo>
                      <a:lnTo>
                        <a:pt x="177" y="1759"/>
                      </a:lnTo>
                      <a:lnTo>
                        <a:pt x="158" y="1742"/>
                      </a:lnTo>
                      <a:lnTo>
                        <a:pt x="141" y="1722"/>
                      </a:lnTo>
                      <a:lnTo>
                        <a:pt x="124" y="1703"/>
                      </a:lnTo>
                      <a:lnTo>
                        <a:pt x="107" y="1683"/>
                      </a:lnTo>
                      <a:lnTo>
                        <a:pt x="92" y="1661"/>
                      </a:lnTo>
                      <a:lnTo>
                        <a:pt x="78" y="1639"/>
                      </a:lnTo>
                      <a:lnTo>
                        <a:pt x="65" y="1617"/>
                      </a:lnTo>
                      <a:lnTo>
                        <a:pt x="54" y="1593"/>
                      </a:lnTo>
                      <a:lnTo>
                        <a:pt x="43" y="1569"/>
                      </a:lnTo>
                      <a:lnTo>
                        <a:pt x="32" y="1544"/>
                      </a:lnTo>
                      <a:lnTo>
                        <a:pt x="24" y="1519"/>
                      </a:lnTo>
                      <a:lnTo>
                        <a:pt x="17" y="1494"/>
                      </a:lnTo>
                      <a:lnTo>
                        <a:pt x="11" y="1467"/>
                      </a:lnTo>
                      <a:lnTo>
                        <a:pt x="6" y="1440"/>
                      </a:lnTo>
                      <a:lnTo>
                        <a:pt x="3" y="1413"/>
                      </a:lnTo>
                      <a:lnTo>
                        <a:pt x="1" y="1386"/>
                      </a:lnTo>
                      <a:lnTo>
                        <a:pt x="0" y="1358"/>
                      </a:lnTo>
                      <a:lnTo>
                        <a:pt x="0" y="543"/>
                      </a:lnTo>
                      <a:lnTo>
                        <a:pt x="1" y="514"/>
                      </a:lnTo>
                      <a:lnTo>
                        <a:pt x="3" y="487"/>
                      </a:lnTo>
                      <a:lnTo>
                        <a:pt x="6" y="459"/>
                      </a:lnTo>
                      <a:lnTo>
                        <a:pt x="11" y="433"/>
                      </a:lnTo>
                      <a:lnTo>
                        <a:pt x="17" y="407"/>
                      </a:lnTo>
                      <a:lnTo>
                        <a:pt x="24" y="381"/>
                      </a:lnTo>
                      <a:lnTo>
                        <a:pt x="32" y="356"/>
                      </a:lnTo>
                      <a:lnTo>
                        <a:pt x="43" y="331"/>
                      </a:lnTo>
                      <a:lnTo>
                        <a:pt x="54" y="307"/>
                      </a:lnTo>
                      <a:lnTo>
                        <a:pt x="65" y="284"/>
                      </a:lnTo>
                      <a:lnTo>
                        <a:pt x="78" y="261"/>
                      </a:lnTo>
                      <a:lnTo>
                        <a:pt x="92" y="239"/>
                      </a:lnTo>
                      <a:lnTo>
                        <a:pt x="107" y="218"/>
                      </a:lnTo>
                      <a:lnTo>
                        <a:pt x="124" y="197"/>
                      </a:lnTo>
                      <a:lnTo>
                        <a:pt x="141" y="178"/>
                      </a:lnTo>
                      <a:lnTo>
                        <a:pt x="158" y="159"/>
                      </a:lnTo>
                      <a:lnTo>
                        <a:pt x="177" y="142"/>
                      </a:lnTo>
                      <a:lnTo>
                        <a:pt x="197" y="124"/>
                      </a:lnTo>
                      <a:lnTo>
                        <a:pt x="217" y="108"/>
                      </a:lnTo>
                      <a:lnTo>
                        <a:pt x="238" y="93"/>
                      </a:lnTo>
                      <a:lnTo>
                        <a:pt x="261" y="79"/>
                      </a:lnTo>
                      <a:lnTo>
                        <a:pt x="283" y="65"/>
                      </a:lnTo>
                      <a:lnTo>
                        <a:pt x="306" y="54"/>
                      </a:lnTo>
                      <a:lnTo>
                        <a:pt x="331" y="43"/>
                      </a:lnTo>
                      <a:lnTo>
                        <a:pt x="355" y="33"/>
                      </a:lnTo>
                      <a:lnTo>
                        <a:pt x="380" y="25"/>
                      </a:lnTo>
                      <a:lnTo>
                        <a:pt x="406" y="18"/>
                      </a:lnTo>
                      <a:lnTo>
                        <a:pt x="432" y="11"/>
                      </a:lnTo>
                      <a:lnTo>
                        <a:pt x="459" y="6"/>
                      </a:lnTo>
                      <a:lnTo>
                        <a:pt x="486" y="3"/>
                      </a:lnTo>
                      <a:lnTo>
                        <a:pt x="513" y="1"/>
                      </a:lnTo>
                      <a:lnTo>
                        <a:pt x="541" y="0"/>
                      </a:lnTo>
                      <a:lnTo>
                        <a:pt x="14705" y="0"/>
                      </a:lnTo>
                      <a:lnTo>
                        <a:pt x="14733" y="1"/>
                      </a:lnTo>
                      <a:lnTo>
                        <a:pt x="14760" y="3"/>
                      </a:lnTo>
                      <a:lnTo>
                        <a:pt x="14787" y="6"/>
                      </a:lnTo>
                      <a:lnTo>
                        <a:pt x="14814" y="11"/>
                      </a:lnTo>
                      <a:lnTo>
                        <a:pt x="14840" y="18"/>
                      </a:lnTo>
                      <a:lnTo>
                        <a:pt x="14866" y="25"/>
                      </a:lnTo>
                      <a:lnTo>
                        <a:pt x="14891" y="33"/>
                      </a:lnTo>
                      <a:lnTo>
                        <a:pt x="14915" y="43"/>
                      </a:lnTo>
                      <a:lnTo>
                        <a:pt x="14940" y="54"/>
                      </a:lnTo>
                      <a:lnTo>
                        <a:pt x="14963" y="65"/>
                      </a:lnTo>
                      <a:lnTo>
                        <a:pt x="14985" y="79"/>
                      </a:lnTo>
                      <a:lnTo>
                        <a:pt x="15008" y="93"/>
                      </a:lnTo>
                      <a:lnTo>
                        <a:pt x="15029" y="108"/>
                      </a:lnTo>
                      <a:lnTo>
                        <a:pt x="15049" y="124"/>
                      </a:lnTo>
                      <a:lnTo>
                        <a:pt x="15069" y="142"/>
                      </a:lnTo>
                      <a:lnTo>
                        <a:pt x="15088" y="159"/>
                      </a:lnTo>
                      <a:lnTo>
                        <a:pt x="15105" y="178"/>
                      </a:lnTo>
                      <a:lnTo>
                        <a:pt x="15122" y="197"/>
                      </a:lnTo>
                      <a:lnTo>
                        <a:pt x="15139" y="218"/>
                      </a:lnTo>
                      <a:lnTo>
                        <a:pt x="15154" y="239"/>
                      </a:lnTo>
                      <a:lnTo>
                        <a:pt x="15168" y="261"/>
                      </a:lnTo>
                      <a:lnTo>
                        <a:pt x="15181" y="284"/>
                      </a:lnTo>
                      <a:lnTo>
                        <a:pt x="15192" y="307"/>
                      </a:lnTo>
                      <a:lnTo>
                        <a:pt x="15203" y="331"/>
                      </a:lnTo>
                      <a:lnTo>
                        <a:pt x="15214" y="356"/>
                      </a:lnTo>
                      <a:lnTo>
                        <a:pt x="15222" y="381"/>
                      </a:lnTo>
                      <a:lnTo>
                        <a:pt x="15229" y="407"/>
                      </a:lnTo>
                      <a:lnTo>
                        <a:pt x="15235" y="433"/>
                      </a:lnTo>
                      <a:lnTo>
                        <a:pt x="15240" y="459"/>
                      </a:lnTo>
                      <a:lnTo>
                        <a:pt x="15243" y="487"/>
                      </a:lnTo>
                      <a:lnTo>
                        <a:pt x="15245" y="514"/>
                      </a:lnTo>
                      <a:lnTo>
                        <a:pt x="15246" y="543"/>
                      </a:lnTo>
                      <a:lnTo>
                        <a:pt x="15246" y="1358"/>
                      </a:lnTo>
                      <a:lnTo>
                        <a:pt x="15245" y="1386"/>
                      </a:lnTo>
                      <a:lnTo>
                        <a:pt x="15243" y="1413"/>
                      </a:lnTo>
                      <a:lnTo>
                        <a:pt x="15240" y="1440"/>
                      </a:lnTo>
                      <a:lnTo>
                        <a:pt x="15235" y="1467"/>
                      </a:lnTo>
                      <a:lnTo>
                        <a:pt x="15229" y="1494"/>
                      </a:lnTo>
                      <a:lnTo>
                        <a:pt x="15222" y="1519"/>
                      </a:lnTo>
                      <a:lnTo>
                        <a:pt x="15214" y="1544"/>
                      </a:lnTo>
                      <a:lnTo>
                        <a:pt x="15203" y="1569"/>
                      </a:lnTo>
                      <a:lnTo>
                        <a:pt x="15192" y="1593"/>
                      </a:lnTo>
                      <a:lnTo>
                        <a:pt x="15181" y="1617"/>
                      </a:lnTo>
                      <a:lnTo>
                        <a:pt x="15168" y="1639"/>
                      </a:lnTo>
                      <a:lnTo>
                        <a:pt x="15154" y="1661"/>
                      </a:lnTo>
                      <a:lnTo>
                        <a:pt x="15139" y="1683"/>
                      </a:lnTo>
                      <a:lnTo>
                        <a:pt x="15122" y="1703"/>
                      </a:lnTo>
                      <a:lnTo>
                        <a:pt x="15105" y="1722"/>
                      </a:lnTo>
                      <a:lnTo>
                        <a:pt x="15088" y="1742"/>
                      </a:lnTo>
                      <a:lnTo>
                        <a:pt x="15069" y="1759"/>
                      </a:lnTo>
                      <a:lnTo>
                        <a:pt x="15049" y="1776"/>
                      </a:lnTo>
                      <a:lnTo>
                        <a:pt x="15029" y="1792"/>
                      </a:lnTo>
                      <a:lnTo>
                        <a:pt x="15008" y="1808"/>
                      </a:lnTo>
                      <a:lnTo>
                        <a:pt x="14985" y="1822"/>
                      </a:lnTo>
                      <a:lnTo>
                        <a:pt x="14963" y="1835"/>
                      </a:lnTo>
                      <a:lnTo>
                        <a:pt x="14940" y="1846"/>
                      </a:lnTo>
                      <a:lnTo>
                        <a:pt x="14915" y="1857"/>
                      </a:lnTo>
                      <a:lnTo>
                        <a:pt x="14891" y="1867"/>
                      </a:lnTo>
                      <a:lnTo>
                        <a:pt x="14866" y="1876"/>
                      </a:lnTo>
                      <a:lnTo>
                        <a:pt x="14840" y="1883"/>
                      </a:lnTo>
                      <a:lnTo>
                        <a:pt x="14814" y="1889"/>
                      </a:lnTo>
                      <a:lnTo>
                        <a:pt x="14787" y="1894"/>
                      </a:lnTo>
                      <a:lnTo>
                        <a:pt x="14760" y="1897"/>
                      </a:lnTo>
                      <a:lnTo>
                        <a:pt x="14733" y="1899"/>
                      </a:lnTo>
                      <a:lnTo>
                        <a:pt x="14705" y="190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</p:grpSp>
          <p:sp>
            <p:nvSpPr>
              <p:cNvPr id="33" name="TextBox 32"/>
              <p:cNvSpPr txBox="1"/>
              <p:nvPr/>
            </p:nvSpPr>
            <p:spPr>
              <a:xfrm>
                <a:off x="6376410" y="2780219"/>
                <a:ext cx="792188" cy="261610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ru-RU"/>
                </a:defPPr>
                <a:lvl1pPr algn="ctr">
                  <a:lnSpc>
                    <a:spcPts val="1000"/>
                  </a:lnSpc>
                  <a:defRPr sz="1000" b="1">
                    <a:solidFill>
                      <a:schemeClr val="accent3"/>
                    </a:solidFill>
                    <a:latin typeface="Arial Narrow" panose="020B0606020202030204" pitchFamily="34" charset="0"/>
                  </a:defRPr>
                </a:lvl1pPr>
              </a:lstStyle>
              <a:p>
                <a:r>
                  <a:rPr lang="ru-RU" dirty="0">
                    <a:solidFill>
                      <a:srgbClr val="000000"/>
                    </a:solidFill>
                  </a:rPr>
                  <a:t>Отраслевые лаборатории</a:t>
                </a: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7687273" y="2603557"/>
              <a:ext cx="1008212" cy="974577"/>
              <a:chOff x="6444208" y="3368662"/>
              <a:chExt cx="1008212" cy="974577"/>
            </a:xfrm>
          </p:grpSpPr>
          <p:grpSp>
            <p:nvGrpSpPr>
              <p:cNvPr id="42" name="gos_organ"/>
              <p:cNvGrpSpPr>
                <a:grpSpLocks noChangeAspect="1"/>
              </p:cNvGrpSpPr>
              <p:nvPr/>
            </p:nvGrpSpPr>
            <p:grpSpPr bwMode="auto">
              <a:xfrm>
                <a:off x="6673926" y="3368662"/>
                <a:ext cx="566737" cy="569913"/>
                <a:chOff x="4375" y="925"/>
                <a:chExt cx="357" cy="359"/>
              </a:xfrm>
              <a:solidFill>
                <a:schemeClr val="tx2"/>
              </a:solidFill>
            </p:grpSpPr>
            <p:sp>
              <p:nvSpPr>
                <p:cNvPr id="44" name="Freeform 39"/>
                <p:cNvSpPr>
                  <a:spLocks/>
                </p:cNvSpPr>
                <p:nvPr/>
              </p:nvSpPr>
              <p:spPr bwMode="auto">
                <a:xfrm>
                  <a:off x="4496" y="999"/>
                  <a:ext cx="120" cy="65"/>
                </a:xfrm>
                <a:custGeom>
                  <a:avLst/>
                  <a:gdLst>
                    <a:gd name="T0" fmla="*/ 4908 w 5403"/>
                    <a:gd name="T1" fmla="*/ 760 h 2912"/>
                    <a:gd name="T2" fmla="*/ 4829 w 5403"/>
                    <a:gd name="T3" fmla="*/ 691 h 2912"/>
                    <a:gd name="T4" fmla="*/ 4700 w 5403"/>
                    <a:gd name="T5" fmla="*/ 605 h 2912"/>
                    <a:gd name="T6" fmla="*/ 4593 w 5403"/>
                    <a:gd name="T7" fmla="*/ 551 h 2912"/>
                    <a:gd name="T8" fmla="*/ 4555 w 5403"/>
                    <a:gd name="T9" fmla="*/ 536 h 2912"/>
                    <a:gd name="T10" fmla="*/ 4541 w 5403"/>
                    <a:gd name="T11" fmla="*/ 531 h 2912"/>
                    <a:gd name="T12" fmla="*/ 4541 w 5403"/>
                    <a:gd name="T13" fmla="*/ 531 h 2912"/>
                    <a:gd name="T14" fmla="*/ 4479 w 5403"/>
                    <a:gd name="T15" fmla="*/ 511 h 2912"/>
                    <a:gd name="T16" fmla="*/ 4300 w 5403"/>
                    <a:gd name="T17" fmla="*/ 433 h 2912"/>
                    <a:gd name="T18" fmla="*/ 4038 w 5403"/>
                    <a:gd name="T19" fmla="*/ 335 h 2912"/>
                    <a:gd name="T20" fmla="*/ 3926 w 5403"/>
                    <a:gd name="T21" fmla="*/ 294 h 2912"/>
                    <a:gd name="T22" fmla="*/ 3800 w 5403"/>
                    <a:gd name="T23" fmla="*/ 235 h 2912"/>
                    <a:gd name="T24" fmla="*/ 3688 w 5403"/>
                    <a:gd name="T25" fmla="*/ 169 h 2912"/>
                    <a:gd name="T26" fmla="*/ 3598 w 5403"/>
                    <a:gd name="T27" fmla="*/ 103 h 2912"/>
                    <a:gd name="T28" fmla="*/ 3539 w 5403"/>
                    <a:gd name="T29" fmla="*/ 36 h 2912"/>
                    <a:gd name="T30" fmla="*/ 3523 w 5403"/>
                    <a:gd name="T31" fmla="*/ 2 h 2912"/>
                    <a:gd name="T32" fmla="*/ 1882 w 5403"/>
                    <a:gd name="T33" fmla="*/ 0 h 2912"/>
                    <a:gd name="T34" fmla="*/ 1873 w 5403"/>
                    <a:gd name="T35" fmla="*/ 19 h 2912"/>
                    <a:gd name="T36" fmla="*/ 1839 w 5403"/>
                    <a:gd name="T37" fmla="*/ 68 h 2912"/>
                    <a:gd name="T38" fmla="*/ 1763 w 5403"/>
                    <a:gd name="T39" fmla="*/ 137 h 2912"/>
                    <a:gd name="T40" fmla="*/ 1661 w 5403"/>
                    <a:gd name="T41" fmla="*/ 203 h 2912"/>
                    <a:gd name="T42" fmla="*/ 1542 w 5403"/>
                    <a:gd name="T43" fmla="*/ 267 h 2912"/>
                    <a:gd name="T44" fmla="*/ 1405 w 5403"/>
                    <a:gd name="T45" fmla="*/ 322 h 2912"/>
                    <a:gd name="T46" fmla="*/ 1257 w 5403"/>
                    <a:gd name="T47" fmla="*/ 373 h 2912"/>
                    <a:gd name="T48" fmla="*/ 1015 w 5403"/>
                    <a:gd name="T49" fmla="*/ 470 h 2912"/>
                    <a:gd name="T50" fmla="*/ 882 w 5403"/>
                    <a:gd name="T51" fmla="*/ 525 h 2912"/>
                    <a:gd name="T52" fmla="*/ 862 w 5403"/>
                    <a:gd name="T53" fmla="*/ 531 h 2912"/>
                    <a:gd name="T54" fmla="*/ 862 w 5403"/>
                    <a:gd name="T55" fmla="*/ 531 h 2912"/>
                    <a:gd name="T56" fmla="*/ 861 w 5403"/>
                    <a:gd name="T57" fmla="*/ 531 h 2912"/>
                    <a:gd name="T58" fmla="*/ 835 w 5403"/>
                    <a:gd name="T59" fmla="*/ 541 h 2912"/>
                    <a:gd name="T60" fmla="*/ 743 w 5403"/>
                    <a:gd name="T61" fmla="*/ 583 h 2912"/>
                    <a:gd name="T62" fmla="*/ 602 w 5403"/>
                    <a:gd name="T63" fmla="*/ 669 h 2912"/>
                    <a:gd name="T64" fmla="*/ 511 w 5403"/>
                    <a:gd name="T65" fmla="*/ 745 h 2912"/>
                    <a:gd name="T66" fmla="*/ 462 w 5403"/>
                    <a:gd name="T67" fmla="*/ 798 h 2912"/>
                    <a:gd name="T68" fmla="*/ 340 w 5403"/>
                    <a:gd name="T69" fmla="*/ 1019 h 2912"/>
                    <a:gd name="T70" fmla="*/ 242 w 5403"/>
                    <a:gd name="T71" fmla="*/ 1276 h 2912"/>
                    <a:gd name="T72" fmla="*/ 165 w 5403"/>
                    <a:gd name="T73" fmla="*/ 1554 h 2912"/>
                    <a:gd name="T74" fmla="*/ 105 w 5403"/>
                    <a:gd name="T75" fmla="*/ 1836 h 2912"/>
                    <a:gd name="T76" fmla="*/ 63 w 5403"/>
                    <a:gd name="T77" fmla="*/ 2108 h 2912"/>
                    <a:gd name="T78" fmla="*/ 14 w 5403"/>
                    <a:gd name="T79" fmla="*/ 2555 h 2912"/>
                    <a:gd name="T80" fmla="*/ 3 w 5403"/>
                    <a:gd name="T81" fmla="*/ 2715 h 2912"/>
                    <a:gd name="T82" fmla="*/ 1 w 5403"/>
                    <a:gd name="T83" fmla="*/ 2740 h 2912"/>
                    <a:gd name="T84" fmla="*/ 0 w 5403"/>
                    <a:gd name="T85" fmla="*/ 2759 h 2912"/>
                    <a:gd name="T86" fmla="*/ 0 w 5403"/>
                    <a:gd name="T87" fmla="*/ 2774 h 2912"/>
                    <a:gd name="T88" fmla="*/ 7 w 5403"/>
                    <a:gd name="T89" fmla="*/ 2882 h 2912"/>
                    <a:gd name="T90" fmla="*/ 5399 w 5403"/>
                    <a:gd name="T91" fmla="*/ 2849 h 2912"/>
                    <a:gd name="T92" fmla="*/ 5403 w 5403"/>
                    <a:gd name="T93" fmla="*/ 2774 h 2912"/>
                    <a:gd name="T94" fmla="*/ 5402 w 5403"/>
                    <a:gd name="T95" fmla="*/ 2750 h 2912"/>
                    <a:gd name="T96" fmla="*/ 5401 w 5403"/>
                    <a:gd name="T97" fmla="*/ 2729 h 2912"/>
                    <a:gd name="T98" fmla="*/ 5399 w 5403"/>
                    <a:gd name="T99" fmla="*/ 2699 h 2912"/>
                    <a:gd name="T100" fmla="*/ 5382 w 5403"/>
                    <a:gd name="T101" fmla="*/ 2460 h 2912"/>
                    <a:gd name="T102" fmla="*/ 5332 w 5403"/>
                    <a:gd name="T103" fmla="*/ 2042 h 2912"/>
                    <a:gd name="T104" fmla="*/ 5285 w 5403"/>
                    <a:gd name="T105" fmla="*/ 1766 h 2912"/>
                    <a:gd name="T106" fmla="*/ 5220 w 5403"/>
                    <a:gd name="T107" fmla="*/ 1484 h 2912"/>
                    <a:gd name="T108" fmla="*/ 5139 w 5403"/>
                    <a:gd name="T109" fmla="*/ 1209 h 2912"/>
                    <a:gd name="T110" fmla="*/ 5034 w 5403"/>
                    <a:gd name="T111" fmla="*/ 959 h 29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5403" h="2912">
                      <a:moveTo>
                        <a:pt x="4942" y="798"/>
                      </a:moveTo>
                      <a:lnTo>
                        <a:pt x="4937" y="791"/>
                      </a:lnTo>
                      <a:lnTo>
                        <a:pt x="4920" y="773"/>
                      </a:lnTo>
                      <a:lnTo>
                        <a:pt x="4908" y="760"/>
                      </a:lnTo>
                      <a:lnTo>
                        <a:pt x="4893" y="745"/>
                      </a:lnTo>
                      <a:lnTo>
                        <a:pt x="4874" y="728"/>
                      </a:lnTo>
                      <a:lnTo>
                        <a:pt x="4854" y="710"/>
                      </a:lnTo>
                      <a:lnTo>
                        <a:pt x="4829" y="691"/>
                      </a:lnTo>
                      <a:lnTo>
                        <a:pt x="4802" y="669"/>
                      </a:lnTo>
                      <a:lnTo>
                        <a:pt x="4771" y="648"/>
                      </a:lnTo>
                      <a:lnTo>
                        <a:pt x="4737" y="626"/>
                      </a:lnTo>
                      <a:lnTo>
                        <a:pt x="4700" y="605"/>
                      </a:lnTo>
                      <a:lnTo>
                        <a:pt x="4660" y="583"/>
                      </a:lnTo>
                      <a:lnTo>
                        <a:pt x="4638" y="572"/>
                      </a:lnTo>
                      <a:lnTo>
                        <a:pt x="4616" y="561"/>
                      </a:lnTo>
                      <a:lnTo>
                        <a:pt x="4593" y="551"/>
                      </a:lnTo>
                      <a:lnTo>
                        <a:pt x="4568" y="541"/>
                      </a:lnTo>
                      <a:lnTo>
                        <a:pt x="4568" y="541"/>
                      </a:lnTo>
                      <a:lnTo>
                        <a:pt x="4555" y="536"/>
                      </a:lnTo>
                      <a:lnTo>
                        <a:pt x="4555" y="536"/>
                      </a:lnTo>
                      <a:lnTo>
                        <a:pt x="4543" y="531"/>
                      </a:lnTo>
                      <a:lnTo>
                        <a:pt x="4543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1" y="531"/>
                      </a:lnTo>
                      <a:lnTo>
                        <a:pt x="4540" y="531"/>
                      </a:lnTo>
                      <a:lnTo>
                        <a:pt x="4540" y="531"/>
                      </a:lnTo>
                      <a:lnTo>
                        <a:pt x="4479" y="511"/>
                      </a:lnTo>
                      <a:lnTo>
                        <a:pt x="4433" y="490"/>
                      </a:lnTo>
                      <a:lnTo>
                        <a:pt x="4387" y="470"/>
                      </a:lnTo>
                      <a:lnTo>
                        <a:pt x="4343" y="451"/>
                      </a:lnTo>
                      <a:lnTo>
                        <a:pt x="4300" y="433"/>
                      </a:lnTo>
                      <a:lnTo>
                        <a:pt x="4219" y="400"/>
                      </a:lnTo>
                      <a:lnTo>
                        <a:pt x="4146" y="373"/>
                      </a:lnTo>
                      <a:lnTo>
                        <a:pt x="4085" y="351"/>
                      </a:lnTo>
                      <a:lnTo>
                        <a:pt x="4038" y="335"/>
                      </a:lnTo>
                      <a:lnTo>
                        <a:pt x="4009" y="326"/>
                      </a:lnTo>
                      <a:lnTo>
                        <a:pt x="3998" y="322"/>
                      </a:lnTo>
                      <a:lnTo>
                        <a:pt x="3962" y="308"/>
                      </a:lnTo>
                      <a:lnTo>
                        <a:pt x="3926" y="294"/>
                      </a:lnTo>
                      <a:lnTo>
                        <a:pt x="3893" y="280"/>
                      </a:lnTo>
                      <a:lnTo>
                        <a:pt x="3862" y="267"/>
                      </a:lnTo>
                      <a:lnTo>
                        <a:pt x="3830" y="252"/>
                      </a:lnTo>
                      <a:lnTo>
                        <a:pt x="3800" y="235"/>
                      </a:lnTo>
                      <a:lnTo>
                        <a:pt x="3771" y="219"/>
                      </a:lnTo>
                      <a:lnTo>
                        <a:pt x="3742" y="203"/>
                      </a:lnTo>
                      <a:lnTo>
                        <a:pt x="3715" y="187"/>
                      </a:lnTo>
                      <a:lnTo>
                        <a:pt x="3688" y="169"/>
                      </a:lnTo>
                      <a:lnTo>
                        <a:pt x="3664" y="153"/>
                      </a:lnTo>
                      <a:lnTo>
                        <a:pt x="3640" y="137"/>
                      </a:lnTo>
                      <a:lnTo>
                        <a:pt x="3619" y="119"/>
                      </a:lnTo>
                      <a:lnTo>
                        <a:pt x="3598" y="103"/>
                      </a:lnTo>
                      <a:lnTo>
                        <a:pt x="3581" y="86"/>
                      </a:lnTo>
                      <a:lnTo>
                        <a:pt x="3565" y="68"/>
                      </a:lnTo>
                      <a:lnTo>
                        <a:pt x="3550" y="52"/>
                      </a:lnTo>
                      <a:lnTo>
                        <a:pt x="3539" y="36"/>
                      </a:lnTo>
                      <a:lnTo>
                        <a:pt x="3534" y="27"/>
                      </a:lnTo>
                      <a:lnTo>
                        <a:pt x="3530" y="19"/>
                      </a:lnTo>
                      <a:lnTo>
                        <a:pt x="3526" y="10"/>
                      </a:lnTo>
                      <a:lnTo>
                        <a:pt x="3523" y="2"/>
                      </a:lnTo>
                      <a:lnTo>
                        <a:pt x="3523" y="4"/>
                      </a:lnTo>
                      <a:lnTo>
                        <a:pt x="3521" y="0"/>
                      </a:lnTo>
                      <a:lnTo>
                        <a:pt x="2701" y="1698"/>
                      </a:lnTo>
                      <a:lnTo>
                        <a:pt x="1882" y="0"/>
                      </a:lnTo>
                      <a:lnTo>
                        <a:pt x="1880" y="4"/>
                      </a:lnTo>
                      <a:lnTo>
                        <a:pt x="1880" y="2"/>
                      </a:lnTo>
                      <a:lnTo>
                        <a:pt x="1877" y="10"/>
                      </a:lnTo>
                      <a:lnTo>
                        <a:pt x="1873" y="19"/>
                      </a:lnTo>
                      <a:lnTo>
                        <a:pt x="1869" y="27"/>
                      </a:lnTo>
                      <a:lnTo>
                        <a:pt x="1864" y="36"/>
                      </a:lnTo>
                      <a:lnTo>
                        <a:pt x="1852" y="52"/>
                      </a:lnTo>
                      <a:lnTo>
                        <a:pt x="1839" y="68"/>
                      </a:lnTo>
                      <a:lnTo>
                        <a:pt x="1822" y="86"/>
                      </a:lnTo>
                      <a:lnTo>
                        <a:pt x="1804" y="103"/>
                      </a:lnTo>
                      <a:lnTo>
                        <a:pt x="1785" y="119"/>
                      </a:lnTo>
                      <a:lnTo>
                        <a:pt x="1763" y="137"/>
                      </a:lnTo>
                      <a:lnTo>
                        <a:pt x="1740" y="153"/>
                      </a:lnTo>
                      <a:lnTo>
                        <a:pt x="1715" y="169"/>
                      </a:lnTo>
                      <a:lnTo>
                        <a:pt x="1689" y="187"/>
                      </a:lnTo>
                      <a:lnTo>
                        <a:pt x="1661" y="203"/>
                      </a:lnTo>
                      <a:lnTo>
                        <a:pt x="1632" y="219"/>
                      </a:lnTo>
                      <a:lnTo>
                        <a:pt x="1603" y="235"/>
                      </a:lnTo>
                      <a:lnTo>
                        <a:pt x="1573" y="252"/>
                      </a:lnTo>
                      <a:lnTo>
                        <a:pt x="1542" y="267"/>
                      </a:lnTo>
                      <a:lnTo>
                        <a:pt x="1510" y="280"/>
                      </a:lnTo>
                      <a:lnTo>
                        <a:pt x="1476" y="294"/>
                      </a:lnTo>
                      <a:lnTo>
                        <a:pt x="1442" y="308"/>
                      </a:lnTo>
                      <a:lnTo>
                        <a:pt x="1405" y="322"/>
                      </a:lnTo>
                      <a:lnTo>
                        <a:pt x="1395" y="326"/>
                      </a:lnTo>
                      <a:lnTo>
                        <a:pt x="1364" y="335"/>
                      </a:lnTo>
                      <a:lnTo>
                        <a:pt x="1318" y="351"/>
                      </a:lnTo>
                      <a:lnTo>
                        <a:pt x="1257" y="373"/>
                      </a:lnTo>
                      <a:lnTo>
                        <a:pt x="1184" y="400"/>
                      </a:lnTo>
                      <a:lnTo>
                        <a:pt x="1103" y="433"/>
                      </a:lnTo>
                      <a:lnTo>
                        <a:pt x="1060" y="451"/>
                      </a:lnTo>
                      <a:lnTo>
                        <a:pt x="1015" y="470"/>
                      </a:lnTo>
                      <a:lnTo>
                        <a:pt x="970" y="490"/>
                      </a:lnTo>
                      <a:lnTo>
                        <a:pt x="924" y="511"/>
                      </a:lnTo>
                      <a:lnTo>
                        <a:pt x="901" y="518"/>
                      </a:lnTo>
                      <a:lnTo>
                        <a:pt x="882" y="525"/>
                      </a:lnTo>
                      <a:lnTo>
                        <a:pt x="870" y="529"/>
                      </a:lnTo>
                      <a:lnTo>
                        <a:pt x="863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2" y="531"/>
                      </a:lnTo>
                      <a:lnTo>
                        <a:pt x="861" y="531"/>
                      </a:lnTo>
                      <a:lnTo>
                        <a:pt x="861" y="531"/>
                      </a:lnTo>
                      <a:lnTo>
                        <a:pt x="861" y="531"/>
                      </a:lnTo>
                      <a:lnTo>
                        <a:pt x="848" y="536"/>
                      </a:lnTo>
                      <a:lnTo>
                        <a:pt x="848" y="536"/>
                      </a:lnTo>
                      <a:lnTo>
                        <a:pt x="835" y="541"/>
                      </a:lnTo>
                      <a:lnTo>
                        <a:pt x="835" y="541"/>
                      </a:lnTo>
                      <a:lnTo>
                        <a:pt x="811" y="551"/>
                      </a:lnTo>
                      <a:lnTo>
                        <a:pt x="787" y="561"/>
                      </a:lnTo>
                      <a:lnTo>
                        <a:pt x="765" y="572"/>
                      </a:lnTo>
                      <a:lnTo>
                        <a:pt x="743" y="583"/>
                      </a:lnTo>
                      <a:lnTo>
                        <a:pt x="703" y="605"/>
                      </a:lnTo>
                      <a:lnTo>
                        <a:pt x="666" y="626"/>
                      </a:lnTo>
                      <a:lnTo>
                        <a:pt x="632" y="648"/>
                      </a:lnTo>
                      <a:lnTo>
                        <a:pt x="602" y="669"/>
                      </a:lnTo>
                      <a:lnTo>
                        <a:pt x="574" y="691"/>
                      </a:lnTo>
                      <a:lnTo>
                        <a:pt x="549" y="710"/>
                      </a:lnTo>
                      <a:lnTo>
                        <a:pt x="529" y="728"/>
                      </a:lnTo>
                      <a:lnTo>
                        <a:pt x="511" y="745"/>
                      </a:lnTo>
                      <a:lnTo>
                        <a:pt x="495" y="760"/>
                      </a:lnTo>
                      <a:lnTo>
                        <a:pt x="483" y="773"/>
                      </a:lnTo>
                      <a:lnTo>
                        <a:pt x="467" y="791"/>
                      </a:lnTo>
                      <a:lnTo>
                        <a:pt x="462" y="798"/>
                      </a:lnTo>
                      <a:lnTo>
                        <a:pt x="429" y="849"/>
                      </a:lnTo>
                      <a:lnTo>
                        <a:pt x="398" y="903"/>
                      </a:lnTo>
                      <a:lnTo>
                        <a:pt x="369" y="959"/>
                      </a:lnTo>
                      <a:lnTo>
                        <a:pt x="340" y="1019"/>
                      </a:lnTo>
                      <a:lnTo>
                        <a:pt x="314" y="1080"/>
                      </a:lnTo>
                      <a:lnTo>
                        <a:pt x="289" y="1144"/>
                      </a:lnTo>
                      <a:lnTo>
                        <a:pt x="265" y="1209"/>
                      </a:lnTo>
                      <a:lnTo>
                        <a:pt x="242" y="1276"/>
                      </a:lnTo>
                      <a:lnTo>
                        <a:pt x="221" y="1344"/>
                      </a:lnTo>
                      <a:lnTo>
                        <a:pt x="201" y="1413"/>
                      </a:lnTo>
                      <a:lnTo>
                        <a:pt x="182" y="1484"/>
                      </a:lnTo>
                      <a:lnTo>
                        <a:pt x="165" y="1554"/>
                      </a:lnTo>
                      <a:lnTo>
                        <a:pt x="148" y="1624"/>
                      </a:lnTo>
                      <a:lnTo>
                        <a:pt x="133" y="1695"/>
                      </a:lnTo>
                      <a:lnTo>
                        <a:pt x="119" y="1766"/>
                      </a:lnTo>
                      <a:lnTo>
                        <a:pt x="105" y="1836"/>
                      </a:lnTo>
                      <a:lnTo>
                        <a:pt x="93" y="1905"/>
                      </a:lnTo>
                      <a:lnTo>
                        <a:pt x="82" y="1974"/>
                      </a:lnTo>
                      <a:lnTo>
                        <a:pt x="72" y="2042"/>
                      </a:lnTo>
                      <a:lnTo>
                        <a:pt x="63" y="2108"/>
                      </a:lnTo>
                      <a:lnTo>
                        <a:pt x="46" y="2234"/>
                      </a:lnTo>
                      <a:lnTo>
                        <a:pt x="33" y="2352"/>
                      </a:lnTo>
                      <a:lnTo>
                        <a:pt x="22" y="2460"/>
                      </a:lnTo>
                      <a:lnTo>
                        <a:pt x="14" y="2555"/>
                      </a:lnTo>
                      <a:lnTo>
                        <a:pt x="9" y="2635"/>
                      </a:lnTo>
                      <a:lnTo>
                        <a:pt x="4" y="2699"/>
                      </a:lnTo>
                      <a:lnTo>
                        <a:pt x="4" y="2699"/>
                      </a:lnTo>
                      <a:lnTo>
                        <a:pt x="3" y="2715"/>
                      </a:lnTo>
                      <a:lnTo>
                        <a:pt x="3" y="2715"/>
                      </a:lnTo>
                      <a:lnTo>
                        <a:pt x="2" y="2729"/>
                      </a:lnTo>
                      <a:lnTo>
                        <a:pt x="2" y="2729"/>
                      </a:lnTo>
                      <a:lnTo>
                        <a:pt x="1" y="2740"/>
                      </a:lnTo>
                      <a:lnTo>
                        <a:pt x="1" y="2740"/>
                      </a:lnTo>
                      <a:lnTo>
                        <a:pt x="1" y="2750"/>
                      </a:lnTo>
                      <a:lnTo>
                        <a:pt x="1" y="2750"/>
                      </a:lnTo>
                      <a:lnTo>
                        <a:pt x="0" y="2759"/>
                      </a:lnTo>
                      <a:lnTo>
                        <a:pt x="0" y="2766"/>
                      </a:lnTo>
                      <a:lnTo>
                        <a:pt x="0" y="2771"/>
                      </a:lnTo>
                      <a:lnTo>
                        <a:pt x="0" y="2774"/>
                      </a:lnTo>
                      <a:lnTo>
                        <a:pt x="0" y="2774"/>
                      </a:lnTo>
                      <a:lnTo>
                        <a:pt x="0" y="2775"/>
                      </a:lnTo>
                      <a:lnTo>
                        <a:pt x="1" y="2813"/>
                      </a:lnTo>
                      <a:lnTo>
                        <a:pt x="4" y="2849"/>
                      </a:lnTo>
                      <a:lnTo>
                        <a:pt x="7" y="2882"/>
                      </a:lnTo>
                      <a:lnTo>
                        <a:pt x="13" y="2912"/>
                      </a:lnTo>
                      <a:lnTo>
                        <a:pt x="5391" y="2912"/>
                      </a:lnTo>
                      <a:lnTo>
                        <a:pt x="5396" y="2882"/>
                      </a:lnTo>
                      <a:lnTo>
                        <a:pt x="5399" y="2849"/>
                      </a:lnTo>
                      <a:lnTo>
                        <a:pt x="5402" y="2813"/>
                      </a:lnTo>
                      <a:lnTo>
                        <a:pt x="5403" y="2775"/>
                      </a:lnTo>
                      <a:lnTo>
                        <a:pt x="5403" y="2774"/>
                      </a:lnTo>
                      <a:lnTo>
                        <a:pt x="5403" y="2774"/>
                      </a:lnTo>
                      <a:lnTo>
                        <a:pt x="5403" y="2771"/>
                      </a:lnTo>
                      <a:lnTo>
                        <a:pt x="5403" y="2766"/>
                      </a:lnTo>
                      <a:lnTo>
                        <a:pt x="5402" y="2759"/>
                      </a:lnTo>
                      <a:lnTo>
                        <a:pt x="5402" y="2750"/>
                      </a:lnTo>
                      <a:lnTo>
                        <a:pt x="5402" y="2750"/>
                      </a:lnTo>
                      <a:lnTo>
                        <a:pt x="5401" y="2740"/>
                      </a:lnTo>
                      <a:lnTo>
                        <a:pt x="5401" y="2740"/>
                      </a:lnTo>
                      <a:lnTo>
                        <a:pt x="5401" y="2729"/>
                      </a:lnTo>
                      <a:lnTo>
                        <a:pt x="5401" y="2729"/>
                      </a:lnTo>
                      <a:lnTo>
                        <a:pt x="5400" y="2715"/>
                      </a:lnTo>
                      <a:lnTo>
                        <a:pt x="5400" y="2715"/>
                      </a:lnTo>
                      <a:lnTo>
                        <a:pt x="5399" y="2699"/>
                      </a:lnTo>
                      <a:lnTo>
                        <a:pt x="5399" y="2699"/>
                      </a:lnTo>
                      <a:lnTo>
                        <a:pt x="5395" y="2635"/>
                      </a:lnTo>
                      <a:lnTo>
                        <a:pt x="5390" y="2555"/>
                      </a:lnTo>
                      <a:lnTo>
                        <a:pt x="5382" y="2460"/>
                      </a:lnTo>
                      <a:lnTo>
                        <a:pt x="5370" y="2352"/>
                      </a:lnTo>
                      <a:lnTo>
                        <a:pt x="5357" y="2234"/>
                      </a:lnTo>
                      <a:lnTo>
                        <a:pt x="5341" y="2108"/>
                      </a:lnTo>
                      <a:lnTo>
                        <a:pt x="5332" y="2042"/>
                      </a:lnTo>
                      <a:lnTo>
                        <a:pt x="5321" y="1974"/>
                      </a:lnTo>
                      <a:lnTo>
                        <a:pt x="5310" y="1905"/>
                      </a:lnTo>
                      <a:lnTo>
                        <a:pt x="5298" y="1836"/>
                      </a:lnTo>
                      <a:lnTo>
                        <a:pt x="5285" y="1766"/>
                      </a:lnTo>
                      <a:lnTo>
                        <a:pt x="5270" y="1695"/>
                      </a:lnTo>
                      <a:lnTo>
                        <a:pt x="5255" y="1624"/>
                      </a:lnTo>
                      <a:lnTo>
                        <a:pt x="5239" y="1554"/>
                      </a:lnTo>
                      <a:lnTo>
                        <a:pt x="5220" y="1484"/>
                      </a:lnTo>
                      <a:lnTo>
                        <a:pt x="5202" y="1413"/>
                      </a:lnTo>
                      <a:lnTo>
                        <a:pt x="5182" y="1344"/>
                      </a:lnTo>
                      <a:lnTo>
                        <a:pt x="5161" y="1276"/>
                      </a:lnTo>
                      <a:lnTo>
                        <a:pt x="5139" y="1209"/>
                      </a:lnTo>
                      <a:lnTo>
                        <a:pt x="5114" y="1144"/>
                      </a:lnTo>
                      <a:lnTo>
                        <a:pt x="5090" y="1080"/>
                      </a:lnTo>
                      <a:lnTo>
                        <a:pt x="5063" y="1019"/>
                      </a:lnTo>
                      <a:lnTo>
                        <a:pt x="5034" y="959"/>
                      </a:lnTo>
                      <a:lnTo>
                        <a:pt x="5005" y="903"/>
                      </a:lnTo>
                      <a:lnTo>
                        <a:pt x="4974" y="849"/>
                      </a:lnTo>
                      <a:lnTo>
                        <a:pt x="4942" y="79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45" name="Freeform 40"/>
                <p:cNvSpPr>
                  <a:spLocks/>
                </p:cNvSpPr>
                <p:nvPr/>
              </p:nvSpPr>
              <p:spPr bwMode="auto">
                <a:xfrm>
                  <a:off x="4531" y="925"/>
                  <a:ext cx="50" cy="67"/>
                </a:xfrm>
                <a:custGeom>
                  <a:avLst/>
                  <a:gdLst>
                    <a:gd name="T0" fmla="*/ 46 w 2235"/>
                    <a:gd name="T1" fmla="*/ 1840 h 3031"/>
                    <a:gd name="T2" fmla="*/ 66 w 2235"/>
                    <a:gd name="T3" fmla="*/ 1893 h 3031"/>
                    <a:gd name="T4" fmla="*/ 108 w 2235"/>
                    <a:gd name="T5" fmla="*/ 1962 h 3031"/>
                    <a:gd name="T6" fmla="*/ 154 w 2235"/>
                    <a:gd name="T7" fmla="*/ 2129 h 3031"/>
                    <a:gd name="T8" fmla="*/ 224 w 2235"/>
                    <a:gd name="T9" fmla="*/ 2324 h 3031"/>
                    <a:gd name="T10" fmla="*/ 322 w 2235"/>
                    <a:gd name="T11" fmla="*/ 2508 h 3031"/>
                    <a:gd name="T12" fmla="*/ 441 w 2235"/>
                    <a:gd name="T13" fmla="*/ 2672 h 3031"/>
                    <a:gd name="T14" fmla="*/ 578 w 2235"/>
                    <a:gd name="T15" fmla="*/ 2811 h 3031"/>
                    <a:gd name="T16" fmla="*/ 727 w 2235"/>
                    <a:gd name="T17" fmla="*/ 2921 h 3031"/>
                    <a:gd name="T18" fmla="*/ 883 w 2235"/>
                    <a:gd name="T19" fmla="*/ 2996 h 3031"/>
                    <a:gd name="T20" fmla="*/ 1042 w 2235"/>
                    <a:gd name="T21" fmla="*/ 3030 h 3031"/>
                    <a:gd name="T22" fmla="*/ 1217 w 2235"/>
                    <a:gd name="T23" fmla="*/ 3018 h 3031"/>
                    <a:gd name="T24" fmla="*/ 1392 w 2235"/>
                    <a:gd name="T25" fmla="*/ 2959 h 3031"/>
                    <a:gd name="T26" fmla="*/ 1556 w 2235"/>
                    <a:gd name="T27" fmla="*/ 2861 h 3031"/>
                    <a:gd name="T28" fmla="*/ 1707 w 2235"/>
                    <a:gd name="T29" fmla="*/ 2730 h 3031"/>
                    <a:gd name="T30" fmla="*/ 1840 w 2235"/>
                    <a:gd name="T31" fmla="*/ 2575 h 3031"/>
                    <a:gd name="T32" fmla="*/ 1950 w 2235"/>
                    <a:gd name="T33" fmla="*/ 2401 h 3031"/>
                    <a:gd name="T34" fmla="*/ 2036 w 2235"/>
                    <a:gd name="T35" fmla="*/ 2214 h 3031"/>
                    <a:gd name="T36" fmla="*/ 2092 w 2235"/>
                    <a:gd name="T37" fmla="*/ 2025 h 3031"/>
                    <a:gd name="T38" fmla="*/ 2140 w 2235"/>
                    <a:gd name="T39" fmla="*/ 1927 h 3031"/>
                    <a:gd name="T40" fmla="*/ 2168 w 2235"/>
                    <a:gd name="T41" fmla="*/ 1868 h 3031"/>
                    <a:gd name="T42" fmla="*/ 2185 w 2235"/>
                    <a:gd name="T43" fmla="*/ 1808 h 3031"/>
                    <a:gd name="T44" fmla="*/ 2213 w 2235"/>
                    <a:gd name="T45" fmla="*/ 1679 h 3031"/>
                    <a:gd name="T46" fmla="*/ 2224 w 2235"/>
                    <a:gd name="T47" fmla="*/ 1577 h 3031"/>
                    <a:gd name="T48" fmla="*/ 2216 w 2235"/>
                    <a:gd name="T49" fmla="*/ 1495 h 3031"/>
                    <a:gd name="T50" fmla="*/ 2203 w 2235"/>
                    <a:gd name="T51" fmla="*/ 1454 h 3031"/>
                    <a:gd name="T52" fmla="*/ 2184 w 2235"/>
                    <a:gd name="T53" fmla="*/ 1421 h 3031"/>
                    <a:gd name="T54" fmla="*/ 2211 w 2235"/>
                    <a:gd name="T55" fmla="*/ 1273 h 3031"/>
                    <a:gd name="T56" fmla="*/ 2231 w 2235"/>
                    <a:gd name="T57" fmla="*/ 1127 h 3031"/>
                    <a:gd name="T58" fmla="*/ 2235 w 2235"/>
                    <a:gd name="T59" fmla="*/ 1000 h 3031"/>
                    <a:gd name="T60" fmla="*/ 2226 w 2235"/>
                    <a:gd name="T61" fmla="*/ 867 h 3031"/>
                    <a:gd name="T62" fmla="*/ 2197 w 2235"/>
                    <a:gd name="T63" fmla="*/ 733 h 3031"/>
                    <a:gd name="T64" fmla="*/ 2146 w 2235"/>
                    <a:gd name="T65" fmla="*/ 603 h 3031"/>
                    <a:gd name="T66" fmla="*/ 2068 w 2235"/>
                    <a:gd name="T67" fmla="*/ 480 h 3031"/>
                    <a:gd name="T68" fmla="*/ 1985 w 2235"/>
                    <a:gd name="T69" fmla="*/ 387 h 3031"/>
                    <a:gd name="T70" fmla="*/ 1878 w 2235"/>
                    <a:gd name="T71" fmla="*/ 301 h 3031"/>
                    <a:gd name="T72" fmla="*/ 1782 w 2235"/>
                    <a:gd name="T73" fmla="*/ 242 h 3031"/>
                    <a:gd name="T74" fmla="*/ 1689 w 2235"/>
                    <a:gd name="T75" fmla="*/ 198 h 3031"/>
                    <a:gd name="T76" fmla="*/ 1581 w 2235"/>
                    <a:gd name="T77" fmla="*/ 158 h 3031"/>
                    <a:gd name="T78" fmla="*/ 1308 w 2235"/>
                    <a:gd name="T79" fmla="*/ 69 h 3031"/>
                    <a:gd name="T80" fmla="*/ 1098 w 2235"/>
                    <a:gd name="T81" fmla="*/ 19 h 3031"/>
                    <a:gd name="T82" fmla="*/ 980 w 2235"/>
                    <a:gd name="T83" fmla="*/ 0 h 3031"/>
                    <a:gd name="T84" fmla="*/ 946 w 2235"/>
                    <a:gd name="T85" fmla="*/ 3 h 3031"/>
                    <a:gd name="T86" fmla="*/ 903 w 2235"/>
                    <a:gd name="T87" fmla="*/ 11 h 3031"/>
                    <a:gd name="T88" fmla="*/ 860 w 2235"/>
                    <a:gd name="T89" fmla="*/ 9 h 3031"/>
                    <a:gd name="T90" fmla="*/ 784 w 2235"/>
                    <a:gd name="T91" fmla="*/ 19 h 3031"/>
                    <a:gd name="T92" fmla="*/ 718 w 2235"/>
                    <a:gd name="T93" fmla="*/ 40 h 3031"/>
                    <a:gd name="T94" fmla="*/ 627 w 2235"/>
                    <a:gd name="T95" fmla="*/ 81 h 3031"/>
                    <a:gd name="T96" fmla="*/ 489 w 2235"/>
                    <a:gd name="T97" fmla="*/ 163 h 3031"/>
                    <a:gd name="T98" fmla="*/ 382 w 2235"/>
                    <a:gd name="T99" fmla="*/ 242 h 3031"/>
                    <a:gd name="T100" fmla="*/ 274 w 2235"/>
                    <a:gd name="T101" fmla="*/ 344 h 3031"/>
                    <a:gd name="T102" fmla="*/ 174 w 2235"/>
                    <a:gd name="T103" fmla="*/ 467 h 3031"/>
                    <a:gd name="T104" fmla="*/ 92 w 2235"/>
                    <a:gd name="T105" fmla="*/ 614 h 3031"/>
                    <a:gd name="T106" fmla="*/ 54 w 2235"/>
                    <a:gd name="T107" fmla="*/ 718 h 3031"/>
                    <a:gd name="T108" fmla="*/ 35 w 2235"/>
                    <a:gd name="T109" fmla="*/ 809 h 3031"/>
                    <a:gd name="T110" fmla="*/ 26 w 2235"/>
                    <a:gd name="T111" fmla="*/ 978 h 3031"/>
                    <a:gd name="T112" fmla="*/ 42 w 2235"/>
                    <a:gd name="T113" fmla="*/ 1235 h 3031"/>
                    <a:gd name="T114" fmla="*/ 66 w 2235"/>
                    <a:gd name="T115" fmla="*/ 1399 h 3031"/>
                    <a:gd name="T116" fmla="*/ 35 w 2235"/>
                    <a:gd name="T117" fmla="*/ 1429 h 3031"/>
                    <a:gd name="T118" fmla="*/ 16 w 2235"/>
                    <a:gd name="T119" fmla="*/ 1464 h 3031"/>
                    <a:gd name="T120" fmla="*/ 5 w 2235"/>
                    <a:gd name="T121" fmla="*/ 1506 h 3031"/>
                    <a:gd name="T122" fmla="*/ 2 w 2235"/>
                    <a:gd name="T123" fmla="*/ 1603 h 3031"/>
                    <a:gd name="T124" fmla="*/ 16 w 2235"/>
                    <a:gd name="T125" fmla="*/ 1703 h 30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235" h="3031">
                      <a:moveTo>
                        <a:pt x="36" y="1791"/>
                      </a:moveTo>
                      <a:lnTo>
                        <a:pt x="39" y="1808"/>
                      </a:lnTo>
                      <a:lnTo>
                        <a:pt x="43" y="1824"/>
                      </a:lnTo>
                      <a:lnTo>
                        <a:pt x="46" y="1840"/>
                      </a:lnTo>
                      <a:lnTo>
                        <a:pt x="50" y="1854"/>
                      </a:lnTo>
                      <a:lnTo>
                        <a:pt x="56" y="1867"/>
                      </a:lnTo>
                      <a:lnTo>
                        <a:pt x="61" y="1880"/>
                      </a:lnTo>
                      <a:lnTo>
                        <a:pt x="66" y="1893"/>
                      </a:lnTo>
                      <a:lnTo>
                        <a:pt x="71" y="1905"/>
                      </a:lnTo>
                      <a:lnTo>
                        <a:pt x="82" y="1926"/>
                      </a:lnTo>
                      <a:lnTo>
                        <a:pt x="94" y="1945"/>
                      </a:lnTo>
                      <a:lnTo>
                        <a:pt x="108" y="1962"/>
                      </a:lnTo>
                      <a:lnTo>
                        <a:pt x="121" y="1976"/>
                      </a:lnTo>
                      <a:lnTo>
                        <a:pt x="129" y="2027"/>
                      </a:lnTo>
                      <a:lnTo>
                        <a:pt x="140" y="2078"/>
                      </a:lnTo>
                      <a:lnTo>
                        <a:pt x="154" y="2129"/>
                      </a:lnTo>
                      <a:lnTo>
                        <a:pt x="168" y="2179"/>
                      </a:lnTo>
                      <a:lnTo>
                        <a:pt x="185" y="2228"/>
                      </a:lnTo>
                      <a:lnTo>
                        <a:pt x="204" y="2277"/>
                      </a:lnTo>
                      <a:lnTo>
                        <a:pt x="224" y="2324"/>
                      </a:lnTo>
                      <a:lnTo>
                        <a:pt x="246" y="2372"/>
                      </a:lnTo>
                      <a:lnTo>
                        <a:pt x="270" y="2418"/>
                      </a:lnTo>
                      <a:lnTo>
                        <a:pt x="295" y="2464"/>
                      </a:lnTo>
                      <a:lnTo>
                        <a:pt x="322" y="2508"/>
                      </a:lnTo>
                      <a:lnTo>
                        <a:pt x="350" y="2550"/>
                      </a:lnTo>
                      <a:lnTo>
                        <a:pt x="379" y="2592"/>
                      </a:lnTo>
                      <a:lnTo>
                        <a:pt x="410" y="2633"/>
                      </a:lnTo>
                      <a:lnTo>
                        <a:pt x="441" y="2672"/>
                      </a:lnTo>
                      <a:lnTo>
                        <a:pt x="474" y="2709"/>
                      </a:lnTo>
                      <a:lnTo>
                        <a:pt x="508" y="2745"/>
                      </a:lnTo>
                      <a:lnTo>
                        <a:pt x="542" y="2779"/>
                      </a:lnTo>
                      <a:lnTo>
                        <a:pt x="578" y="2811"/>
                      </a:lnTo>
                      <a:lnTo>
                        <a:pt x="615" y="2842"/>
                      </a:lnTo>
                      <a:lnTo>
                        <a:pt x="652" y="2870"/>
                      </a:lnTo>
                      <a:lnTo>
                        <a:pt x="689" y="2897"/>
                      </a:lnTo>
                      <a:lnTo>
                        <a:pt x="727" y="2921"/>
                      </a:lnTo>
                      <a:lnTo>
                        <a:pt x="766" y="2943"/>
                      </a:lnTo>
                      <a:lnTo>
                        <a:pt x="805" y="2964"/>
                      </a:lnTo>
                      <a:lnTo>
                        <a:pt x="844" y="2981"/>
                      </a:lnTo>
                      <a:lnTo>
                        <a:pt x="883" y="2996"/>
                      </a:lnTo>
                      <a:lnTo>
                        <a:pt x="922" y="3009"/>
                      </a:lnTo>
                      <a:lnTo>
                        <a:pt x="962" y="3019"/>
                      </a:lnTo>
                      <a:lnTo>
                        <a:pt x="1002" y="3026"/>
                      </a:lnTo>
                      <a:lnTo>
                        <a:pt x="1042" y="3030"/>
                      </a:lnTo>
                      <a:lnTo>
                        <a:pt x="1080" y="3031"/>
                      </a:lnTo>
                      <a:lnTo>
                        <a:pt x="1126" y="3030"/>
                      </a:lnTo>
                      <a:lnTo>
                        <a:pt x="1172" y="3025"/>
                      </a:lnTo>
                      <a:lnTo>
                        <a:pt x="1217" y="3018"/>
                      </a:lnTo>
                      <a:lnTo>
                        <a:pt x="1261" y="3007"/>
                      </a:lnTo>
                      <a:lnTo>
                        <a:pt x="1306" y="2993"/>
                      </a:lnTo>
                      <a:lnTo>
                        <a:pt x="1349" y="2977"/>
                      </a:lnTo>
                      <a:lnTo>
                        <a:pt x="1392" y="2959"/>
                      </a:lnTo>
                      <a:lnTo>
                        <a:pt x="1435" y="2937"/>
                      </a:lnTo>
                      <a:lnTo>
                        <a:pt x="1475" y="2914"/>
                      </a:lnTo>
                      <a:lnTo>
                        <a:pt x="1516" y="2888"/>
                      </a:lnTo>
                      <a:lnTo>
                        <a:pt x="1556" y="2861"/>
                      </a:lnTo>
                      <a:lnTo>
                        <a:pt x="1596" y="2830"/>
                      </a:lnTo>
                      <a:lnTo>
                        <a:pt x="1634" y="2799"/>
                      </a:lnTo>
                      <a:lnTo>
                        <a:pt x="1670" y="2765"/>
                      </a:lnTo>
                      <a:lnTo>
                        <a:pt x="1707" y="2730"/>
                      </a:lnTo>
                      <a:lnTo>
                        <a:pt x="1742" y="2693"/>
                      </a:lnTo>
                      <a:lnTo>
                        <a:pt x="1776" y="2655"/>
                      </a:lnTo>
                      <a:lnTo>
                        <a:pt x="1808" y="2616"/>
                      </a:lnTo>
                      <a:lnTo>
                        <a:pt x="1840" y="2575"/>
                      </a:lnTo>
                      <a:lnTo>
                        <a:pt x="1869" y="2532"/>
                      </a:lnTo>
                      <a:lnTo>
                        <a:pt x="1898" y="2489"/>
                      </a:lnTo>
                      <a:lnTo>
                        <a:pt x="1925" y="2446"/>
                      </a:lnTo>
                      <a:lnTo>
                        <a:pt x="1950" y="2401"/>
                      </a:lnTo>
                      <a:lnTo>
                        <a:pt x="1974" y="2355"/>
                      </a:lnTo>
                      <a:lnTo>
                        <a:pt x="1996" y="2308"/>
                      </a:lnTo>
                      <a:lnTo>
                        <a:pt x="2016" y="2262"/>
                      </a:lnTo>
                      <a:lnTo>
                        <a:pt x="2036" y="2214"/>
                      </a:lnTo>
                      <a:lnTo>
                        <a:pt x="2052" y="2168"/>
                      </a:lnTo>
                      <a:lnTo>
                        <a:pt x="2067" y="2120"/>
                      </a:lnTo>
                      <a:lnTo>
                        <a:pt x="2081" y="2073"/>
                      </a:lnTo>
                      <a:lnTo>
                        <a:pt x="2092" y="2025"/>
                      </a:lnTo>
                      <a:lnTo>
                        <a:pt x="2101" y="1977"/>
                      </a:lnTo>
                      <a:lnTo>
                        <a:pt x="2114" y="1963"/>
                      </a:lnTo>
                      <a:lnTo>
                        <a:pt x="2128" y="1946"/>
                      </a:lnTo>
                      <a:lnTo>
                        <a:pt x="2140" y="1927"/>
                      </a:lnTo>
                      <a:lnTo>
                        <a:pt x="2152" y="1905"/>
                      </a:lnTo>
                      <a:lnTo>
                        <a:pt x="2157" y="1894"/>
                      </a:lnTo>
                      <a:lnTo>
                        <a:pt x="2163" y="1881"/>
                      </a:lnTo>
                      <a:lnTo>
                        <a:pt x="2168" y="1868"/>
                      </a:lnTo>
                      <a:lnTo>
                        <a:pt x="2173" y="1854"/>
                      </a:lnTo>
                      <a:lnTo>
                        <a:pt x="2178" y="1840"/>
                      </a:lnTo>
                      <a:lnTo>
                        <a:pt x="2182" y="1824"/>
                      </a:lnTo>
                      <a:lnTo>
                        <a:pt x="2185" y="1808"/>
                      </a:lnTo>
                      <a:lnTo>
                        <a:pt x="2188" y="1791"/>
                      </a:lnTo>
                      <a:lnTo>
                        <a:pt x="2199" y="1750"/>
                      </a:lnTo>
                      <a:lnTo>
                        <a:pt x="2209" y="1703"/>
                      </a:lnTo>
                      <a:lnTo>
                        <a:pt x="2213" y="1679"/>
                      </a:lnTo>
                      <a:lnTo>
                        <a:pt x="2217" y="1653"/>
                      </a:lnTo>
                      <a:lnTo>
                        <a:pt x="2221" y="1628"/>
                      </a:lnTo>
                      <a:lnTo>
                        <a:pt x="2223" y="1603"/>
                      </a:lnTo>
                      <a:lnTo>
                        <a:pt x="2224" y="1577"/>
                      </a:lnTo>
                      <a:lnTo>
                        <a:pt x="2224" y="1553"/>
                      </a:lnTo>
                      <a:lnTo>
                        <a:pt x="2222" y="1528"/>
                      </a:lnTo>
                      <a:lnTo>
                        <a:pt x="2218" y="1506"/>
                      </a:lnTo>
                      <a:lnTo>
                        <a:pt x="2216" y="1495"/>
                      </a:lnTo>
                      <a:lnTo>
                        <a:pt x="2214" y="1483"/>
                      </a:lnTo>
                      <a:lnTo>
                        <a:pt x="2211" y="1473"/>
                      </a:lnTo>
                      <a:lnTo>
                        <a:pt x="2207" y="1463"/>
                      </a:lnTo>
                      <a:lnTo>
                        <a:pt x="2203" y="1454"/>
                      </a:lnTo>
                      <a:lnTo>
                        <a:pt x="2199" y="1445"/>
                      </a:lnTo>
                      <a:lnTo>
                        <a:pt x="2194" y="1436"/>
                      </a:lnTo>
                      <a:lnTo>
                        <a:pt x="2188" y="1427"/>
                      </a:lnTo>
                      <a:lnTo>
                        <a:pt x="2184" y="1421"/>
                      </a:lnTo>
                      <a:lnTo>
                        <a:pt x="2179" y="1416"/>
                      </a:lnTo>
                      <a:lnTo>
                        <a:pt x="2190" y="1372"/>
                      </a:lnTo>
                      <a:lnTo>
                        <a:pt x="2201" y="1326"/>
                      </a:lnTo>
                      <a:lnTo>
                        <a:pt x="2211" y="1273"/>
                      </a:lnTo>
                      <a:lnTo>
                        <a:pt x="2221" y="1218"/>
                      </a:lnTo>
                      <a:lnTo>
                        <a:pt x="2225" y="1188"/>
                      </a:lnTo>
                      <a:lnTo>
                        <a:pt x="2228" y="1159"/>
                      </a:lnTo>
                      <a:lnTo>
                        <a:pt x="2231" y="1127"/>
                      </a:lnTo>
                      <a:lnTo>
                        <a:pt x="2233" y="1097"/>
                      </a:lnTo>
                      <a:lnTo>
                        <a:pt x="2235" y="1065"/>
                      </a:lnTo>
                      <a:lnTo>
                        <a:pt x="2235" y="1032"/>
                      </a:lnTo>
                      <a:lnTo>
                        <a:pt x="2235" y="1000"/>
                      </a:lnTo>
                      <a:lnTo>
                        <a:pt x="2234" y="967"/>
                      </a:lnTo>
                      <a:lnTo>
                        <a:pt x="2233" y="934"/>
                      </a:lnTo>
                      <a:lnTo>
                        <a:pt x="2230" y="901"/>
                      </a:lnTo>
                      <a:lnTo>
                        <a:pt x="2226" y="867"/>
                      </a:lnTo>
                      <a:lnTo>
                        <a:pt x="2221" y="834"/>
                      </a:lnTo>
                      <a:lnTo>
                        <a:pt x="2213" y="800"/>
                      </a:lnTo>
                      <a:lnTo>
                        <a:pt x="2206" y="767"/>
                      </a:lnTo>
                      <a:lnTo>
                        <a:pt x="2197" y="733"/>
                      </a:lnTo>
                      <a:lnTo>
                        <a:pt x="2187" y="700"/>
                      </a:lnTo>
                      <a:lnTo>
                        <a:pt x="2175" y="667"/>
                      </a:lnTo>
                      <a:lnTo>
                        <a:pt x="2161" y="635"/>
                      </a:lnTo>
                      <a:lnTo>
                        <a:pt x="2146" y="603"/>
                      </a:lnTo>
                      <a:lnTo>
                        <a:pt x="2130" y="571"/>
                      </a:lnTo>
                      <a:lnTo>
                        <a:pt x="2111" y="541"/>
                      </a:lnTo>
                      <a:lnTo>
                        <a:pt x="2091" y="510"/>
                      </a:lnTo>
                      <a:lnTo>
                        <a:pt x="2068" y="480"/>
                      </a:lnTo>
                      <a:lnTo>
                        <a:pt x="2045" y="451"/>
                      </a:lnTo>
                      <a:lnTo>
                        <a:pt x="2030" y="434"/>
                      </a:lnTo>
                      <a:lnTo>
                        <a:pt x="2003" y="404"/>
                      </a:lnTo>
                      <a:lnTo>
                        <a:pt x="1985" y="387"/>
                      </a:lnTo>
                      <a:lnTo>
                        <a:pt x="1963" y="367"/>
                      </a:lnTo>
                      <a:lnTo>
                        <a:pt x="1938" y="346"/>
                      </a:lnTo>
                      <a:lnTo>
                        <a:pt x="1909" y="324"/>
                      </a:lnTo>
                      <a:lnTo>
                        <a:pt x="1878" y="301"/>
                      </a:lnTo>
                      <a:lnTo>
                        <a:pt x="1842" y="278"/>
                      </a:lnTo>
                      <a:lnTo>
                        <a:pt x="1822" y="266"/>
                      </a:lnTo>
                      <a:lnTo>
                        <a:pt x="1803" y="255"/>
                      </a:lnTo>
                      <a:lnTo>
                        <a:pt x="1782" y="242"/>
                      </a:lnTo>
                      <a:lnTo>
                        <a:pt x="1760" y="231"/>
                      </a:lnTo>
                      <a:lnTo>
                        <a:pt x="1738" y="220"/>
                      </a:lnTo>
                      <a:lnTo>
                        <a:pt x="1713" y="209"/>
                      </a:lnTo>
                      <a:lnTo>
                        <a:pt x="1689" y="198"/>
                      </a:lnTo>
                      <a:lnTo>
                        <a:pt x="1663" y="187"/>
                      </a:lnTo>
                      <a:lnTo>
                        <a:pt x="1637" y="177"/>
                      </a:lnTo>
                      <a:lnTo>
                        <a:pt x="1609" y="167"/>
                      </a:lnTo>
                      <a:lnTo>
                        <a:pt x="1581" y="158"/>
                      </a:lnTo>
                      <a:lnTo>
                        <a:pt x="1551" y="149"/>
                      </a:lnTo>
                      <a:lnTo>
                        <a:pt x="1398" y="96"/>
                      </a:lnTo>
                      <a:lnTo>
                        <a:pt x="1352" y="81"/>
                      </a:lnTo>
                      <a:lnTo>
                        <a:pt x="1308" y="69"/>
                      </a:lnTo>
                      <a:lnTo>
                        <a:pt x="1266" y="58"/>
                      </a:lnTo>
                      <a:lnTo>
                        <a:pt x="1227" y="48"/>
                      </a:lnTo>
                      <a:lnTo>
                        <a:pt x="1157" y="32"/>
                      </a:lnTo>
                      <a:lnTo>
                        <a:pt x="1098" y="19"/>
                      </a:lnTo>
                      <a:lnTo>
                        <a:pt x="1049" y="10"/>
                      </a:lnTo>
                      <a:lnTo>
                        <a:pt x="1013" y="5"/>
                      </a:lnTo>
                      <a:lnTo>
                        <a:pt x="990" y="1"/>
                      </a:lnTo>
                      <a:lnTo>
                        <a:pt x="980" y="0"/>
                      </a:lnTo>
                      <a:lnTo>
                        <a:pt x="972" y="0"/>
                      </a:lnTo>
                      <a:lnTo>
                        <a:pt x="963" y="0"/>
                      </a:lnTo>
                      <a:lnTo>
                        <a:pt x="955" y="1"/>
                      </a:lnTo>
                      <a:lnTo>
                        <a:pt x="946" y="3"/>
                      </a:lnTo>
                      <a:lnTo>
                        <a:pt x="935" y="6"/>
                      </a:lnTo>
                      <a:lnTo>
                        <a:pt x="920" y="9"/>
                      </a:lnTo>
                      <a:lnTo>
                        <a:pt x="912" y="10"/>
                      </a:lnTo>
                      <a:lnTo>
                        <a:pt x="903" y="11"/>
                      </a:lnTo>
                      <a:lnTo>
                        <a:pt x="894" y="11"/>
                      </a:lnTo>
                      <a:lnTo>
                        <a:pt x="884" y="10"/>
                      </a:lnTo>
                      <a:lnTo>
                        <a:pt x="872" y="9"/>
                      </a:lnTo>
                      <a:lnTo>
                        <a:pt x="860" y="9"/>
                      </a:lnTo>
                      <a:lnTo>
                        <a:pt x="848" y="9"/>
                      </a:lnTo>
                      <a:lnTo>
                        <a:pt x="835" y="10"/>
                      </a:lnTo>
                      <a:lnTo>
                        <a:pt x="809" y="14"/>
                      </a:lnTo>
                      <a:lnTo>
                        <a:pt x="784" y="19"/>
                      </a:lnTo>
                      <a:lnTo>
                        <a:pt x="762" y="25"/>
                      </a:lnTo>
                      <a:lnTo>
                        <a:pt x="743" y="32"/>
                      </a:lnTo>
                      <a:lnTo>
                        <a:pt x="727" y="37"/>
                      </a:lnTo>
                      <a:lnTo>
                        <a:pt x="718" y="40"/>
                      </a:lnTo>
                      <a:lnTo>
                        <a:pt x="709" y="43"/>
                      </a:lnTo>
                      <a:lnTo>
                        <a:pt x="689" y="51"/>
                      </a:lnTo>
                      <a:lnTo>
                        <a:pt x="662" y="64"/>
                      </a:lnTo>
                      <a:lnTo>
                        <a:pt x="627" y="81"/>
                      </a:lnTo>
                      <a:lnTo>
                        <a:pt x="585" y="104"/>
                      </a:lnTo>
                      <a:lnTo>
                        <a:pt x="539" y="130"/>
                      </a:lnTo>
                      <a:lnTo>
                        <a:pt x="515" y="146"/>
                      </a:lnTo>
                      <a:lnTo>
                        <a:pt x="489" y="163"/>
                      </a:lnTo>
                      <a:lnTo>
                        <a:pt x="463" y="181"/>
                      </a:lnTo>
                      <a:lnTo>
                        <a:pt x="436" y="201"/>
                      </a:lnTo>
                      <a:lnTo>
                        <a:pt x="410" y="221"/>
                      </a:lnTo>
                      <a:lnTo>
                        <a:pt x="382" y="242"/>
                      </a:lnTo>
                      <a:lnTo>
                        <a:pt x="355" y="266"/>
                      </a:lnTo>
                      <a:lnTo>
                        <a:pt x="328" y="291"/>
                      </a:lnTo>
                      <a:lnTo>
                        <a:pt x="301" y="317"/>
                      </a:lnTo>
                      <a:lnTo>
                        <a:pt x="274" y="344"/>
                      </a:lnTo>
                      <a:lnTo>
                        <a:pt x="247" y="373"/>
                      </a:lnTo>
                      <a:lnTo>
                        <a:pt x="223" y="403"/>
                      </a:lnTo>
                      <a:lnTo>
                        <a:pt x="197" y="435"/>
                      </a:lnTo>
                      <a:lnTo>
                        <a:pt x="174" y="467"/>
                      </a:lnTo>
                      <a:lnTo>
                        <a:pt x="152" y="502"/>
                      </a:lnTo>
                      <a:lnTo>
                        <a:pt x="130" y="539"/>
                      </a:lnTo>
                      <a:lnTo>
                        <a:pt x="111" y="575"/>
                      </a:lnTo>
                      <a:lnTo>
                        <a:pt x="92" y="614"/>
                      </a:lnTo>
                      <a:lnTo>
                        <a:pt x="76" y="655"/>
                      </a:lnTo>
                      <a:lnTo>
                        <a:pt x="61" y="696"/>
                      </a:lnTo>
                      <a:lnTo>
                        <a:pt x="58" y="706"/>
                      </a:lnTo>
                      <a:lnTo>
                        <a:pt x="54" y="718"/>
                      </a:lnTo>
                      <a:lnTo>
                        <a:pt x="49" y="734"/>
                      </a:lnTo>
                      <a:lnTo>
                        <a:pt x="44" y="755"/>
                      </a:lnTo>
                      <a:lnTo>
                        <a:pt x="39" y="780"/>
                      </a:lnTo>
                      <a:lnTo>
                        <a:pt x="35" y="809"/>
                      </a:lnTo>
                      <a:lnTo>
                        <a:pt x="31" y="844"/>
                      </a:lnTo>
                      <a:lnTo>
                        <a:pt x="28" y="884"/>
                      </a:lnTo>
                      <a:lnTo>
                        <a:pt x="26" y="929"/>
                      </a:lnTo>
                      <a:lnTo>
                        <a:pt x="26" y="978"/>
                      </a:lnTo>
                      <a:lnTo>
                        <a:pt x="27" y="1033"/>
                      </a:lnTo>
                      <a:lnTo>
                        <a:pt x="29" y="1094"/>
                      </a:lnTo>
                      <a:lnTo>
                        <a:pt x="35" y="1162"/>
                      </a:lnTo>
                      <a:lnTo>
                        <a:pt x="42" y="1235"/>
                      </a:lnTo>
                      <a:lnTo>
                        <a:pt x="47" y="1274"/>
                      </a:lnTo>
                      <a:lnTo>
                        <a:pt x="53" y="1313"/>
                      </a:lnTo>
                      <a:lnTo>
                        <a:pt x="59" y="1356"/>
                      </a:lnTo>
                      <a:lnTo>
                        <a:pt x="66" y="1399"/>
                      </a:lnTo>
                      <a:lnTo>
                        <a:pt x="58" y="1405"/>
                      </a:lnTo>
                      <a:lnTo>
                        <a:pt x="49" y="1412"/>
                      </a:lnTo>
                      <a:lnTo>
                        <a:pt x="42" y="1420"/>
                      </a:lnTo>
                      <a:lnTo>
                        <a:pt x="35" y="1429"/>
                      </a:lnTo>
                      <a:lnTo>
                        <a:pt x="29" y="1438"/>
                      </a:lnTo>
                      <a:lnTo>
                        <a:pt x="24" y="1446"/>
                      </a:lnTo>
                      <a:lnTo>
                        <a:pt x="20" y="1455"/>
                      </a:lnTo>
                      <a:lnTo>
                        <a:pt x="16" y="1464"/>
                      </a:lnTo>
                      <a:lnTo>
                        <a:pt x="12" y="1474"/>
                      </a:lnTo>
                      <a:lnTo>
                        <a:pt x="9" y="1484"/>
                      </a:lnTo>
                      <a:lnTo>
                        <a:pt x="7" y="1496"/>
                      </a:lnTo>
                      <a:lnTo>
                        <a:pt x="5" y="1506"/>
                      </a:lnTo>
                      <a:lnTo>
                        <a:pt x="2" y="1529"/>
                      </a:lnTo>
                      <a:lnTo>
                        <a:pt x="0" y="1553"/>
                      </a:lnTo>
                      <a:lnTo>
                        <a:pt x="0" y="1578"/>
                      </a:lnTo>
                      <a:lnTo>
                        <a:pt x="2" y="1603"/>
                      </a:lnTo>
                      <a:lnTo>
                        <a:pt x="4" y="1628"/>
                      </a:lnTo>
                      <a:lnTo>
                        <a:pt x="7" y="1653"/>
                      </a:lnTo>
                      <a:lnTo>
                        <a:pt x="11" y="1679"/>
                      </a:lnTo>
                      <a:lnTo>
                        <a:pt x="16" y="1703"/>
                      </a:lnTo>
                      <a:lnTo>
                        <a:pt x="26" y="1750"/>
                      </a:lnTo>
                      <a:lnTo>
                        <a:pt x="36" y="179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46" name="Freeform 41"/>
                <p:cNvSpPr>
                  <a:spLocks noEditPoints="1"/>
                </p:cNvSpPr>
                <p:nvPr/>
              </p:nvSpPr>
              <p:spPr bwMode="auto">
                <a:xfrm>
                  <a:off x="4667" y="1167"/>
                  <a:ext cx="65" cy="83"/>
                </a:xfrm>
                <a:custGeom>
                  <a:avLst/>
                  <a:gdLst>
                    <a:gd name="T0" fmla="*/ 2596 w 2938"/>
                    <a:gd name="T1" fmla="*/ 2050 h 3723"/>
                    <a:gd name="T2" fmla="*/ 2462 w 2938"/>
                    <a:gd name="T3" fmla="*/ 1977 h 3723"/>
                    <a:gd name="T4" fmla="*/ 2448 w 2938"/>
                    <a:gd name="T5" fmla="*/ 1971 h 3723"/>
                    <a:gd name="T6" fmla="*/ 2412 w 2938"/>
                    <a:gd name="T7" fmla="*/ 1960 h 3723"/>
                    <a:gd name="T8" fmla="*/ 2145 w 2938"/>
                    <a:gd name="T9" fmla="*/ 1855 h 3723"/>
                    <a:gd name="T10" fmla="*/ 1993 w 2938"/>
                    <a:gd name="T11" fmla="*/ 1785 h 3723"/>
                    <a:gd name="T12" fmla="*/ 1884 w 2938"/>
                    <a:gd name="T13" fmla="*/ 1699 h 3723"/>
                    <a:gd name="T14" fmla="*/ 1839 w 2938"/>
                    <a:gd name="T15" fmla="*/ 1709 h 3723"/>
                    <a:gd name="T16" fmla="*/ 1659 w 2938"/>
                    <a:gd name="T17" fmla="*/ 1846 h 3723"/>
                    <a:gd name="T18" fmla="*/ 1436 w 2938"/>
                    <a:gd name="T19" fmla="*/ 1904 h 3723"/>
                    <a:gd name="T20" fmla="*/ 1202 w 2938"/>
                    <a:gd name="T21" fmla="*/ 1871 h 3723"/>
                    <a:gd name="T22" fmla="*/ 1008 w 2938"/>
                    <a:gd name="T23" fmla="*/ 1755 h 3723"/>
                    <a:gd name="T24" fmla="*/ 929 w 2938"/>
                    <a:gd name="T25" fmla="*/ 1680 h 3723"/>
                    <a:gd name="T26" fmla="*/ 866 w 2938"/>
                    <a:gd name="T27" fmla="*/ 1747 h 3723"/>
                    <a:gd name="T28" fmla="*/ 683 w 2938"/>
                    <a:gd name="T29" fmla="*/ 1845 h 3723"/>
                    <a:gd name="T30" fmla="*/ 491 w 2938"/>
                    <a:gd name="T31" fmla="*/ 1915 h 3723"/>
                    <a:gd name="T32" fmla="*/ 354 w 2938"/>
                    <a:gd name="T33" fmla="*/ 1971 h 3723"/>
                    <a:gd name="T34" fmla="*/ 354 w 2938"/>
                    <a:gd name="T35" fmla="*/ 1971 h 3723"/>
                    <a:gd name="T36" fmla="*/ 312 w 2938"/>
                    <a:gd name="T37" fmla="*/ 1988 h 3723"/>
                    <a:gd name="T38" fmla="*/ 176 w 2938"/>
                    <a:gd name="T39" fmla="*/ 2073 h 3723"/>
                    <a:gd name="T40" fmla="*/ 73 w 2938"/>
                    <a:gd name="T41" fmla="*/ 2216 h 3723"/>
                    <a:gd name="T42" fmla="*/ 18 w 2938"/>
                    <a:gd name="T43" fmla="*/ 2424 h 3723"/>
                    <a:gd name="T44" fmla="*/ 141 w 2938"/>
                    <a:gd name="T45" fmla="*/ 2662 h 3723"/>
                    <a:gd name="T46" fmla="*/ 247 w 2938"/>
                    <a:gd name="T47" fmla="*/ 2997 h 3723"/>
                    <a:gd name="T48" fmla="*/ 315 w 2938"/>
                    <a:gd name="T49" fmla="*/ 3353 h 3723"/>
                    <a:gd name="T50" fmla="*/ 494 w 2938"/>
                    <a:gd name="T51" fmla="*/ 3624 h 3723"/>
                    <a:gd name="T52" fmla="*/ 1054 w 2938"/>
                    <a:gd name="T53" fmla="*/ 3709 h 3723"/>
                    <a:gd name="T54" fmla="*/ 1633 w 2938"/>
                    <a:gd name="T55" fmla="*/ 3717 h 3723"/>
                    <a:gd name="T56" fmla="*/ 2199 w 2938"/>
                    <a:gd name="T57" fmla="*/ 3647 h 3723"/>
                    <a:gd name="T58" fmla="*/ 2722 w 2938"/>
                    <a:gd name="T59" fmla="*/ 3500 h 3723"/>
                    <a:gd name="T60" fmla="*/ 2890 w 2938"/>
                    <a:gd name="T61" fmla="*/ 3422 h 3723"/>
                    <a:gd name="T62" fmla="*/ 2934 w 2938"/>
                    <a:gd name="T63" fmla="*/ 3308 h 3723"/>
                    <a:gd name="T64" fmla="*/ 2938 w 2938"/>
                    <a:gd name="T65" fmla="*/ 3240 h 3723"/>
                    <a:gd name="T66" fmla="*/ 2936 w 2938"/>
                    <a:gd name="T67" fmla="*/ 3214 h 3723"/>
                    <a:gd name="T68" fmla="*/ 2920 w 2938"/>
                    <a:gd name="T69" fmla="*/ 3008 h 3723"/>
                    <a:gd name="T70" fmla="*/ 2853 w 2938"/>
                    <a:gd name="T71" fmla="*/ 2594 h 3723"/>
                    <a:gd name="T72" fmla="*/ 2774 w 2938"/>
                    <a:gd name="T73" fmla="*/ 2320 h 3723"/>
                    <a:gd name="T74" fmla="*/ 1379 w 2938"/>
                    <a:gd name="T75" fmla="*/ 1725 h 3723"/>
                    <a:gd name="T76" fmla="*/ 1705 w 2938"/>
                    <a:gd name="T77" fmla="*/ 1580 h 3723"/>
                    <a:gd name="T78" fmla="*/ 1927 w 2938"/>
                    <a:gd name="T79" fmla="*/ 1229 h 3723"/>
                    <a:gd name="T80" fmla="*/ 2033 w 2938"/>
                    <a:gd name="T81" fmla="*/ 797 h 3723"/>
                    <a:gd name="T82" fmla="*/ 2007 w 2938"/>
                    <a:gd name="T83" fmla="*/ 410 h 3723"/>
                    <a:gd name="T84" fmla="*/ 1894 w 2938"/>
                    <a:gd name="T85" fmla="*/ 220 h 3723"/>
                    <a:gd name="T86" fmla="*/ 1766 w 2938"/>
                    <a:gd name="T87" fmla="*/ 131 h 3723"/>
                    <a:gd name="T88" fmla="*/ 1463 w 2938"/>
                    <a:gd name="T89" fmla="*/ 27 h 3723"/>
                    <a:gd name="T90" fmla="*/ 1313 w 2938"/>
                    <a:gd name="T91" fmla="*/ 0 h 3723"/>
                    <a:gd name="T92" fmla="*/ 1240 w 2938"/>
                    <a:gd name="T93" fmla="*/ 6 h 3723"/>
                    <a:gd name="T94" fmla="*/ 1098 w 2938"/>
                    <a:gd name="T95" fmla="*/ 59 h 3723"/>
                    <a:gd name="T96" fmla="*/ 952 w 2938"/>
                    <a:gd name="T97" fmla="*/ 166 h 3723"/>
                    <a:gd name="T98" fmla="*/ 851 w 2938"/>
                    <a:gd name="T99" fmla="*/ 286 h 3723"/>
                    <a:gd name="T100" fmla="*/ 776 w 2938"/>
                    <a:gd name="T101" fmla="*/ 468 h 3723"/>
                    <a:gd name="T102" fmla="*/ 764 w 2938"/>
                    <a:gd name="T103" fmla="*/ 804 h 3723"/>
                    <a:gd name="T104" fmla="*/ 851 w 2938"/>
                    <a:gd name="T105" fmla="*/ 1191 h 3723"/>
                    <a:gd name="T106" fmla="*/ 1028 w 2938"/>
                    <a:gd name="T107" fmla="*/ 1528 h 3723"/>
                    <a:gd name="T108" fmla="*/ 1291 w 2938"/>
                    <a:gd name="T109" fmla="*/ 1713 h 3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938" h="3723">
                      <a:moveTo>
                        <a:pt x="2676" y="2124"/>
                      </a:moveTo>
                      <a:lnTo>
                        <a:pt x="2673" y="2120"/>
                      </a:lnTo>
                      <a:lnTo>
                        <a:pt x="2663" y="2109"/>
                      </a:lnTo>
                      <a:lnTo>
                        <a:pt x="2647" y="2093"/>
                      </a:lnTo>
                      <a:lnTo>
                        <a:pt x="2626" y="2073"/>
                      </a:lnTo>
                      <a:lnTo>
                        <a:pt x="2611" y="2062"/>
                      </a:lnTo>
                      <a:lnTo>
                        <a:pt x="2596" y="2050"/>
                      </a:lnTo>
                      <a:lnTo>
                        <a:pt x="2579" y="2038"/>
                      </a:lnTo>
                      <a:lnTo>
                        <a:pt x="2559" y="2026"/>
                      </a:lnTo>
                      <a:lnTo>
                        <a:pt x="2538" y="2013"/>
                      </a:lnTo>
                      <a:lnTo>
                        <a:pt x="2515" y="2000"/>
                      </a:lnTo>
                      <a:lnTo>
                        <a:pt x="2490" y="1988"/>
                      </a:lnTo>
                      <a:lnTo>
                        <a:pt x="2462" y="1977"/>
                      </a:lnTo>
                      <a:lnTo>
                        <a:pt x="2462" y="1977"/>
                      </a:lnTo>
                      <a:lnTo>
                        <a:pt x="2455" y="1974"/>
                      </a:lnTo>
                      <a:lnTo>
                        <a:pt x="2455" y="1974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8" y="1971"/>
                      </a:lnTo>
                      <a:lnTo>
                        <a:pt x="2447" y="1971"/>
                      </a:lnTo>
                      <a:lnTo>
                        <a:pt x="2447" y="1971"/>
                      </a:lnTo>
                      <a:lnTo>
                        <a:pt x="2412" y="1960"/>
                      </a:lnTo>
                      <a:lnTo>
                        <a:pt x="2360" y="1936"/>
                      </a:lnTo>
                      <a:lnTo>
                        <a:pt x="2310" y="1915"/>
                      </a:lnTo>
                      <a:lnTo>
                        <a:pt x="2264" y="1897"/>
                      </a:lnTo>
                      <a:lnTo>
                        <a:pt x="2222" y="1881"/>
                      </a:lnTo>
                      <a:lnTo>
                        <a:pt x="2188" y="1869"/>
                      </a:lnTo>
                      <a:lnTo>
                        <a:pt x="2161" y="1860"/>
                      </a:lnTo>
                      <a:lnTo>
                        <a:pt x="2145" y="1855"/>
                      </a:lnTo>
                      <a:lnTo>
                        <a:pt x="2139" y="1853"/>
                      </a:lnTo>
                      <a:lnTo>
                        <a:pt x="2117" y="1845"/>
                      </a:lnTo>
                      <a:lnTo>
                        <a:pt x="2098" y="1837"/>
                      </a:lnTo>
                      <a:lnTo>
                        <a:pt x="2079" y="1828"/>
                      </a:lnTo>
                      <a:lnTo>
                        <a:pt x="2061" y="1821"/>
                      </a:lnTo>
                      <a:lnTo>
                        <a:pt x="2025" y="1803"/>
                      </a:lnTo>
                      <a:lnTo>
                        <a:pt x="1993" y="1785"/>
                      </a:lnTo>
                      <a:lnTo>
                        <a:pt x="1962" y="1765"/>
                      </a:lnTo>
                      <a:lnTo>
                        <a:pt x="1935" y="1747"/>
                      </a:lnTo>
                      <a:lnTo>
                        <a:pt x="1922" y="1737"/>
                      </a:lnTo>
                      <a:lnTo>
                        <a:pt x="1911" y="1728"/>
                      </a:lnTo>
                      <a:lnTo>
                        <a:pt x="1901" y="1717"/>
                      </a:lnTo>
                      <a:lnTo>
                        <a:pt x="1892" y="1708"/>
                      </a:lnTo>
                      <a:lnTo>
                        <a:pt x="1884" y="1699"/>
                      </a:lnTo>
                      <a:lnTo>
                        <a:pt x="1877" y="1689"/>
                      </a:lnTo>
                      <a:lnTo>
                        <a:pt x="1872" y="1680"/>
                      </a:lnTo>
                      <a:lnTo>
                        <a:pt x="1868" y="1671"/>
                      </a:lnTo>
                      <a:lnTo>
                        <a:pt x="1868" y="1672"/>
                      </a:lnTo>
                      <a:lnTo>
                        <a:pt x="1867" y="1670"/>
                      </a:lnTo>
                      <a:lnTo>
                        <a:pt x="1859" y="1685"/>
                      </a:lnTo>
                      <a:lnTo>
                        <a:pt x="1839" y="1709"/>
                      </a:lnTo>
                      <a:lnTo>
                        <a:pt x="1816" y="1733"/>
                      </a:lnTo>
                      <a:lnTo>
                        <a:pt x="1793" y="1755"/>
                      </a:lnTo>
                      <a:lnTo>
                        <a:pt x="1768" y="1775"/>
                      </a:lnTo>
                      <a:lnTo>
                        <a:pt x="1743" y="1796"/>
                      </a:lnTo>
                      <a:lnTo>
                        <a:pt x="1716" y="1813"/>
                      </a:lnTo>
                      <a:lnTo>
                        <a:pt x="1689" y="1830"/>
                      </a:lnTo>
                      <a:lnTo>
                        <a:pt x="1659" y="1846"/>
                      </a:lnTo>
                      <a:lnTo>
                        <a:pt x="1629" y="1859"/>
                      </a:lnTo>
                      <a:lnTo>
                        <a:pt x="1599" y="1871"/>
                      </a:lnTo>
                      <a:lnTo>
                        <a:pt x="1568" y="1881"/>
                      </a:lnTo>
                      <a:lnTo>
                        <a:pt x="1536" y="1889"/>
                      </a:lnTo>
                      <a:lnTo>
                        <a:pt x="1503" y="1897"/>
                      </a:lnTo>
                      <a:lnTo>
                        <a:pt x="1469" y="1901"/>
                      </a:lnTo>
                      <a:lnTo>
                        <a:pt x="1436" y="1904"/>
                      </a:lnTo>
                      <a:lnTo>
                        <a:pt x="1401" y="1905"/>
                      </a:lnTo>
                      <a:lnTo>
                        <a:pt x="1366" y="1904"/>
                      </a:lnTo>
                      <a:lnTo>
                        <a:pt x="1332" y="1901"/>
                      </a:lnTo>
                      <a:lnTo>
                        <a:pt x="1299" y="1897"/>
                      </a:lnTo>
                      <a:lnTo>
                        <a:pt x="1266" y="1889"/>
                      </a:lnTo>
                      <a:lnTo>
                        <a:pt x="1233" y="1881"/>
                      </a:lnTo>
                      <a:lnTo>
                        <a:pt x="1202" y="1871"/>
                      </a:lnTo>
                      <a:lnTo>
                        <a:pt x="1171" y="1859"/>
                      </a:lnTo>
                      <a:lnTo>
                        <a:pt x="1142" y="1846"/>
                      </a:lnTo>
                      <a:lnTo>
                        <a:pt x="1113" y="1830"/>
                      </a:lnTo>
                      <a:lnTo>
                        <a:pt x="1085" y="1813"/>
                      </a:lnTo>
                      <a:lnTo>
                        <a:pt x="1059" y="1796"/>
                      </a:lnTo>
                      <a:lnTo>
                        <a:pt x="1032" y="1775"/>
                      </a:lnTo>
                      <a:lnTo>
                        <a:pt x="1008" y="1755"/>
                      </a:lnTo>
                      <a:lnTo>
                        <a:pt x="984" y="1733"/>
                      </a:lnTo>
                      <a:lnTo>
                        <a:pt x="963" y="1709"/>
                      </a:lnTo>
                      <a:lnTo>
                        <a:pt x="941" y="1685"/>
                      </a:lnTo>
                      <a:lnTo>
                        <a:pt x="934" y="1670"/>
                      </a:lnTo>
                      <a:lnTo>
                        <a:pt x="933" y="1672"/>
                      </a:lnTo>
                      <a:lnTo>
                        <a:pt x="933" y="1671"/>
                      </a:lnTo>
                      <a:lnTo>
                        <a:pt x="929" y="1680"/>
                      </a:lnTo>
                      <a:lnTo>
                        <a:pt x="924" y="1689"/>
                      </a:lnTo>
                      <a:lnTo>
                        <a:pt x="917" y="1699"/>
                      </a:lnTo>
                      <a:lnTo>
                        <a:pt x="909" y="1708"/>
                      </a:lnTo>
                      <a:lnTo>
                        <a:pt x="901" y="1717"/>
                      </a:lnTo>
                      <a:lnTo>
                        <a:pt x="889" y="1728"/>
                      </a:lnTo>
                      <a:lnTo>
                        <a:pt x="878" y="1737"/>
                      </a:lnTo>
                      <a:lnTo>
                        <a:pt x="866" y="1747"/>
                      </a:lnTo>
                      <a:lnTo>
                        <a:pt x="839" y="1765"/>
                      </a:lnTo>
                      <a:lnTo>
                        <a:pt x="809" y="1785"/>
                      </a:lnTo>
                      <a:lnTo>
                        <a:pt x="775" y="1803"/>
                      </a:lnTo>
                      <a:lnTo>
                        <a:pt x="740" y="1821"/>
                      </a:lnTo>
                      <a:lnTo>
                        <a:pt x="723" y="1828"/>
                      </a:lnTo>
                      <a:lnTo>
                        <a:pt x="704" y="1837"/>
                      </a:lnTo>
                      <a:lnTo>
                        <a:pt x="683" y="1845"/>
                      </a:lnTo>
                      <a:lnTo>
                        <a:pt x="663" y="1853"/>
                      </a:lnTo>
                      <a:lnTo>
                        <a:pt x="657" y="1855"/>
                      </a:lnTo>
                      <a:lnTo>
                        <a:pt x="639" y="1860"/>
                      </a:lnTo>
                      <a:lnTo>
                        <a:pt x="613" y="1869"/>
                      </a:lnTo>
                      <a:lnTo>
                        <a:pt x="578" y="1881"/>
                      </a:lnTo>
                      <a:lnTo>
                        <a:pt x="537" y="1897"/>
                      </a:lnTo>
                      <a:lnTo>
                        <a:pt x="491" y="1915"/>
                      </a:lnTo>
                      <a:lnTo>
                        <a:pt x="441" y="1936"/>
                      </a:lnTo>
                      <a:lnTo>
                        <a:pt x="389" y="1960"/>
                      </a:lnTo>
                      <a:lnTo>
                        <a:pt x="376" y="1964"/>
                      </a:lnTo>
                      <a:lnTo>
                        <a:pt x="366" y="1968"/>
                      </a:lnTo>
                      <a:lnTo>
                        <a:pt x="358" y="1970"/>
                      </a:lnTo>
                      <a:lnTo>
                        <a:pt x="355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54" y="1971"/>
                      </a:lnTo>
                      <a:lnTo>
                        <a:pt x="345" y="1974"/>
                      </a:lnTo>
                      <a:lnTo>
                        <a:pt x="345" y="1974"/>
                      </a:lnTo>
                      <a:lnTo>
                        <a:pt x="338" y="1977"/>
                      </a:lnTo>
                      <a:lnTo>
                        <a:pt x="338" y="1977"/>
                      </a:lnTo>
                      <a:lnTo>
                        <a:pt x="312" y="1988"/>
                      </a:lnTo>
                      <a:lnTo>
                        <a:pt x="286" y="2000"/>
                      </a:lnTo>
                      <a:lnTo>
                        <a:pt x="263" y="2013"/>
                      </a:lnTo>
                      <a:lnTo>
                        <a:pt x="242" y="2026"/>
                      </a:lnTo>
                      <a:lnTo>
                        <a:pt x="223" y="2038"/>
                      </a:lnTo>
                      <a:lnTo>
                        <a:pt x="206" y="2050"/>
                      </a:lnTo>
                      <a:lnTo>
                        <a:pt x="190" y="2062"/>
                      </a:lnTo>
                      <a:lnTo>
                        <a:pt x="176" y="2073"/>
                      </a:lnTo>
                      <a:lnTo>
                        <a:pt x="153" y="2093"/>
                      </a:lnTo>
                      <a:lnTo>
                        <a:pt x="138" y="2109"/>
                      </a:lnTo>
                      <a:lnTo>
                        <a:pt x="129" y="2120"/>
                      </a:lnTo>
                      <a:lnTo>
                        <a:pt x="126" y="2124"/>
                      </a:lnTo>
                      <a:lnTo>
                        <a:pt x="108" y="2153"/>
                      </a:lnTo>
                      <a:lnTo>
                        <a:pt x="89" y="2184"/>
                      </a:lnTo>
                      <a:lnTo>
                        <a:pt x="73" y="2216"/>
                      </a:lnTo>
                      <a:lnTo>
                        <a:pt x="57" y="2251"/>
                      </a:lnTo>
                      <a:lnTo>
                        <a:pt x="41" y="2287"/>
                      </a:lnTo>
                      <a:lnTo>
                        <a:pt x="27" y="2323"/>
                      </a:lnTo>
                      <a:lnTo>
                        <a:pt x="13" y="2361"/>
                      </a:lnTo>
                      <a:lnTo>
                        <a:pt x="0" y="2399"/>
                      </a:lnTo>
                      <a:lnTo>
                        <a:pt x="10" y="2412"/>
                      </a:lnTo>
                      <a:lnTo>
                        <a:pt x="18" y="2424"/>
                      </a:lnTo>
                      <a:lnTo>
                        <a:pt x="26" y="2436"/>
                      </a:lnTo>
                      <a:lnTo>
                        <a:pt x="33" y="2449"/>
                      </a:lnTo>
                      <a:lnTo>
                        <a:pt x="58" y="2489"/>
                      </a:lnTo>
                      <a:lnTo>
                        <a:pt x="80" y="2531"/>
                      </a:lnTo>
                      <a:lnTo>
                        <a:pt x="101" y="2574"/>
                      </a:lnTo>
                      <a:lnTo>
                        <a:pt x="122" y="2617"/>
                      </a:lnTo>
                      <a:lnTo>
                        <a:pt x="141" y="2662"/>
                      </a:lnTo>
                      <a:lnTo>
                        <a:pt x="160" y="2709"/>
                      </a:lnTo>
                      <a:lnTo>
                        <a:pt x="176" y="2756"/>
                      </a:lnTo>
                      <a:lnTo>
                        <a:pt x="192" y="2803"/>
                      </a:lnTo>
                      <a:lnTo>
                        <a:pt x="208" y="2851"/>
                      </a:lnTo>
                      <a:lnTo>
                        <a:pt x="222" y="2899"/>
                      </a:lnTo>
                      <a:lnTo>
                        <a:pt x="235" y="2948"/>
                      </a:lnTo>
                      <a:lnTo>
                        <a:pt x="247" y="2997"/>
                      </a:lnTo>
                      <a:lnTo>
                        <a:pt x="259" y="3045"/>
                      </a:lnTo>
                      <a:lnTo>
                        <a:pt x="269" y="3094"/>
                      </a:lnTo>
                      <a:lnTo>
                        <a:pt x="279" y="3142"/>
                      </a:lnTo>
                      <a:lnTo>
                        <a:pt x="288" y="3190"/>
                      </a:lnTo>
                      <a:lnTo>
                        <a:pt x="297" y="3246"/>
                      </a:lnTo>
                      <a:lnTo>
                        <a:pt x="307" y="3300"/>
                      </a:lnTo>
                      <a:lnTo>
                        <a:pt x="315" y="3353"/>
                      </a:lnTo>
                      <a:lnTo>
                        <a:pt x="322" y="3403"/>
                      </a:lnTo>
                      <a:lnTo>
                        <a:pt x="328" y="3453"/>
                      </a:lnTo>
                      <a:lnTo>
                        <a:pt x="333" y="3500"/>
                      </a:lnTo>
                      <a:lnTo>
                        <a:pt x="337" y="3544"/>
                      </a:lnTo>
                      <a:lnTo>
                        <a:pt x="341" y="3586"/>
                      </a:lnTo>
                      <a:lnTo>
                        <a:pt x="417" y="3605"/>
                      </a:lnTo>
                      <a:lnTo>
                        <a:pt x="494" y="3624"/>
                      </a:lnTo>
                      <a:lnTo>
                        <a:pt x="572" y="3641"/>
                      </a:lnTo>
                      <a:lnTo>
                        <a:pt x="651" y="3656"/>
                      </a:lnTo>
                      <a:lnTo>
                        <a:pt x="730" y="3670"/>
                      </a:lnTo>
                      <a:lnTo>
                        <a:pt x="810" y="3682"/>
                      </a:lnTo>
                      <a:lnTo>
                        <a:pt x="890" y="3693"/>
                      </a:lnTo>
                      <a:lnTo>
                        <a:pt x="972" y="3702"/>
                      </a:lnTo>
                      <a:lnTo>
                        <a:pt x="1054" y="3709"/>
                      </a:lnTo>
                      <a:lnTo>
                        <a:pt x="1136" y="3715"/>
                      </a:lnTo>
                      <a:lnTo>
                        <a:pt x="1219" y="3719"/>
                      </a:lnTo>
                      <a:lnTo>
                        <a:pt x="1302" y="3722"/>
                      </a:lnTo>
                      <a:lnTo>
                        <a:pt x="1384" y="3723"/>
                      </a:lnTo>
                      <a:lnTo>
                        <a:pt x="1467" y="3723"/>
                      </a:lnTo>
                      <a:lnTo>
                        <a:pt x="1550" y="3721"/>
                      </a:lnTo>
                      <a:lnTo>
                        <a:pt x="1633" y="3717"/>
                      </a:lnTo>
                      <a:lnTo>
                        <a:pt x="1715" y="3712"/>
                      </a:lnTo>
                      <a:lnTo>
                        <a:pt x="1797" y="3705"/>
                      </a:lnTo>
                      <a:lnTo>
                        <a:pt x="1879" y="3697"/>
                      </a:lnTo>
                      <a:lnTo>
                        <a:pt x="1959" y="3686"/>
                      </a:lnTo>
                      <a:lnTo>
                        <a:pt x="2040" y="3675"/>
                      </a:lnTo>
                      <a:lnTo>
                        <a:pt x="2119" y="3662"/>
                      </a:lnTo>
                      <a:lnTo>
                        <a:pt x="2199" y="3647"/>
                      </a:lnTo>
                      <a:lnTo>
                        <a:pt x="2277" y="3630"/>
                      </a:lnTo>
                      <a:lnTo>
                        <a:pt x="2354" y="3613"/>
                      </a:lnTo>
                      <a:lnTo>
                        <a:pt x="2430" y="3594"/>
                      </a:lnTo>
                      <a:lnTo>
                        <a:pt x="2505" y="3572"/>
                      </a:lnTo>
                      <a:lnTo>
                        <a:pt x="2579" y="3550"/>
                      </a:lnTo>
                      <a:lnTo>
                        <a:pt x="2651" y="3526"/>
                      </a:lnTo>
                      <a:lnTo>
                        <a:pt x="2722" y="3500"/>
                      </a:lnTo>
                      <a:lnTo>
                        <a:pt x="2791" y="3473"/>
                      </a:lnTo>
                      <a:lnTo>
                        <a:pt x="2859" y="3443"/>
                      </a:lnTo>
                      <a:lnTo>
                        <a:pt x="2862" y="3442"/>
                      </a:lnTo>
                      <a:lnTo>
                        <a:pt x="2871" y="3438"/>
                      </a:lnTo>
                      <a:lnTo>
                        <a:pt x="2877" y="3434"/>
                      </a:lnTo>
                      <a:lnTo>
                        <a:pt x="2884" y="3429"/>
                      </a:lnTo>
                      <a:lnTo>
                        <a:pt x="2890" y="3422"/>
                      </a:lnTo>
                      <a:lnTo>
                        <a:pt x="2898" y="3413"/>
                      </a:lnTo>
                      <a:lnTo>
                        <a:pt x="2905" y="3401"/>
                      </a:lnTo>
                      <a:lnTo>
                        <a:pt x="2912" y="3388"/>
                      </a:lnTo>
                      <a:lnTo>
                        <a:pt x="2919" y="3372"/>
                      </a:lnTo>
                      <a:lnTo>
                        <a:pt x="2925" y="3354"/>
                      </a:lnTo>
                      <a:lnTo>
                        <a:pt x="2930" y="3332"/>
                      </a:lnTo>
                      <a:lnTo>
                        <a:pt x="2934" y="3308"/>
                      </a:lnTo>
                      <a:lnTo>
                        <a:pt x="2937" y="3279"/>
                      </a:lnTo>
                      <a:lnTo>
                        <a:pt x="2938" y="3248"/>
                      </a:lnTo>
                      <a:lnTo>
                        <a:pt x="2938" y="3248"/>
                      </a:lnTo>
                      <a:lnTo>
                        <a:pt x="2938" y="3248"/>
                      </a:lnTo>
                      <a:lnTo>
                        <a:pt x="2938" y="3246"/>
                      </a:lnTo>
                      <a:lnTo>
                        <a:pt x="2938" y="3244"/>
                      </a:lnTo>
                      <a:lnTo>
                        <a:pt x="2938" y="3240"/>
                      </a:lnTo>
                      <a:lnTo>
                        <a:pt x="2937" y="3234"/>
                      </a:lnTo>
                      <a:lnTo>
                        <a:pt x="2937" y="3234"/>
                      </a:lnTo>
                      <a:lnTo>
                        <a:pt x="2937" y="3228"/>
                      </a:lnTo>
                      <a:lnTo>
                        <a:pt x="2937" y="3228"/>
                      </a:lnTo>
                      <a:lnTo>
                        <a:pt x="2937" y="3222"/>
                      </a:lnTo>
                      <a:lnTo>
                        <a:pt x="2937" y="3222"/>
                      </a:lnTo>
                      <a:lnTo>
                        <a:pt x="2936" y="3214"/>
                      </a:lnTo>
                      <a:lnTo>
                        <a:pt x="2936" y="3214"/>
                      </a:lnTo>
                      <a:lnTo>
                        <a:pt x="2936" y="3205"/>
                      </a:lnTo>
                      <a:lnTo>
                        <a:pt x="2936" y="3205"/>
                      </a:lnTo>
                      <a:lnTo>
                        <a:pt x="2934" y="3169"/>
                      </a:lnTo>
                      <a:lnTo>
                        <a:pt x="2930" y="3123"/>
                      </a:lnTo>
                      <a:lnTo>
                        <a:pt x="2926" y="3069"/>
                      </a:lnTo>
                      <a:lnTo>
                        <a:pt x="2920" y="3008"/>
                      </a:lnTo>
                      <a:lnTo>
                        <a:pt x="2912" y="2941"/>
                      </a:lnTo>
                      <a:lnTo>
                        <a:pt x="2902" y="2869"/>
                      </a:lnTo>
                      <a:lnTo>
                        <a:pt x="2891" y="2793"/>
                      </a:lnTo>
                      <a:lnTo>
                        <a:pt x="2878" y="2714"/>
                      </a:lnTo>
                      <a:lnTo>
                        <a:pt x="2871" y="2674"/>
                      </a:lnTo>
                      <a:lnTo>
                        <a:pt x="2862" y="2634"/>
                      </a:lnTo>
                      <a:lnTo>
                        <a:pt x="2853" y="2594"/>
                      </a:lnTo>
                      <a:lnTo>
                        <a:pt x="2844" y="2553"/>
                      </a:lnTo>
                      <a:lnTo>
                        <a:pt x="2834" y="2514"/>
                      </a:lnTo>
                      <a:lnTo>
                        <a:pt x="2824" y="2474"/>
                      </a:lnTo>
                      <a:lnTo>
                        <a:pt x="2812" y="2434"/>
                      </a:lnTo>
                      <a:lnTo>
                        <a:pt x="2800" y="2395"/>
                      </a:lnTo>
                      <a:lnTo>
                        <a:pt x="2787" y="2358"/>
                      </a:lnTo>
                      <a:lnTo>
                        <a:pt x="2774" y="2320"/>
                      </a:lnTo>
                      <a:lnTo>
                        <a:pt x="2759" y="2285"/>
                      </a:lnTo>
                      <a:lnTo>
                        <a:pt x="2744" y="2249"/>
                      </a:lnTo>
                      <a:lnTo>
                        <a:pt x="2729" y="2215"/>
                      </a:lnTo>
                      <a:lnTo>
                        <a:pt x="2711" y="2184"/>
                      </a:lnTo>
                      <a:lnTo>
                        <a:pt x="2694" y="2152"/>
                      </a:lnTo>
                      <a:lnTo>
                        <a:pt x="2676" y="2124"/>
                      </a:lnTo>
                      <a:close/>
                      <a:moveTo>
                        <a:pt x="1379" y="1725"/>
                      </a:moveTo>
                      <a:lnTo>
                        <a:pt x="1432" y="1721"/>
                      </a:lnTo>
                      <a:lnTo>
                        <a:pt x="1482" y="1712"/>
                      </a:lnTo>
                      <a:lnTo>
                        <a:pt x="1531" y="1696"/>
                      </a:lnTo>
                      <a:lnTo>
                        <a:pt x="1577" y="1675"/>
                      </a:lnTo>
                      <a:lnTo>
                        <a:pt x="1622" y="1648"/>
                      </a:lnTo>
                      <a:lnTo>
                        <a:pt x="1665" y="1617"/>
                      </a:lnTo>
                      <a:lnTo>
                        <a:pt x="1705" y="1580"/>
                      </a:lnTo>
                      <a:lnTo>
                        <a:pt x="1744" y="1539"/>
                      </a:lnTo>
                      <a:lnTo>
                        <a:pt x="1781" y="1495"/>
                      </a:lnTo>
                      <a:lnTo>
                        <a:pt x="1814" y="1448"/>
                      </a:lnTo>
                      <a:lnTo>
                        <a:pt x="1846" y="1397"/>
                      </a:lnTo>
                      <a:lnTo>
                        <a:pt x="1875" y="1343"/>
                      </a:lnTo>
                      <a:lnTo>
                        <a:pt x="1903" y="1287"/>
                      </a:lnTo>
                      <a:lnTo>
                        <a:pt x="1927" y="1229"/>
                      </a:lnTo>
                      <a:lnTo>
                        <a:pt x="1950" y="1170"/>
                      </a:lnTo>
                      <a:lnTo>
                        <a:pt x="1970" y="1109"/>
                      </a:lnTo>
                      <a:lnTo>
                        <a:pt x="1988" y="1046"/>
                      </a:lnTo>
                      <a:lnTo>
                        <a:pt x="2003" y="984"/>
                      </a:lnTo>
                      <a:lnTo>
                        <a:pt x="2015" y="921"/>
                      </a:lnTo>
                      <a:lnTo>
                        <a:pt x="2025" y="859"/>
                      </a:lnTo>
                      <a:lnTo>
                        <a:pt x="2033" y="797"/>
                      </a:lnTo>
                      <a:lnTo>
                        <a:pt x="2038" y="736"/>
                      </a:lnTo>
                      <a:lnTo>
                        <a:pt x="2040" y="676"/>
                      </a:lnTo>
                      <a:lnTo>
                        <a:pt x="2039" y="618"/>
                      </a:lnTo>
                      <a:lnTo>
                        <a:pt x="2035" y="562"/>
                      </a:lnTo>
                      <a:lnTo>
                        <a:pt x="2029" y="509"/>
                      </a:lnTo>
                      <a:lnTo>
                        <a:pt x="2019" y="458"/>
                      </a:lnTo>
                      <a:lnTo>
                        <a:pt x="2007" y="410"/>
                      </a:lnTo>
                      <a:lnTo>
                        <a:pt x="1992" y="365"/>
                      </a:lnTo>
                      <a:lnTo>
                        <a:pt x="1973" y="325"/>
                      </a:lnTo>
                      <a:lnTo>
                        <a:pt x="1953" y="288"/>
                      </a:lnTo>
                      <a:lnTo>
                        <a:pt x="1929" y="256"/>
                      </a:lnTo>
                      <a:lnTo>
                        <a:pt x="1920" y="246"/>
                      </a:lnTo>
                      <a:lnTo>
                        <a:pt x="1905" y="230"/>
                      </a:lnTo>
                      <a:lnTo>
                        <a:pt x="1894" y="220"/>
                      </a:lnTo>
                      <a:lnTo>
                        <a:pt x="1882" y="209"/>
                      </a:lnTo>
                      <a:lnTo>
                        <a:pt x="1867" y="196"/>
                      </a:lnTo>
                      <a:lnTo>
                        <a:pt x="1851" y="184"/>
                      </a:lnTo>
                      <a:lnTo>
                        <a:pt x="1834" y="171"/>
                      </a:lnTo>
                      <a:lnTo>
                        <a:pt x="1813" y="158"/>
                      </a:lnTo>
                      <a:lnTo>
                        <a:pt x="1791" y="144"/>
                      </a:lnTo>
                      <a:lnTo>
                        <a:pt x="1766" y="131"/>
                      </a:lnTo>
                      <a:lnTo>
                        <a:pt x="1740" y="119"/>
                      </a:lnTo>
                      <a:lnTo>
                        <a:pt x="1711" y="107"/>
                      </a:lnTo>
                      <a:lnTo>
                        <a:pt x="1680" y="95"/>
                      </a:lnTo>
                      <a:lnTo>
                        <a:pt x="1648" y="84"/>
                      </a:lnTo>
                      <a:lnTo>
                        <a:pt x="1560" y="55"/>
                      </a:lnTo>
                      <a:lnTo>
                        <a:pt x="1509" y="40"/>
                      </a:lnTo>
                      <a:lnTo>
                        <a:pt x="1463" y="27"/>
                      </a:lnTo>
                      <a:lnTo>
                        <a:pt x="1423" y="18"/>
                      </a:lnTo>
                      <a:lnTo>
                        <a:pt x="1390" y="11"/>
                      </a:lnTo>
                      <a:lnTo>
                        <a:pt x="1362" y="6"/>
                      </a:lnTo>
                      <a:lnTo>
                        <a:pt x="1342" y="3"/>
                      </a:lnTo>
                      <a:lnTo>
                        <a:pt x="1328" y="1"/>
                      </a:lnTo>
                      <a:lnTo>
                        <a:pt x="1322" y="0"/>
                      </a:lnTo>
                      <a:lnTo>
                        <a:pt x="1313" y="0"/>
                      </a:lnTo>
                      <a:lnTo>
                        <a:pt x="1303" y="2"/>
                      </a:lnTo>
                      <a:lnTo>
                        <a:pt x="1297" y="4"/>
                      </a:lnTo>
                      <a:lnTo>
                        <a:pt x="1289" y="5"/>
                      </a:lnTo>
                      <a:lnTo>
                        <a:pt x="1278" y="6"/>
                      </a:lnTo>
                      <a:lnTo>
                        <a:pt x="1268" y="6"/>
                      </a:lnTo>
                      <a:lnTo>
                        <a:pt x="1254" y="5"/>
                      </a:lnTo>
                      <a:lnTo>
                        <a:pt x="1240" y="6"/>
                      </a:lnTo>
                      <a:lnTo>
                        <a:pt x="1225" y="8"/>
                      </a:lnTo>
                      <a:lnTo>
                        <a:pt x="1211" y="11"/>
                      </a:lnTo>
                      <a:lnTo>
                        <a:pt x="1187" y="17"/>
                      </a:lnTo>
                      <a:lnTo>
                        <a:pt x="1173" y="22"/>
                      </a:lnTo>
                      <a:lnTo>
                        <a:pt x="1157" y="29"/>
                      </a:lnTo>
                      <a:lnTo>
                        <a:pt x="1121" y="46"/>
                      </a:lnTo>
                      <a:lnTo>
                        <a:pt x="1098" y="59"/>
                      </a:lnTo>
                      <a:lnTo>
                        <a:pt x="1072" y="74"/>
                      </a:lnTo>
                      <a:lnTo>
                        <a:pt x="1044" y="92"/>
                      </a:lnTo>
                      <a:lnTo>
                        <a:pt x="1013" y="114"/>
                      </a:lnTo>
                      <a:lnTo>
                        <a:pt x="998" y="125"/>
                      </a:lnTo>
                      <a:lnTo>
                        <a:pt x="982" y="138"/>
                      </a:lnTo>
                      <a:lnTo>
                        <a:pt x="967" y="152"/>
                      </a:lnTo>
                      <a:lnTo>
                        <a:pt x="952" y="166"/>
                      </a:lnTo>
                      <a:lnTo>
                        <a:pt x="935" y="180"/>
                      </a:lnTo>
                      <a:lnTo>
                        <a:pt x="921" y="195"/>
                      </a:lnTo>
                      <a:lnTo>
                        <a:pt x="906" y="212"/>
                      </a:lnTo>
                      <a:lnTo>
                        <a:pt x="891" y="229"/>
                      </a:lnTo>
                      <a:lnTo>
                        <a:pt x="877" y="247"/>
                      </a:lnTo>
                      <a:lnTo>
                        <a:pt x="864" y="266"/>
                      </a:lnTo>
                      <a:lnTo>
                        <a:pt x="851" y="286"/>
                      </a:lnTo>
                      <a:lnTo>
                        <a:pt x="838" y="306"/>
                      </a:lnTo>
                      <a:lnTo>
                        <a:pt x="827" y="328"/>
                      </a:lnTo>
                      <a:lnTo>
                        <a:pt x="817" y="349"/>
                      </a:lnTo>
                      <a:lnTo>
                        <a:pt x="808" y="372"/>
                      </a:lnTo>
                      <a:lnTo>
                        <a:pt x="800" y="396"/>
                      </a:lnTo>
                      <a:lnTo>
                        <a:pt x="786" y="431"/>
                      </a:lnTo>
                      <a:lnTo>
                        <a:pt x="776" y="468"/>
                      </a:lnTo>
                      <a:lnTo>
                        <a:pt x="768" y="509"/>
                      </a:lnTo>
                      <a:lnTo>
                        <a:pt x="762" y="553"/>
                      </a:lnTo>
                      <a:lnTo>
                        <a:pt x="758" y="600"/>
                      </a:lnTo>
                      <a:lnTo>
                        <a:pt x="757" y="648"/>
                      </a:lnTo>
                      <a:lnTo>
                        <a:pt x="757" y="698"/>
                      </a:lnTo>
                      <a:lnTo>
                        <a:pt x="759" y="750"/>
                      </a:lnTo>
                      <a:lnTo>
                        <a:pt x="764" y="804"/>
                      </a:lnTo>
                      <a:lnTo>
                        <a:pt x="770" y="858"/>
                      </a:lnTo>
                      <a:lnTo>
                        <a:pt x="778" y="914"/>
                      </a:lnTo>
                      <a:lnTo>
                        <a:pt x="788" y="969"/>
                      </a:lnTo>
                      <a:lnTo>
                        <a:pt x="802" y="1025"/>
                      </a:lnTo>
                      <a:lnTo>
                        <a:pt x="816" y="1081"/>
                      </a:lnTo>
                      <a:lnTo>
                        <a:pt x="832" y="1136"/>
                      </a:lnTo>
                      <a:lnTo>
                        <a:pt x="851" y="1191"/>
                      </a:lnTo>
                      <a:lnTo>
                        <a:pt x="870" y="1245"/>
                      </a:lnTo>
                      <a:lnTo>
                        <a:pt x="892" y="1297"/>
                      </a:lnTo>
                      <a:lnTo>
                        <a:pt x="916" y="1348"/>
                      </a:lnTo>
                      <a:lnTo>
                        <a:pt x="941" y="1397"/>
                      </a:lnTo>
                      <a:lnTo>
                        <a:pt x="969" y="1443"/>
                      </a:lnTo>
                      <a:lnTo>
                        <a:pt x="998" y="1486"/>
                      </a:lnTo>
                      <a:lnTo>
                        <a:pt x="1028" y="1528"/>
                      </a:lnTo>
                      <a:lnTo>
                        <a:pt x="1061" y="1566"/>
                      </a:lnTo>
                      <a:lnTo>
                        <a:pt x="1096" y="1601"/>
                      </a:lnTo>
                      <a:lnTo>
                        <a:pt x="1131" y="1632"/>
                      </a:lnTo>
                      <a:lnTo>
                        <a:pt x="1168" y="1659"/>
                      </a:lnTo>
                      <a:lnTo>
                        <a:pt x="1208" y="1682"/>
                      </a:lnTo>
                      <a:lnTo>
                        <a:pt x="1249" y="1700"/>
                      </a:lnTo>
                      <a:lnTo>
                        <a:pt x="1291" y="1713"/>
                      </a:lnTo>
                      <a:lnTo>
                        <a:pt x="1334" y="1723"/>
                      </a:lnTo>
                      <a:lnTo>
                        <a:pt x="1379" y="17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47" name="Freeform 42"/>
                <p:cNvSpPr>
                  <a:spLocks noEditPoints="1"/>
                </p:cNvSpPr>
                <p:nvPr/>
              </p:nvSpPr>
              <p:spPr bwMode="auto">
                <a:xfrm>
                  <a:off x="4375" y="1167"/>
                  <a:ext cx="65" cy="83"/>
                </a:xfrm>
                <a:custGeom>
                  <a:avLst/>
                  <a:gdLst>
                    <a:gd name="T0" fmla="*/ 342 w 2939"/>
                    <a:gd name="T1" fmla="*/ 2050 h 3723"/>
                    <a:gd name="T2" fmla="*/ 476 w 2939"/>
                    <a:gd name="T3" fmla="*/ 1977 h 3723"/>
                    <a:gd name="T4" fmla="*/ 490 w 2939"/>
                    <a:gd name="T5" fmla="*/ 1971 h 3723"/>
                    <a:gd name="T6" fmla="*/ 526 w 2939"/>
                    <a:gd name="T7" fmla="*/ 1960 h 3723"/>
                    <a:gd name="T8" fmla="*/ 793 w 2939"/>
                    <a:gd name="T9" fmla="*/ 1855 h 3723"/>
                    <a:gd name="T10" fmla="*/ 945 w 2939"/>
                    <a:gd name="T11" fmla="*/ 1785 h 3723"/>
                    <a:gd name="T12" fmla="*/ 1054 w 2939"/>
                    <a:gd name="T13" fmla="*/ 1699 h 3723"/>
                    <a:gd name="T14" fmla="*/ 1099 w 2939"/>
                    <a:gd name="T15" fmla="*/ 1709 h 3723"/>
                    <a:gd name="T16" fmla="*/ 1279 w 2939"/>
                    <a:gd name="T17" fmla="*/ 1846 h 3723"/>
                    <a:gd name="T18" fmla="*/ 1502 w 2939"/>
                    <a:gd name="T19" fmla="*/ 1904 h 3723"/>
                    <a:gd name="T20" fmla="*/ 1736 w 2939"/>
                    <a:gd name="T21" fmla="*/ 1871 h 3723"/>
                    <a:gd name="T22" fmla="*/ 1930 w 2939"/>
                    <a:gd name="T23" fmla="*/ 1755 h 3723"/>
                    <a:gd name="T24" fmla="*/ 2009 w 2939"/>
                    <a:gd name="T25" fmla="*/ 1680 h 3723"/>
                    <a:gd name="T26" fmla="*/ 2072 w 2939"/>
                    <a:gd name="T27" fmla="*/ 1747 h 3723"/>
                    <a:gd name="T28" fmla="*/ 2255 w 2939"/>
                    <a:gd name="T29" fmla="*/ 1845 h 3723"/>
                    <a:gd name="T30" fmla="*/ 2447 w 2939"/>
                    <a:gd name="T31" fmla="*/ 1915 h 3723"/>
                    <a:gd name="T32" fmla="*/ 2584 w 2939"/>
                    <a:gd name="T33" fmla="*/ 1971 h 3723"/>
                    <a:gd name="T34" fmla="*/ 2584 w 2939"/>
                    <a:gd name="T35" fmla="*/ 1971 h 3723"/>
                    <a:gd name="T36" fmla="*/ 2626 w 2939"/>
                    <a:gd name="T37" fmla="*/ 1988 h 3723"/>
                    <a:gd name="T38" fmla="*/ 2762 w 2939"/>
                    <a:gd name="T39" fmla="*/ 2073 h 3723"/>
                    <a:gd name="T40" fmla="*/ 2866 w 2939"/>
                    <a:gd name="T41" fmla="*/ 2217 h 3723"/>
                    <a:gd name="T42" fmla="*/ 2912 w 2939"/>
                    <a:gd name="T43" fmla="*/ 2439 h 3723"/>
                    <a:gd name="T44" fmla="*/ 2789 w 2939"/>
                    <a:gd name="T45" fmla="*/ 2686 h 3723"/>
                    <a:gd name="T46" fmla="*/ 2681 w 2939"/>
                    <a:gd name="T47" fmla="*/ 3038 h 3723"/>
                    <a:gd name="T48" fmla="*/ 2617 w 2939"/>
                    <a:gd name="T49" fmla="*/ 3403 h 3723"/>
                    <a:gd name="T50" fmla="*/ 2367 w 2939"/>
                    <a:gd name="T51" fmla="*/ 3641 h 3723"/>
                    <a:gd name="T52" fmla="*/ 1803 w 2939"/>
                    <a:gd name="T53" fmla="*/ 3715 h 3723"/>
                    <a:gd name="T54" fmla="*/ 1224 w 2939"/>
                    <a:gd name="T55" fmla="*/ 3712 h 3723"/>
                    <a:gd name="T56" fmla="*/ 661 w 2939"/>
                    <a:gd name="T57" fmla="*/ 3630 h 3723"/>
                    <a:gd name="T58" fmla="*/ 147 w 2939"/>
                    <a:gd name="T59" fmla="*/ 3473 h 3723"/>
                    <a:gd name="T60" fmla="*/ 40 w 2939"/>
                    <a:gd name="T61" fmla="*/ 3413 h 3723"/>
                    <a:gd name="T62" fmla="*/ 1 w 2939"/>
                    <a:gd name="T63" fmla="*/ 3279 h 3723"/>
                    <a:gd name="T64" fmla="*/ 1 w 2939"/>
                    <a:gd name="T65" fmla="*/ 3234 h 3723"/>
                    <a:gd name="T66" fmla="*/ 2 w 2939"/>
                    <a:gd name="T67" fmla="*/ 3214 h 3723"/>
                    <a:gd name="T68" fmla="*/ 26 w 2939"/>
                    <a:gd name="T69" fmla="*/ 2941 h 3723"/>
                    <a:gd name="T70" fmla="*/ 94 w 2939"/>
                    <a:gd name="T71" fmla="*/ 2553 h 3723"/>
                    <a:gd name="T72" fmla="*/ 179 w 2939"/>
                    <a:gd name="T73" fmla="*/ 2285 h 3723"/>
                    <a:gd name="T74" fmla="*/ 1506 w 2939"/>
                    <a:gd name="T75" fmla="*/ 1721 h 3723"/>
                    <a:gd name="T76" fmla="*/ 1194 w 2939"/>
                    <a:gd name="T77" fmla="*/ 1539 h 3723"/>
                    <a:gd name="T78" fmla="*/ 988 w 2939"/>
                    <a:gd name="T79" fmla="*/ 1170 h 3723"/>
                    <a:gd name="T80" fmla="*/ 900 w 2939"/>
                    <a:gd name="T81" fmla="*/ 736 h 3723"/>
                    <a:gd name="T82" fmla="*/ 946 w 2939"/>
                    <a:gd name="T83" fmla="*/ 365 h 3723"/>
                    <a:gd name="T84" fmla="*/ 1056 w 2939"/>
                    <a:gd name="T85" fmla="*/ 209 h 3723"/>
                    <a:gd name="T86" fmla="*/ 1198 w 2939"/>
                    <a:gd name="T87" fmla="*/ 119 h 3723"/>
                    <a:gd name="T88" fmla="*/ 1515 w 2939"/>
                    <a:gd name="T89" fmla="*/ 18 h 3723"/>
                    <a:gd name="T90" fmla="*/ 1635 w 2939"/>
                    <a:gd name="T91" fmla="*/ 2 h 3723"/>
                    <a:gd name="T92" fmla="*/ 1713 w 2939"/>
                    <a:gd name="T93" fmla="*/ 8 h 3723"/>
                    <a:gd name="T94" fmla="*/ 1866 w 2939"/>
                    <a:gd name="T95" fmla="*/ 74 h 3723"/>
                    <a:gd name="T96" fmla="*/ 2003 w 2939"/>
                    <a:gd name="T97" fmla="*/ 180 h 3723"/>
                    <a:gd name="T98" fmla="*/ 2100 w 2939"/>
                    <a:gd name="T99" fmla="*/ 306 h 3723"/>
                    <a:gd name="T100" fmla="*/ 2170 w 2939"/>
                    <a:gd name="T101" fmla="*/ 509 h 3723"/>
                    <a:gd name="T102" fmla="*/ 2168 w 2939"/>
                    <a:gd name="T103" fmla="*/ 858 h 3723"/>
                    <a:gd name="T104" fmla="*/ 2068 w 2939"/>
                    <a:gd name="T105" fmla="*/ 1245 h 3723"/>
                    <a:gd name="T106" fmla="*/ 1877 w 2939"/>
                    <a:gd name="T107" fmla="*/ 1566 h 3723"/>
                    <a:gd name="T108" fmla="*/ 1604 w 2939"/>
                    <a:gd name="T109" fmla="*/ 1723 h 3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2939" h="3723">
                      <a:moveTo>
                        <a:pt x="262" y="2124"/>
                      </a:moveTo>
                      <a:lnTo>
                        <a:pt x="265" y="2120"/>
                      </a:lnTo>
                      <a:lnTo>
                        <a:pt x="275" y="2109"/>
                      </a:lnTo>
                      <a:lnTo>
                        <a:pt x="291" y="2093"/>
                      </a:lnTo>
                      <a:lnTo>
                        <a:pt x="312" y="2073"/>
                      </a:lnTo>
                      <a:lnTo>
                        <a:pt x="327" y="2062"/>
                      </a:lnTo>
                      <a:lnTo>
                        <a:pt x="342" y="2050"/>
                      </a:lnTo>
                      <a:lnTo>
                        <a:pt x="359" y="2038"/>
                      </a:lnTo>
                      <a:lnTo>
                        <a:pt x="379" y="2026"/>
                      </a:lnTo>
                      <a:lnTo>
                        <a:pt x="400" y="2013"/>
                      </a:lnTo>
                      <a:lnTo>
                        <a:pt x="423" y="2000"/>
                      </a:lnTo>
                      <a:lnTo>
                        <a:pt x="448" y="1988"/>
                      </a:lnTo>
                      <a:lnTo>
                        <a:pt x="476" y="1977"/>
                      </a:lnTo>
                      <a:lnTo>
                        <a:pt x="476" y="1977"/>
                      </a:lnTo>
                      <a:lnTo>
                        <a:pt x="483" y="1974"/>
                      </a:lnTo>
                      <a:lnTo>
                        <a:pt x="483" y="1974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1" y="1971"/>
                      </a:lnTo>
                      <a:lnTo>
                        <a:pt x="491" y="1971"/>
                      </a:lnTo>
                      <a:lnTo>
                        <a:pt x="526" y="1960"/>
                      </a:lnTo>
                      <a:lnTo>
                        <a:pt x="578" y="1936"/>
                      </a:lnTo>
                      <a:lnTo>
                        <a:pt x="628" y="1915"/>
                      </a:lnTo>
                      <a:lnTo>
                        <a:pt x="674" y="1897"/>
                      </a:lnTo>
                      <a:lnTo>
                        <a:pt x="716" y="1881"/>
                      </a:lnTo>
                      <a:lnTo>
                        <a:pt x="750" y="1869"/>
                      </a:lnTo>
                      <a:lnTo>
                        <a:pt x="777" y="1860"/>
                      </a:lnTo>
                      <a:lnTo>
                        <a:pt x="793" y="1855"/>
                      </a:lnTo>
                      <a:lnTo>
                        <a:pt x="799" y="1853"/>
                      </a:lnTo>
                      <a:lnTo>
                        <a:pt x="821" y="1845"/>
                      </a:lnTo>
                      <a:lnTo>
                        <a:pt x="840" y="1837"/>
                      </a:lnTo>
                      <a:lnTo>
                        <a:pt x="859" y="1828"/>
                      </a:lnTo>
                      <a:lnTo>
                        <a:pt x="877" y="1821"/>
                      </a:lnTo>
                      <a:lnTo>
                        <a:pt x="913" y="1803"/>
                      </a:lnTo>
                      <a:lnTo>
                        <a:pt x="945" y="1785"/>
                      </a:lnTo>
                      <a:lnTo>
                        <a:pt x="976" y="1765"/>
                      </a:lnTo>
                      <a:lnTo>
                        <a:pt x="1003" y="1747"/>
                      </a:lnTo>
                      <a:lnTo>
                        <a:pt x="1016" y="1737"/>
                      </a:lnTo>
                      <a:lnTo>
                        <a:pt x="1027" y="1728"/>
                      </a:lnTo>
                      <a:lnTo>
                        <a:pt x="1037" y="1717"/>
                      </a:lnTo>
                      <a:lnTo>
                        <a:pt x="1046" y="1708"/>
                      </a:lnTo>
                      <a:lnTo>
                        <a:pt x="1054" y="1699"/>
                      </a:lnTo>
                      <a:lnTo>
                        <a:pt x="1061" y="1689"/>
                      </a:lnTo>
                      <a:lnTo>
                        <a:pt x="1066" y="1680"/>
                      </a:lnTo>
                      <a:lnTo>
                        <a:pt x="1070" y="1671"/>
                      </a:lnTo>
                      <a:lnTo>
                        <a:pt x="1070" y="1672"/>
                      </a:lnTo>
                      <a:lnTo>
                        <a:pt x="1071" y="1670"/>
                      </a:lnTo>
                      <a:lnTo>
                        <a:pt x="1079" y="1685"/>
                      </a:lnTo>
                      <a:lnTo>
                        <a:pt x="1099" y="1709"/>
                      </a:lnTo>
                      <a:lnTo>
                        <a:pt x="1122" y="1733"/>
                      </a:lnTo>
                      <a:lnTo>
                        <a:pt x="1145" y="1755"/>
                      </a:lnTo>
                      <a:lnTo>
                        <a:pt x="1170" y="1775"/>
                      </a:lnTo>
                      <a:lnTo>
                        <a:pt x="1195" y="1796"/>
                      </a:lnTo>
                      <a:lnTo>
                        <a:pt x="1222" y="1813"/>
                      </a:lnTo>
                      <a:lnTo>
                        <a:pt x="1249" y="1830"/>
                      </a:lnTo>
                      <a:lnTo>
                        <a:pt x="1279" y="1846"/>
                      </a:lnTo>
                      <a:lnTo>
                        <a:pt x="1309" y="1859"/>
                      </a:lnTo>
                      <a:lnTo>
                        <a:pt x="1339" y="1871"/>
                      </a:lnTo>
                      <a:lnTo>
                        <a:pt x="1370" y="1881"/>
                      </a:lnTo>
                      <a:lnTo>
                        <a:pt x="1402" y="1889"/>
                      </a:lnTo>
                      <a:lnTo>
                        <a:pt x="1435" y="1897"/>
                      </a:lnTo>
                      <a:lnTo>
                        <a:pt x="1469" y="1901"/>
                      </a:lnTo>
                      <a:lnTo>
                        <a:pt x="1502" y="1904"/>
                      </a:lnTo>
                      <a:lnTo>
                        <a:pt x="1537" y="1905"/>
                      </a:lnTo>
                      <a:lnTo>
                        <a:pt x="1572" y="1904"/>
                      </a:lnTo>
                      <a:lnTo>
                        <a:pt x="1606" y="1901"/>
                      </a:lnTo>
                      <a:lnTo>
                        <a:pt x="1639" y="1897"/>
                      </a:lnTo>
                      <a:lnTo>
                        <a:pt x="1672" y="1889"/>
                      </a:lnTo>
                      <a:lnTo>
                        <a:pt x="1705" y="1881"/>
                      </a:lnTo>
                      <a:lnTo>
                        <a:pt x="1736" y="1871"/>
                      </a:lnTo>
                      <a:lnTo>
                        <a:pt x="1767" y="1859"/>
                      </a:lnTo>
                      <a:lnTo>
                        <a:pt x="1796" y="1846"/>
                      </a:lnTo>
                      <a:lnTo>
                        <a:pt x="1825" y="1830"/>
                      </a:lnTo>
                      <a:lnTo>
                        <a:pt x="1853" y="1813"/>
                      </a:lnTo>
                      <a:lnTo>
                        <a:pt x="1879" y="1796"/>
                      </a:lnTo>
                      <a:lnTo>
                        <a:pt x="1906" y="1775"/>
                      </a:lnTo>
                      <a:lnTo>
                        <a:pt x="1930" y="1755"/>
                      </a:lnTo>
                      <a:lnTo>
                        <a:pt x="1954" y="1733"/>
                      </a:lnTo>
                      <a:lnTo>
                        <a:pt x="1975" y="1709"/>
                      </a:lnTo>
                      <a:lnTo>
                        <a:pt x="1997" y="1685"/>
                      </a:lnTo>
                      <a:lnTo>
                        <a:pt x="2004" y="1670"/>
                      </a:lnTo>
                      <a:lnTo>
                        <a:pt x="2005" y="1672"/>
                      </a:lnTo>
                      <a:lnTo>
                        <a:pt x="2005" y="1671"/>
                      </a:lnTo>
                      <a:lnTo>
                        <a:pt x="2009" y="1680"/>
                      </a:lnTo>
                      <a:lnTo>
                        <a:pt x="2014" y="1689"/>
                      </a:lnTo>
                      <a:lnTo>
                        <a:pt x="2021" y="1699"/>
                      </a:lnTo>
                      <a:lnTo>
                        <a:pt x="2029" y="1708"/>
                      </a:lnTo>
                      <a:lnTo>
                        <a:pt x="2037" y="1717"/>
                      </a:lnTo>
                      <a:lnTo>
                        <a:pt x="2049" y="1728"/>
                      </a:lnTo>
                      <a:lnTo>
                        <a:pt x="2060" y="1737"/>
                      </a:lnTo>
                      <a:lnTo>
                        <a:pt x="2072" y="1747"/>
                      </a:lnTo>
                      <a:lnTo>
                        <a:pt x="2099" y="1765"/>
                      </a:lnTo>
                      <a:lnTo>
                        <a:pt x="2129" y="1785"/>
                      </a:lnTo>
                      <a:lnTo>
                        <a:pt x="2163" y="1803"/>
                      </a:lnTo>
                      <a:lnTo>
                        <a:pt x="2198" y="1821"/>
                      </a:lnTo>
                      <a:lnTo>
                        <a:pt x="2215" y="1828"/>
                      </a:lnTo>
                      <a:lnTo>
                        <a:pt x="2234" y="1837"/>
                      </a:lnTo>
                      <a:lnTo>
                        <a:pt x="2255" y="1845"/>
                      </a:lnTo>
                      <a:lnTo>
                        <a:pt x="2275" y="1853"/>
                      </a:lnTo>
                      <a:lnTo>
                        <a:pt x="2281" y="1855"/>
                      </a:lnTo>
                      <a:lnTo>
                        <a:pt x="2299" y="1860"/>
                      </a:lnTo>
                      <a:lnTo>
                        <a:pt x="2325" y="1869"/>
                      </a:lnTo>
                      <a:lnTo>
                        <a:pt x="2360" y="1881"/>
                      </a:lnTo>
                      <a:lnTo>
                        <a:pt x="2401" y="1897"/>
                      </a:lnTo>
                      <a:lnTo>
                        <a:pt x="2447" y="1915"/>
                      </a:lnTo>
                      <a:lnTo>
                        <a:pt x="2497" y="1936"/>
                      </a:lnTo>
                      <a:lnTo>
                        <a:pt x="2549" y="1960"/>
                      </a:lnTo>
                      <a:lnTo>
                        <a:pt x="2562" y="1964"/>
                      </a:lnTo>
                      <a:lnTo>
                        <a:pt x="2572" y="1968"/>
                      </a:lnTo>
                      <a:lnTo>
                        <a:pt x="2580" y="1970"/>
                      </a:lnTo>
                      <a:lnTo>
                        <a:pt x="2583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93" y="1974"/>
                      </a:lnTo>
                      <a:lnTo>
                        <a:pt x="2593" y="1974"/>
                      </a:lnTo>
                      <a:lnTo>
                        <a:pt x="2600" y="1977"/>
                      </a:lnTo>
                      <a:lnTo>
                        <a:pt x="2600" y="1977"/>
                      </a:lnTo>
                      <a:lnTo>
                        <a:pt x="2626" y="1988"/>
                      </a:lnTo>
                      <a:lnTo>
                        <a:pt x="2652" y="2000"/>
                      </a:lnTo>
                      <a:lnTo>
                        <a:pt x="2675" y="2013"/>
                      </a:lnTo>
                      <a:lnTo>
                        <a:pt x="2696" y="2026"/>
                      </a:lnTo>
                      <a:lnTo>
                        <a:pt x="2715" y="2038"/>
                      </a:lnTo>
                      <a:lnTo>
                        <a:pt x="2732" y="2050"/>
                      </a:lnTo>
                      <a:lnTo>
                        <a:pt x="2748" y="2062"/>
                      </a:lnTo>
                      <a:lnTo>
                        <a:pt x="2762" y="2073"/>
                      </a:lnTo>
                      <a:lnTo>
                        <a:pt x="2785" y="2093"/>
                      </a:lnTo>
                      <a:lnTo>
                        <a:pt x="2800" y="2109"/>
                      </a:lnTo>
                      <a:lnTo>
                        <a:pt x="2809" y="2120"/>
                      </a:lnTo>
                      <a:lnTo>
                        <a:pt x="2812" y="2124"/>
                      </a:lnTo>
                      <a:lnTo>
                        <a:pt x="2830" y="2153"/>
                      </a:lnTo>
                      <a:lnTo>
                        <a:pt x="2849" y="2185"/>
                      </a:lnTo>
                      <a:lnTo>
                        <a:pt x="2866" y="2217"/>
                      </a:lnTo>
                      <a:lnTo>
                        <a:pt x="2882" y="2251"/>
                      </a:lnTo>
                      <a:lnTo>
                        <a:pt x="2898" y="2287"/>
                      </a:lnTo>
                      <a:lnTo>
                        <a:pt x="2912" y="2324"/>
                      </a:lnTo>
                      <a:lnTo>
                        <a:pt x="2925" y="2362"/>
                      </a:lnTo>
                      <a:lnTo>
                        <a:pt x="2939" y="2401"/>
                      </a:lnTo>
                      <a:lnTo>
                        <a:pt x="2925" y="2419"/>
                      </a:lnTo>
                      <a:lnTo>
                        <a:pt x="2912" y="2439"/>
                      </a:lnTo>
                      <a:lnTo>
                        <a:pt x="2899" y="2460"/>
                      </a:lnTo>
                      <a:lnTo>
                        <a:pt x="2887" y="2481"/>
                      </a:lnTo>
                      <a:lnTo>
                        <a:pt x="2874" y="2502"/>
                      </a:lnTo>
                      <a:lnTo>
                        <a:pt x="2851" y="2546"/>
                      </a:lnTo>
                      <a:lnTo>
                        <a:pt x="2828" y="2591"/>
                      </a:lnTo>
                      <a:lnTo>
                        <a:pt x="2808" y="2638"/>
                      </a:lnTo>
                      <a:lnTo>
                        <a:pt x="2789" y="2686"/>
                      </a:lnTo>
                      <a:lnTo>
                        <a:pt x="2770" y="2735"/>
                      </a:lnTo>
                      <a:lnTo>
                        <a:pt x="2753" y="2784"/>
                      </a:lnTo>
                      <a:lnTo>
                        <a:pt x="2737" y="2834"/>
                      </a:lnTo>
                      <a:lnTo>
                        <a:pt x="2721" y="2885"/>
                      </a:lnTo>
                      <a:lnTo>
                        <a:pt x="2707" y="2936"/>
                      </a:lnTo>
                      <a:lnTo>
                        <a:pt x="2694" y="2987"/>
                      </a:lnTo>
                      <a:lnTo>
                        <a:pt x="2681" y="3038"/>
                      </a:lnTo>
                      <a:lnTo>
                        <a:pt x="2670" y="3089"/>
                      </a:lnTo>
                      <a:lnTo>
                        <a:pt x="2660" y="3140"/>
                      </a:lnTo>
                      <a:lnTo>
                        <a:pt x="2651" y="3190"/>
                      </a:lnTo>
                      <a:lnTo>
                        <a:pt x="2641" y="3246"/>
                      </a:lnTo>
                      <a:lnTo>
                        <a:pt x="2632" y="3300"/>
                      </a:lnTo>
                      <a:lnTo>
                        <a:pt x="2624" y="3353"/>
                      </a:lnTo>
                      <a:lnTo>
                        <a:pt x="2617" y="3403"/>
                      </a:lnTo>
                      <a:lnTo>
                        <a:pt x="2611" y="3452"/>
                      </a:lnTo>
                      <a:lnTo>
                        <a:pt x="2606" y="3499"/>
                      </a:lnTo>
                      <a:lnTo>
                        <a:pt x="2601" y="3544"/>
                      </a:lnTo>
                      <a:lnTo>
                        <a:pt x="2597" y="3585"/>
                      </a:lnTo>
                      <a:lnTo>
                        <a:pt x="2521" y="3605"/>
                      </a:lnTo>
                      <a:lnTo>
                        <a:pt x="2445" y="3623"/>
                      </a:lnTo>
                      <a:lnTo>
                        <a:pt x="2367" y="3641"/>
                      </a:lnTo>
                      <a:lnTo>
                        <a:pt x="2288" y="3656"/>
                      </a:lnTo>
                      <a:lnTo>
                        <a:pt x="2209" y="3670"/>
                      </a:lnTo>
                      <a:lnTo>
                        <a:pt x="2128" y="3682"/>
                      </a:lnTo>
                      <a:lnTo>
                        <a:pt x="2048" y="3693"/>
                      </a:lnTo>
                      <a:lnTo>
                        <a:pt x="1966" y="3702"/>
                      </a:lnTo>
                      <a:lnTo>
                        <a:pt x="1884" y="3709"/>
                      </a:lnTo>
                      <a:lnTo>
                        <a:pt x="1803" y="3715"/>
                      </a:lnTo>
                      <a:lnTo>
                        <a:pt x="1720" y="3719"/>
                      </a:lnTo>
                      <a:lnTo>
                        <a:pt x="1637" y="3722"/>
                      </a:lnTo>
                      <a:lnTo>
                        <a:pt x="1555" y="3723"/>
                      </a:lnTo>
                      <a:lnTo>
                        <a:pt x="1471" y="3723"/>
                      </a:lnTo>
                      <a:lnTo>
                        <a:pt x="1388" y="3721"/>
                      </a:lnTo>
                      <a:lnTo>
                        <a:pt x="1305" y="3717"/>
                      </a:lnTo>
                      <a:lnTo>
                        <a:pt x="1224" y="3712"/>
                      </a:lnTo>
                      <a:lnTo>
                        <a:pt x="1141" y="3705"/>
                      </a:lnTo>
                      <a:lnTo>
                        <a:pt x="1059" y="3697"/>
                      </a:lnTo>
                      <a:lnTo>
                        <a:pt x="979" y="3686"/>
                      </a:lnTo>
                      <a:lnTo>
                        <a:pt x="898" y="3675"/>
                      </a:lnTo>
                      <a:lnTo>
                        <a:pt x="819" y="3662"/>
                      </a:lnTo>
                      <a:lnTo>
                        <a:pt x="740" y="3647"/>
                      </a:lnTo>
                      <a:lnTo>
                        <a:pt x="661" y="3630"/>
                      </a:lnTo>
                      <a:lnTo>
                        <a:pt x="584" y="3613"/>
                      </a:lnTo>
                      <a:lnTo>
                        <a:pt x="508" y="3594"/>
                      </a:lnTo>
                      <a:lnTo>
                        <a:pt x="433" y="3572"/>
                      </a:lnTo>
                      <a:lnTo>
                        <a:pt x="359" y="3550"/>
                      </a:lnTo>
                      <a:lnTo>
                        <a:pt x="287" y="3526"/>
                      </a:lnTo>
                      <a:lnTo>
                        <a:pt x="216" y="3500"/>
                      </a:lnTo>
                      <a:lnTo>
                        <a:pt x="147" y="3473"/>
                      </a:lnTo>
                      <a:lnTo>
                        <a:pt x="79" y="3443"/>
                      </a:lnTo>
                      <a:lnTo>
                        <a:pt x="76" y="3442"/>
                      </a:lnTo>
                      <a:lnTo>
                        <a:pt x="67" y="3438"/>
                      </a:lnTo>
                      <a:lnTo>
                        <a:pt x="61" y="3434"/>
                      </a:lnTo>
                      <a:lnTo>
                        <a:pt x="54" y="3429"/>
                      </a:lnTo>
                      <a:lnTo>
                        <a:pt x="48" y="3422"/>
                      </a:lnTo>
                      <a:lnTo>
                        <a:pt x="40" y="3413"/>
                      </a:lnTo>
                      <a:lnTo>
                        <a:pt x="33" y="3401"/>
                      </a:lnTo>
                      <a:lnTo>
                        <a:pt x="26" y="3388"/>
                      </a:lnTo>
                      <a:lnTo>
                        <a:pt x="19" y="3372"/>
                      </a:lnTo>
                      <a:lnTo>
                        <a:pt x="13" y="3354"/>
                      </a:lnTo>
                      <a:lnTo>
                        <a:pt x="8" y="3332"/>
                      </a:lnTo>
                      <a:lnTo>
                        <a:pt x="4" y="3308"/>
                      </a:lnTo>
                      <a:lnTo>
                        <a:pt x="1" y="3279"/>
                      </a:lnTo>
                      <a:lnTo>
                        <a:pt x="0" y="3248"/>
                      </a:lnTo>
                      <a:lnTo>
                        <a:pt x="0" y="3248"/>
                      </a:lnTo>
                      <a:lnTo>
                        <a:pt x="0" y="3248"/>
                      </a:lnTo>
                      <a:lnTo>
                        <a:pt x="0" y="3246"/>
                      </a:lnTo>
                      <a:lnTo>
                        <a:pt x="0" y="3244"/>
                      </a:lnTo>
                      <a:lnTo>
                        <a:pt x="0" y="3240"/>
                      </a:lnTo>
                      <a:lnTo>
                        <a:pt x="1" y="3234"/>
                      </a:lnTo>
                      <a:lnTo>
                        <a:pt x="1" y="3234"/>
                      </a:lnTo>
                      <a:lnTo>
                        <a:pt x="1" y="3228"/>
                      </a:lnTo>
                      <a:lnTo>
                        <a:pt x="1" y="3228"/>
                      </a:lnTo>
                      <a:lnTo>
                        <a:pt x="1" y="3222"/>
                      </a:lnTo>
                      <a:lnTo>
                        <a:pt x="1" y="3222"/>
                      </a:lnTo>
                      <a:lnTo>
                        <a:pt x="2" y="3214"/>
                      </a:lnTo>
                      <a:lnTo>
                        <a:pt x="2" y="3214"/>
                      </a:lnTo>
                      <a:lnTo>
                        <a:pt x="2" y="3205"/>
                      </a:lnTo>
                      <a:lnTo>
                        <a:pt x="2" y="3205"/>
                      </a:lnTo>
                      <a:lnTo>
                        <a:pt x="4" y="3169"/>
                      </a:lnTo>
                      <a:lnTo>
                        <a:pt x="8" y="3123"/>
                      </a:lnTo>
                      <a:lnTo>
                        <a:pt x="12" y="3069"/>
                      </a:lnTo>
                      <a:lnTo>
                        <a:pt x="18" y="3008"/>
                      </a:lnTo>
                      <a:lnTo>
                        <a:pt x="26" y="2941"/>
                      </a:lnTo>
                      <a:lnTo>
                        <a:pt x="36" y="2869"/>
                      </a:lnTo>
                      <a:lnTo>
                        <a:pt x="47" y="2793"/>
                      </a:lnTo>
                      <a:lnTo>
                        <a:pt x="60" y="2714"/>
                      </a:lnTo>
                      <a:lnTo>
                        <a:pt x="67" y="2674"/>
                      </a:lnTo>
                      <a:lnTo>
                        <a:pt x="76" y="2634"/>
                      </a:lnTo>
                      <a:lnTo>
                        <a:pt x="85" y="2594"/>
                      </a:lnTo>
                      <a:lnTo>
                        <a:pt x="94" y="2553"/>
                      </a:lnTo>
                      <a:lnTo>
                        <a:pt x="104" y="2514"/>
                      </a:lnTo>
                      <a:lnTo>
                        <a:pt x="114" y="2474"/>
                      </a:lnTo>
                      <a:lnTo>
                        <a:pt x="126" y="2434"/>
                      </a:lnTo>
                      <a:lnTo>
                        <a:pt x="138" y="2395"/>
                      </a:lnTo>
                      <a:lnTo>
                        <a:pt x="151" y="2358"/>
                      </a:lnTo>
                      <a:lnTo>
                        <a:pt x="164" y="2320"/>
                      </a:lnTo>
                      <a:lnTo>
                        <a:pt x="179" y="2285"/>
                      </a:lnTo>
                      <a:lnTo>
                        <a:pt x="194" y="2249"/>
                      </a:lnTo>
                      <a:lnTo>
                        <a:pt x="209" y="2215"/>
                      </a:lnTo>
                      <a:lnTo>
                        <a:pt x="227" y="2184"/>
                      </a:lnTo>
                      <a:lnTo>
                        <a:pt x="244" y="2152"/>
                      </a:lnTo>
                      <a:lnTo>
                        <a:pt x="262" y="2124"/>
                      </a:lnTo>
                      <a:close/>
                      <a:moveTo>
                        <a:pt x="1559" y="1725"/>
                      </a:moveTo>
                      <a:lnTo>
                        <a:pt x="1506" y="1721"/>
                      </a:lnTo>
                      <a:lnTo>
                        <a:pt x="1456" y="1712"/>
                      </a:lnTo>
                      <a:lnTo>
                        <a:pt x="1407" y="1696"/>
                      </a:lnTo>
                      <a:lnTo>
                        <a:pt x="1361" y="1675"/>
                      </a:lnTo>
                      <a:lnTo>
                        <a:pt x="1316" y="1648"/>
                      </a:lnTo>
                      <a:lnTo>
                        <a:pt x="1273" y="1617"/>
                      </a:lnTo>
                      <a:lnTo>
                        <a:pt x="1233" y="1580"/>
                      </a:lnTo>
                      <a:lnTo>
                        <a:pt x="1194" y="1539"/>
                      </a:lnTo>
                      <a:lnTo>
                        <a:pt x="1157" y="1495"/>
                      </a:lnTo>
                      <a:lnTo>
                        <a:pt x="1124" y="1448"/>
                      </a:lnTo>
                      <a:lnTo>
                        <a:pt x="1092" y="1397"/>
                      </a:lnTo>
                      <a:lnTo>
                        <a:pt x="1063" y="1343"/>
                      </a:lnTo>
                      <a:lnTo>
                        <a:pt x="1035" y="1287"/>
                      </a:lnTo>
                      <a:lnTo>
                        <a:pt x="1011" y="1229"/>
                      </a:lnTo>
                      <a:lnTo>
                        <a:pt x="988" y="1170"/>
                      </a:lnTo>
                      <a:lnTo>
                        <a:pt x="968" y="1109"/>
                      </a:lnTo>
                      <a:lnTo>
                        <a:pt x="950" y="1046"/>
                      </a:lnTo>
                      <a:lnTo>
                        <a:pt x="935" y="984"/>
                      </a:lnTo>
                      <a:lnTo>
                        <a:pt x="923" y="921"/>
                      </a:lnTo>
                      <a:lnTo>
                        <a:pt x="913" y="859"/>
                      </a:lnTo>
                      <a:lnTo>
                        <a:pt x="905" y="797"/>
                      </a:lnTo>
                      <a:lnTo>
                        <a:pt x="900" y="736"/>
                      </a:lnTo>
                      <a:lnTo>
                        <a:pt x="898" y="676"/>
                      </a:lnTo>
                      <a:lnTo>
                        <a:pt x="899" y="618"/>
                      </a:lnTo>
                      <a:lnTo>
                        <a:pt x="903" y="562"/>
                      </a:lnTo>
                      <a:lnTo>
                        <a:pt x="909" y="509"/>
                      </a:lnTo>
                      <a:lnTo>
                        <a:pt x="919" y="458"/>
                      </a:lnTo>
                      <a:lnTo>
                        <a:pt x="931" y="410"/>
                      </a:lnTo>
                      <a:lnTo>
                        <a:pt x="946" y="365"/>
                      </a:lnTo>
                      <a:lnTo>
                        <a:pt x="965" y="325"/>
                      </a:lnTo>
                      <a:lnTo>
                        <a:pt x="985" y="288"/>
                      </a:lnTo>
                      <a:lnTo>
                        <a:pt x="1009" y="256"/>
                      </a:lnTo>
                      <a:lnTo>
                        <a:pt x="1018" y="246"/>
                      </a:lnTo>
                      <a:lnTo>
                        <a:pt x="1033" y="230"/>
                      </a:lnTo>
                      <a:lnTo>
                        <a:pt x="1044" y="220"/>
                      </a:lnTo>
                      <a:lnTo>
                        <a:pt x="1056" y="209"/>
                      </a:lnTo>
                      <a:lnTo>
                        <a:pt x="1071" y="196"/>
                      </a:lnTo>
                      <a:lnTo>
                        <a:pt x="1087" y="184"/>
                      </a:lnTo>
                      <a:lnTo>
                        <a:pt x="1104" y="171"/>
                      </a:lnTo>
                      <a:lnTo>
                        <a:pt x="1125" y="158"/>
                      </a:lnTo>
                      <a:lnTo>
                        <a:pt x="1147" y="144"/>
                      </a:lnTo>
                      <a:lnTo>
                        <a:pt x="1172" y="131"/>
                      </a:lnTo>
                      <a:lnTo>
                        <a:pt x="1198" y="119"/>
                      </a:lnTo>
                      <a:lnTo>
                        <a:pt x="1227" y="107"/>
                      </a:lnTo>
                      <a:lnTo>
                        <a:pt x="1258" y="95"/>
                      </a:lnTo>
                      <a:lnTo>
                        <a:pt x="1290" y="84"/>
                      </a:lnTo>
                      <a:lnTo>
                        <a:pt x="1378" y="55"/>
                      </a:lnTo>
                      <a:lnTo>
                        <a:pt x="1429" y="40"/>
                      </a:lnTo>
                      <a:lnTo>
                        <a:pt x="1475" y="27"/>
                      </a:lnTo>
                      <a:lnTo>
                        <a:pt x="1515" y="18"/>
                      </a:lnTo>
                      <a:lnTo>
                        <a:pt x="1548" y="11"/>
                      </a:lnTo>
                      <a:lnTo>
                        <a:pt x="1576" y="6"/>
                      </a:lnTo>
                      <a:lnTo>
                        <a:pt x="1596" y="3"/>
                      </a:lnTo>
                      <a:lnTo>
                        <a:pt x="1610" y="1"/>
                      </a:lnTo>
                      <a:lnTo>
                        <a:pt x="1616" y="0"/>
                      </a:lnTo>
                      <a:lnTo>
                        <a:pt x="1625" y="0"/>
                      </a:lnTo>
                      <a:lnTo>
                        <a:pt x="1635" y="2"/>
                      </a:lnTo>
                      <a:lnTo>
                        <a:pt x="1641" y="4"/>
                      </a:lnTo>
                      <a:lnTo>
                        <a:pt x="1649" y="5"/>
                      </a:lnTo>
                      <a:lnTo>
                        <a:pt x="1660" y="6"/>
                      </a:lnTo>
                      <a:lnTo>
                        <a:pt x="1670" y="6"/>
                      </a:lnTo>
                      <a:lnTo>
                        <a:pt x="1684" y="5"/>
                      </a:lnTo>
                      <a:lnTo>
                        <a:pt x="1698" y="6"/>
                      </a:lnTo>
                      <a:lnTo>
                        <a:pt x="1713" y="8"/>
                      </a:lnTo>
                      <a:lnTo>
                        <a:pt x="1727" y="11"/>
                      </a:lnTo>
                      <a:lnTo>
                        <a:pt x="1751" y="17"/>
                      </a:lnTo>
                      <a:lnTo>
                        <a:pt x="1765" y="22"/>
                      </a:lnTo>
                      <a:lnTo>
                        <a:pt x="1781" y="29"/>
                      </a:lnTo>
                      <a:lnTo>
                        <a:pt x="1817" y="46"/>
                      </a:lnTo>
                      <a:lnTo>
                        <a:pt x="1840" y="59"/>
                      </a:lnTo>
                      <a:lnTo>
                        <a:pt x="1866" y="74"/>
                      </a:lnTo>
                      <a:lnTo>
                        <a:pt x="1894" y="92"/>
                      </a:lnTo>
                      <a:lnTo>
                        <a:pt x="1925" y="114"/>
                      </a:lnTo>
                      <a:lnTo>
                        <a:pt x="1940" y="125"/>
                      </a:lnTo>
                      <a:lnTo>
                        <a:pt x="1956" y="138"/>
                      </a:lnTo>
                      <a:lnTo>
                        <a:pt x="1971" y="152"/>
                      </a:lnTo>
                      <a:lnTo>
                        <a:pt x="1987" y="166"/>
                      </a:lnTo>
                      <a:lnTo>
                        <a:pt x="2003" y="180"/>
                      </a:lnTo>
                      <a:lnTo>
                        <a:pt x="2017" y="195"/>
                      </a:lnTo>
                      <a:lnTo>
                        <a:pt x="2032" y="212"/>
                      </a:lnTo>
                      <a:lnTo>
                        <a:pt x="2047" y="229"/>
                      </a:lnTo>
                      <a:lnTo>
                        <a:pt x="2061" y="247"/>
                      </a:lnTo>
                      <a:lnTo>
                        <a:pt x="2074" y="266"/>
                      </a:lnTo>
                      <a:lnTo>
                        <a:pt x="2087" y="286"/>
                      </a:lnTo>
                      <a:lnTo>
                        <a:pt x="2100" y="306"/>
                      </a:lnTo>
                      <a:lnTo>
                        <a:pt x="2111" y="328"/>
                      </a:lnTo>
                      <a:lnTo>
                        <a:pt x="2121" y="349"/>
                      </a:lnTo>
                      <a:lnTo>
                        <a:pt x="2130" y="372"/>
                      </a:lnTo>
                      <a:lnTo>
                        <a:pt x="2138" y="396"/>
                      </a:lnTo>
                      <a:lnTo>
                        <a:pt x="2152" y="431"/>
                      </a:lnTo>
                      <a:lnTo>
                        <a:pt x="2162" y="468"/>
                      </a:lnTo>
                      <a:lnTo>
                        <a:pt x="2170" y="509"/>
                      </a:lnTo>
                      <a:lnTo>
                        <a:pt x="2176" y="553"/>
                      </a:lnTo>
                      <a:lnTo>
                        <a:pt x="2180" y="600"/>
                      </a:lnTo>
                      <a:lnTo>
                        <a:pt x="2181" y="648"/>
                      </a:lnTo>
                      <a:lnTo>
                        <a:pt x="2181" y="698"/>
                      </a:lnTo>
                      <a:lnTo>
                        <a:pt x="2179" y="750"/>
                      </a:lnTo>
                      <a:lnTo>
                        <a:pt x="2174" y="804"/>
                      </a:lnTo>
                      <a:lnTo>
                        <a:pt x="2168" y="858"/>
                      </a:lnTo>
                      <a:lnTo>
                        <a:pt x="2160" y="914"/>
                      </a:lnTo>
                      <a:lnTo>
                        <a:pt x="2150" y="969"/>
                      </a:lnTo>
                      <a:lnTo>
                        <a:pt x="2136" y="1025"/>
                      </a:lnTo>
                      <a:lnTo>
                        <a:pt x="2122" y="1081"/>
                      </a:lnTo>
                      <a:lnTo>
                        <a:pt x="2106" y="1136"/>
                      </a:lnTo>
                      <a:lnTo>
                        <a:pt x="2087" y="1191"/>
                      </a:lnTo>
                      <a:lnTo>
                        <a:pt x="2068" y="1245"/>
                      </a:lnTo>
                      <a:lnTo>
                        <a:pt x="2046" y="1297"/>
                      </a:lnTo>
                      <a:lnTo>
                        <a:pt x="2022" y="1348"/>
                      </a:lnTo>
                      <a:lnTo>
                        <a:pt x="1997" y="1397"/>
                      </a:lnTo>
                      <a:lnTo>
                        <a:pt x="1969" y="1443"/>
                      </a:lnTo>
                      <a:lnTo>
                        <a:pt x="1940" y="1486"/>
                      </a:lnTo>
                      <a:lnTo>
                        <a:pt x="1910" y="1528"/>
                      </a:lnTo>
                      <a:lnTo>
                        <a:pt x="1877" y="1566"/>
                      </a:lnTo>
                      <a:lnTo>
                        <a:pt x="1842" y="1601"/>
                      </a:lnTo>
                      <a:lnTo>
                        <a:pt x="1807" y="1632"/>
                      </a:lnTo>
                      <a:lnTo>
                        <a:pt x="1770" y="1659"/>
                      </a:lnTo>
                      <a:lnTo>
                        <a:pt x="1730" y="1682"/>
                      </a:lnTo>
                      <a:lnTo>
                        <a:pt x="1689" y="1700"/>
                      </a:lnTo>
                      <a:lnTo>
                        <a:pt x="1647" y="1713"/>
                      </a:lnTo>
                      <a:lnTo>
                        <a:pt x="1604" y="1723"/>
                      </a:lnTo>
                      <a:lnTo>
                        <a:pt x="1559" y="172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48" name="Freeform 43"/>
                <p:cNvSpPr>
                  <a:spLocks noEditPoints="1"/>
                </p:cNvSpPr>
                <p:nvPr/>
              </p:nvSpPr>
              <p:spPr bwMode="auto">
                <a:xfrm>
                  <a:off x="4443" y="1202"/>
                  <a:ext cx="221" cy="82"/>
                </a:xfrm>
                <a:custGeom>
                  <a:avLst/>
                  <a:gdLst>
                    <a:gd name="T0" fmla="*/ 476 w 9959"/>
                    <a:gd name="T1" fmla="*/ 1977 h 3723"/>
                    <a:gd name="T2" fmla="*/ 491 w 9959"/>
                    <a:gd name="T3" fmla="*/ 1971 h 3723"/>
                    <a:gd name="T4" fmla="*/ 859 w 9959"/>
                    <a:gd name="T5" fmla="*/ 1828 h 3723"/>
                    <a:gd name="T6" fmla="*/ 1070 w 9959"/>
                    <a:gd name="T7" fmla="*/ 1670 h 3723"/>
                    <a:gd name="T8" fmla="*/ 1339 w 9959"/>
                    <a:gd name="T9" fmla="*/ 1870 h 3723"/>
                    <a:gd name="T10" fmla="*/ 1767 w 9959"/>
                    <a:gd name="T11" fmla="*/ 1859 h 3723"/>
                    <a:gd name="T12" fmla="*/ 2009 w 9959"/>
                    <a:gd name="T13" fmla="*/ 1680 h 3723"/>
                    <a:gd name="T14" fmla="*/ 2234 w 9959"/>
                    <a:gd name="T15" fmla="*/ 1836 h 3723"/>
                    <a:gd name="T16" fmla="*/ 2580 w 9959"/>
                    <a:gd name="T17" fmla="*/ 1969 h 3723"/>
                    <a:gd name="T18" fmla="*/ 2593 w 9959"/>
                    <a:gd name="T19" fmla="*/ 1974 h 3723"/>
                    <a:gd name="T20" fmla="*/ 2809 w 9959"/>
                    <a:gd name="T21" fmla="*/ 2120 h 3723"/>
                    <a:gd name="T22" fmla="*/ 2983 w 9959"/>
                    <a:gd name="T23" fmla="*/ 2562 h 3723"/>
                    <a:gd name="T24" fmla="*/ 2845 w 9959"/>
                    <a:gd name="T25" fmla="*/ 3023 h 3723"/>
                    <a:gd name="T26" fmla="*/ 2686 w 9959"/>
                    <a:gd name="T27" fmla="*/ 3558 h 3723"/>
                    <a:gd name="T28" fmla="*/ 1614 w 9959"/>
                    <a:gd name="T29" fmla="*/ 3722 h 3723"/>
                    <a:gd name="T30" fmla="*/ 526 w 9959"/>
                    <a:gd name="T31" fmla="*/ 3598 h 3723"/>
                    <a:gd name="T32" fmla="*/ 34 w 9959"/>
                    <a:gd name="T33" fmla="*/ 3401 h 3723"/>
                    <a:gd name="T34" fmla="*/ 1 w 9959"/>
                    <a:gd name="T35" fmla="*/ 3234 h 3723"/>
                    <a:gd name="T36" fmla="*/ 18 w 9959"/>
                    <a:gd name="T37" fmla="*/ 3007 h 3723"/>
                    <a:gd name="T38" fmla="*/ 151 w 9959"/>
                    <a:gd name="T39" fmla="*/ 2357 h 3723"/>
                    <a:gd name="T40" fmla="*/ 9632 w 9959"/>
                    <a:gd name="T41" fmla="*/ 2061 h 3723"/>
                    <a:gd name="T42" fmla="*/ 9469 w 9959"/>
                    <a:gd name="T43" fmla="*/ 1971 h 3723"/>
                    <a:gd name="T44" fmla="*/ 9245 w 9959"/>
                    <a:gd name="T45" fmla="*/ 1881 h 3723"/>
                    <a:gd name="T46" fmla="*/ 8944 w 9959"/>
                    <a:gd name="T47" fmla="*/ 1737 h 3723"/>
                    <a:gd name="T48" fmla="*/ 8815 w 9959"/>
                    <a:gd name="T49" fmla="*/ 1755 h 3723"/>
                    <a:gd name="T50" fmla="*/ 8422 w 9959"/>
                    <a:gd name="T51" fmla="*/ 1905 h 3723"/>
                    <a:gd name="T52" fmla="*/ 8030 w 9959"/>
                    <a:gd name="T53" fmla="*/ 1755 h 3723"/>
                    <a:gd name="T54" fmla="*/ 7900 w 9959"/>
                    <a:gd name="T55" fmla="*/ 1737 h 3723"/>
                    <a:gd name="T56" fmla="*/ 7600 w 9959"/>
                    <a:gd name="T57" fmla="*/ 1881 h 3723"/>
                    <a:gd name="T58" fmla="*/ 7375 w 9959"/>
                    <a:gd name="T59" fmla="*/ 1971 h 3723"/>
                    <a:gd name="T60" fmla="*/ 7263 w 9959"/>
                    <a:gd name="T61" fmla="*/ 2025 h 3723"/>
                    <a:gd name="T62" fmla="*/ 7063 w 9959"/>
                    <a:gd name="T63" fmla="*/ 2283 h 3723"/>
                    <a:gd name="T64" fmla="*/ 6957 w 9959"/>
                    <a:gd name="T65" fmla="*/ 2727 h 3723"/>
                    <a:gd name="T66" fmla="*/ 7206 w 9959"/>
                    <a:gd name="T67" fmla="*/ 3285 h 3723"/>
                    <a:gd name="T68" fmla="*/ 7920 w 9959"/>
                    <a:gd name="T69" fmla="*/ 3694 h 3723"/>
                    <a:gd name="T70" fmla="*/ 9028 w 9959"/>
                    <a:gd name="T71" fmla="*/ 3679 h 3723"/>
                    <a:gd name="T72" fmla="*/ 9893 w 9959"/>
                    <a:gd name="T73" fmla="*/ 3437 h 3723"/>
                    <a:gd name="T74" fmla="*/ 9959 w 9959"/>
                    <a:gd name="T75" fmla="*/ 3248 h 3723"/>
                    <a:gd name="T76" fmla="*/ 9957 w 9959"/>
                    <a:gd name="T77" fmla="*/ 3205 h 3723"/>
                    <a:gd name="T78" fmla="*/ 9865 w 9959"/>
                    <a:gd name="T79" fmla="*/ 2553 h 3723"/>
                    <a:gd name="T80" fmla="*/ 8401 w 9959"/>
                    <a:gd name="T81" fmla="*/ 1724 h 3723"/>
                    <a:gd name="T82" fmla="*/ 8924 w 9959"/>
                    <a:gd name="T83" fmla="*/ 1287 h 3723"/>
                    <a:gd name="T84" fmla="*/ 9050 w 9959"/>
                    <a:gd name="T85" fmla="*/ 508 h 3723"/>
                    <a:gd name="T86" fmla="*/ 8855 w 9959"/>
                    <a:gd name="T87" fmla="*/ 171 h 3723"/>
                    <a:gd name="T88" fmla="*/ 8383 w 9959"/>
                    <a:gd name="T89" fmla="*/ 6 h 3723"/>
                    <a:gd name="T90" fmla="*/ 8233 w 9959"/>
                    <a:gd name="T91" fmla="*/ 11 h 3723"/>
                    <a:gd name="T92" fmla="*/ 7957 w 9959"/>
                    <a:gd name="T93" fmla="*/ 180 h 3723"/>
                    <a:gd name="T94" fmla="*/ 7797 w 9959"/>
                    <a:gd name="T95" fmla="*/ 468 h 3723"/>
                    <a:gd name="T96" fmla="*/ 7853 w 9959"/>
                    <a:gd name="T97" fmla="*/ 1136 h 3723"/>
                    <a:gd name="T98" fmla="*/ 8229 w 9959"/>
                    <a:gd name="T99" fmla="*/ 1682 h 3723"/>
                    <a:gd name="T100" fmla="*/ 1194 w 9959"/>
                    <a:gd name="T101" fmla="*/ 1539 h 3723"/>
                    <a:gd name="T102" fmla="*/ 905 w 9959"/>
                    <a:gd name="T103" fmla="*/ 797 h 3723"/>
                    <a:gd name="T104" fmla="*/ 1034 w 9959"/>
                    <a:gd name="T105" fmla="*/ 230 h 3723"/>
                    <a:gd name="T106" fmla="*/ 1378 w 9959"/>
                    <a:gd name="T107" fmla="*/ 54 h 3723"/>
                    <a:gd name="T108" fmla="*/ 1660 w 9959"/>
                    <a:gd name="T109" fmla="*/ 6 h 3723"/>
                    <a:gd name="T110" fmla="*/ 1925 w 9959"/>
                    <a:gd name="T111" fmla="*/ 114 h 3723"/>
                    <a:gd name="T112" fmla="*/ 2111 w 9959"/>
                    <a:gd name="T113" fmla="*/ 327 h 3723"/>
                    <a:gd name="T114" fmla="*/ 2168 w 9959"/>
                    <a:gd name="T115" fmla="*/ 858 h 3723"/>
                    <a:gd name="T116" fmla="*/ 1910 w 9959"/>
                    <a:gd name="T117" fmla="*/ 1528 h 37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9959" h="3723">
                      <a:moveTo>
                        <a:pt x="263" y="2124"/>
                      </a:moveTo>
                      <a:lnTo>
                        <a:pt x="266" y="2120"/>
                      </a:lnTo>
                      <a:lnTo>
                        <a:pt x="276" y="2108"/>
                      </a:lnTo>
                      <a:lnTo>
                        <a:pt x="291" y="2093"/>
                      </a:lnTo>
                      <a:lnTo>
                        <a:pt x="313" y="2073"/>
                      </a:lnTo>
                      <a:lnTo>
                        <a:pt x="327" y="2061"/>
                      </a:lnTo>
                      <a:lnTo>
                        <a:pt x="342" y="2050"/>
                      </a:lnTo>
                      <a:lnTo>
                        <a:pt x="359" y="2038"/>
                      </a:lnTo>
                      <a:lnTo>
                        <a:pt x="379" y="2025"/>
                      </a:lnTo>
                      <a:lnTo>
                        <a:pt x="400" y="2013"/>
                      </a:lnTo>
                      <a:lnTo>
                        <a:pt x="424" y="2000"/>
                      </a:lnTo>
                      <a:lnTo>
                        <a:pt x="448" y="1988"/>
                      </a:lnTo>
                      <a:lnTo>
                        <a:pt x="476" y="1977"/>
                      </a:lnTo>
                      <a:lnTo>
                        <a:pt x="476" y="1977"/>
                      </a:lnTo>
                      <a:lnTo>
                        <a:pt x="483" y="1974"/>
                      </a:lnTo>
                      <a:lnTo>
                        <a:pt x="483" y="1974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0" y="1971"/>
                      </a:lnTo>
                      <a:lnTo>
                        <a:pt x="491" y="1971"/>
                      </a:lnTo>
                      <a:lnTo>
                        <a:pt x="491" y="1971"/>
                      </a:lnTo>
                      <a:lnTo>
                        <a:pt x="491" y="1971"/>
                      </a:lnTo>
                      <a:lnTo>
                        <a:pt x="491" y="1971"/>
                      </a:lnTo>
                      <a:lnTo>
                        <a:pt x="491" y="1971"/>
                      </a:lnTo>
                      <a:lnTo>
                        <a:pt x="526" y="1960"/>
                      </a:lnTo>
                      <a:lnTo>
                        <a:pt x="578" y="1936"/>
                      </a:lnTo>
                      <a:lnTo>
                        <a:pt x="628" y="1915"/>
                      </a:lnTo>
                      <a:lnTo>
                        <a:pt x="674" y="1897"/>
                      </a:lnTo>
                      <a:lnTo>
                        <a:pt x="715" y="1881"/>
                      </a:lnTo>
                      <a:lnTo>
                        <a:pt x="750" y="1869"/>
                      </a:lnTo>
                      <a:lnTo>
                        <a:pt x="777" y="1860"/>
                      </a:lnTo>
                      <a:lnTo>
                        <a:pt x="793" y="1854"/>
                      </a:lnTo>
                      <a:lnTo>
                        <a:pt x="799" y="1852"/>
                      </a:lnTo>
                      <a:lnTo>
                        <a:pt x="821" y="1844"/>
                      </a:lnTo>
                      <a:lnTo>
                        <a:pt x="841" y="1836"/>
                      </a:lnTo>
                      <a:lnTo>
                        <a:pt x="859" y="1828"/>
                      </a:lnTo>
                      <a:lnTo>
                        <a:pt x="878" y="1821"/>
                      </a:lnTo>
                      <a:lnTo>
                        <a:pt x="912" y="1803"/>
                      </a:lnTo>
                      <a:lnTo>
                        <a:pt x="945" y="1785"/>
                      </a:lnTo>
                      <a:lnTo>
                        <a:pt x="976" y="1765"/>
                      </a:lnTo>
                      <a:lnTo>
                        <a:pt x="1003" y="1746"/>
                      </a:lnTo>
                      <a:lnTo>
                        <a:pt x="1016" y="1737"/>
                      </a:lnTo>
                      <a:lnTo>
                        <a:pt x="1027" y="1728"/>
                      </a:lnTo>
                      <a:lnTo>
                        <a:pt x="1037" y="1717"/>
                      </a:lnTo>
                      <a:lnTo>
                        <a:pt x="1046" y="1708"/>
                      </a:lnTo>
                      <a:lnTo>
                        <a:pt x="1054" y="1698"/>
                      </a:lnTo>
                      <a:lnTo>
                        <a:pt x="1060" y="1689"/>
                      </a:lnTo>
                      <a:lnTo>
                        <a:pt x="1066" y="1680"/>
                      </a:lnTo>
                      <a:lnTo>
                        <a:pt x="1070" y="1670"/>
                      </a:lnTo>
                      <a:lnTo>
                        <a:pt x="1071" y="1672"/>
                      </a:lnTo>
                      <a:lnTo>
                        <a:pt x="1071" y="1668"/>
                      </a:lnTo>
                      <a:lnTo>
                        <a:pt x="1079" y="1685"/>
                      </a:lnTo>
                      <a:lnTo>
                        <a:pt x="1099" y="1709"/>
                      </a:lnTo>
                      <a:lnTo>
                        <a:pt x="1122" y="1733"/>
                      </a:lnTo>
                      <a:lnTo>
                        <a:pt x="1145" y="1755"/>
                      </a:lnTo>
                      <a:lnTo>
                        <a:pt x="1170" y="1775"/>
                      </a:lnTo>
                      <a:lnTo>
                        <a:pt x="1195" y="1795"/>
                      </a:lnTo>
                      <a:lnTo>
                        <a:pt x="1222" y="1813"/>
                      </a:lnTo>
                      <a:lnTo>
                        <a:pt x="1250" y="1829"/>
                      </a:lnTo>
                      <a:lnTo>
                        <a:pt x="1279" y="1845"/>
                      </a:lnTo>
                      <a:lnTo>
                        <a:pt x="1309" y="1859"/>
                      </a:lnTo>
                      <a:lnTo>
                        <a:pt x="1339" y="1870"/>
                      </a:lnTo>
                      <a:lnTo>
                        <a:pt x="1371" y="1880"/>
                      </a:lnTo>
                      <a:lnTo>
                        <a:pt x="1402" y="1889"/>
                      </a:lnTo>
                      <a:lnTo>
                        <a:pt x="1435" y="1896"/>
                      </a:lnTo>
                      <a:lnTo>
                        <a:pt x="1469" y="1901"/>
                      </a:lnTo>
                      <a:lnTo>
                        <a:pt x="1502" y="1904"/>
                      </a:lnTo>
                      <a:lnTo>
                        <a:pt x="1537" y="1905"/>
                      </a:lnTo>
                      <a:lnTo>
                        <a:pt x="1572" y="1904"/>
                      </a:lnTo>
                      <a:lnTo>
                        <a:pt x="1607" y="1901"/>
                      </a:lnTo>
                      <a:lnTo>
                        <a:pt x="1639" y="1896"/>
                      </a:lnTo>
                      <a:lnTo>
                        <a:pt x="1673" y="1889"/>
                      </a:lnTo>
                      <a:lnTo>
                        <a:pt x="1705" y="1880"/>
                      </a:lnTo>
                      <a:lnTo>
                        <a:pt x="1736" y="1870"/>
                      </a:lnTo>
                      <a:lnTo>
                        <a:pt x="1767" y="1859"/>
                      </a:lnTo>
                      <a:lnTo>
                        <a:pt x="1796" y="1845"/>
                      </a:lnTo>
                      <a:lnTo>
                        <a:pt x="1825" y="1829"/>
                      </a:lnTo>
                      <a:lnTo>
                        <a:pt x="1853" y="1813"/>
                      </a:lnTo>
                      <a:lnTo>
                        <a:pt x="1880" y="1795"/>
                      </a:lnTo>
                      <a:lnTo>
                        <a:pt x="1906" y="1775"/>
                      </a:lnTo>
                      <a:lnTo>
                        <a:pt x="1930" y="1755"/>
                      </a:lnTo>
                      <a:lnTo>
                        <a:pt x="1954" y="1733"/>
                      </a:lnTo>
                      <a:lnTo>
                        <a:pt x="1976" y="1709"/>
                      </a:lnTo>
                      <a:lnTo>
                        <a:pt x="1996" y="1685"/>
                      </a:lnTo>
                      <a:lnTo>
                        <a:pt x="2004" y="1668"/>
                      </a:lnTo>
                      <a:lnTo>
                        <a:pt x="2005" y="1672"/>
                      </a:lnTo>
                      <a:lnTo>
                        <a:pt x="2006" y="1670"/>
                      </a:lnTo>
                      <a:lnTo>
                        <a:pt x="2009" y="1680"/>
                      </a:lnTo>
                      <a:lnTo>
                        <a:pt x="2015" y="1689"/>
                      </a:lnTo>
                      <a:lnTo>
                        <a:pt x="2021" y="1698"/>
                      </a:lnTo>
                      <a:lnTo>
                        <a:pt x="2029" y="1708"/>
                      </a:lnTo>
                      <a:lnTo>
                        <a:pt x="2038" y="1717"/>
                      </a:lnTo>
                      <a:lnTo>
                        <a:pt x="2049" y="1728"/>
                      </a:lnTo>
                      <a:lnTo>
                        <a:pt x="2060" y="1737"/>
                      </a:lnTo>
                      <a:lnTo>
                        <a:pt x="2072" y="1746"/>
                      </a:lnTo>
                      <a:lnTo>
                        <a:pt x="2100" y="1765"/>
                      </a:lnTo>
                      <a:lnTo>
                        <a:pt x="2129" y="1785"/>
                      </a:lnTo>
                      <a:lnTo>
                        <a:pt x="2163" y="1803"/>
                      </a:lnTo>
                      <a:lnTo>
                        <a:pt x="2198" y="1821"/>
                      </a:lnTo>
                      <a:lnTo>
                        <a:pt x="2216" y="1828"/>
                      </a:lnTo>
                      <a:lnTo>
                        <a:pt x="2234" y="1836"/>
                      </a:lnTo>
                      <a:lnTo>
                        <a:pt x="2255" y="1844"/>
                      </a:lnTo>
                      <a:lnTo>
                        <a:pt x="2275" y="1852"/>
                      </a:lnTo>
                      <a:lnTo>
                        <a:pt x="2281" y="1854"/>
                      </a:lnTo>
                      <a:lnTo>
                        <a:pt x="2299" y="1860"/>
                      </a:lnTo>
                      <a:lnTo>
                        <a:pt x="2325" y="1869"/>
                      </a:lnTo>
                      <a:lnTo>
                        <a:pt x="2360" y="1881"/>
                      </a:lnTo>
                      <a:lnTo>
                        <a:pt x="2401" y="1897"/>
                      </a:lnTo>
                      <a:lnTo>
                        <a:pt x="2448" y="1915"/>
                      </a:lnTo>
                      <a:lnTo>
                        <a:pt x="2497" y="1936"/>
                      </a:lnTo>
                      <a:lnTo>
                        <a:pt x="2550" y="1960"/>
                      </a:lnTo>
                      <a:lnTo>
                        <a:pt x="2562" y="1964"/>
                      </a:lnTo>
                      <a:lnTo>
                        <a:pt x="2573" y="1967"/>
                      </a:lnTo>
                      <a:lnTo>
                        <a:pt x="2580" y="1969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4" y="1971"/>
                      </a:lnTo>
                      <a:lnTo>
                        <a:pt x="2585" y="1971"/>
                      </a:lnTo>
                      <a:lnTo>
                        <a:pt x="2585" y="1971"/>
                      </a:lnTo>
                      <a:lnTo>
                        <a:pt x="2585" y="1971"/>
                      </a:lnTo>
                      <a:lnTo>
                        <a:pt x="2593" y="1974"/>
                      </a:lnTo>
                      <a:lnTo>
                        <a:pt x="2593" y="1974"/>
                      </a:lnTo>
                      <a:lnTo>
                        <a:pt x="2600" y="1977"/>
                      </a:lnTo>
                      <a:lnTo>
                        <a:pt x="2600" y="1977"/>
                      </a:lnTo>
                      <a:lnTo>
                        <a:pt x="2626" y="1988"/>
                      </a:lnTo>
                      <a:lnTo>
                        <a:pt x="2652" y="2000"/>
                      </a:lnTo>
                      <a:lnTo>
                        <a:pt x="2675" y="2013"/>
                      </a:lnTo>
                      <a:lnTo>
                        <a:pt x="2696" y="2025"/>
                      </a:lnTo>
                      <a:lnTo>
                        <a:pt x="2715" y="2038"/>
                      </a:lnTo>
                      <a:lnTo>
                        <a:pt x="2732" y="2050"/>
                      </a:lnTo>
                      <a:lnTo>
                        <a:pt x="2749" y="2061"/>
                      </a:lnTo>
                      <a:lnTo>
                        <a:pt x="2762" y="2073"/>
                      </a:lnTo>
                      <a:lnTo>
                        <a:pt x="2784" y="2093"/>
                      </a:lnTo>
                      <a:lnTo>
                        <a:pt x="2800" y="2108"/>
                      </a:lnTo>
                      <a:lnTo>
                        <a:pt x="2809" y="2120"/>
                      </a:lnTo>
                      <a:lnTo>
                        <a:pt x="2812" y="2124"/>
                      </a:lnTo>
                      <a:lnTo>
                        <a:pt x="2831" y="2153"/>
                      </a:lnTo>
                      <a:lnTo>
                        <a:pt x="2849" y="2184"/>
                      </a:lnTo>
                      <a:lnTo>
                        <a:pt x="2866" y="2217"/>
                      </a:lnTo>
                      <a:lnTo>
                        <a:pt x="2882" y="2251"/>
                      </a:lnTo>
                      <a:lnTo>
                        <a:pt x="2898" y="2286"/>
                      </a:lnTo>
                      <a:lnTo>
                        <a:pt x="2912" y="2324"/>
                      </a:lnTo>
                      <a:lnTo>
                        <a:pt x="2926" y="2362"/>
                      </a:lnTo>
                      <a:lnTo>
                        <a:pt x="2939" y="2401"/>
                      </a:lnTo>
                      <a:lnTo>
                        <a:pt x="2951" y="2440"/>
                      </a:lnTo>
                      <a:lnTo>
                        <a:pt x="2962" y="2480"/>
                      </a:lnTo>
                      <a:lnTo>
                        <a:pt x="2973" y="2521"/>
                      </a:lnTo>
                      <a:lnTo>
                        <a:pt x="2983" y="2562"/>
                      </a:lnTo>
                      <a:lnTo>
                        <a:pt x="2993" y="2603"/>
                      </a:lnTo>
                      <a:lnTo>
                        <a:pt x="3001" y="2644"/>
                      </a:lnTo>
                      <a:lnTo>
                        <a:pt x="3009" y="2685"/>
                      </a:lnTo>
                      <a:lnTo>
                        <a:pt x="3017" y="2725"/>
                      </a:lnTo>
                      <a:lnTo>
                        <a:pt x="2999" y="2748"/>
                      </a:lnTo>
                      <a:lnTo>
                        <a:pt x="2992" y="2744"/>
                      </a:lnTo>
                      <a:lnTo>
                        <a:pt x="2968" y="2780"/>
                      </a:lnTo>
                      <a:lnTo>
                        <a:pt x="2945" y="2818"/>
                      </a:lnTo>
                      <a:lnTo>
                        <a:pt x="2923" y="2857"/>
                      </a:lnTo>
                      <a:lnTo>
                        <a:pt x="2902" y="2896"/>
                      </a:lnTo>
                      <a:lnTo>
                        <a:pt x="2882" y="2938"/>
                      </a:lnTo>
                      <a:lnTo>
                        <a:pt x="2863" y="2980"/>
                      </a:lnTo>
                      <a:lnTo>
                        <a:pt x="2845" y="3023"/>
                      </a:lnTo>
                      <a:lnTo>
                        <a:pt x="2827" y="3066"/>
                      </a:lnTo>
                      <a:lnTo>
                        <a:pt x="2810" y="3111"/>
                      </a:lnTo>
                      <a:lnTo>
                        <a:pt x="2794" y="3157"/>
                      </a:lnTo>
                      <a:lnTo>
                        <a:pt x="2779" y="3202"/>
                      </a:lnTo>
                      <a:lnTo>
                        <a:pt x="2764" y="3249"/>
                      </a:lnTo>
                      <a:lnTo>
                        <a:pt x="2751" y="3294"/>
                      </a:lnTo>
                      <a:lnTo>
                        <a:pt x="2738" y="3341"/>
                      </a:lnTo>
                      <a:lnTo>
                        <a:pt x="2725" y="3389"/>
                      </a:lnTo>
                      <a:lnTo>
                        <a:pt x="2714" y="3436"/>
                      </a:lnTo>
                      <a:lnTo>
                        <a:pt x="2707" y="3467"/>
                      </a:lnTo>
                      <a:lnTo>
                        <a:pt x="2700" y="3497"/>
                      </a:lnTo>
                      <a:lnTo>
                        <a:pt x="2693" y="3528"/>
                      </a:lnTo>
                      <a:lnTo>
                        <a:pt x="2686" y="3558"/>
                      </a:lnTo>
                      <a:lnTo>
                        <a:pt x="2609" y="3582"/>
                      </a:lnTo>
                      <a:lnTo>
                        <a:pt x="2531" y="3602"/>
                      </a:lnTo>
                      <a:lnTo>
                        <a:pt x="2452" y="3621"/>
                      </a:lnTo>
                      <a:lnTo>
                        <a:pt x="2371" y="3640"/>
                      </a:lnTo>
                      <a:lnTo>
                        <a:pt x="2289" y="3656"/>
                      </a:lnTo>
                      <a:lnTo>
                        <a:pt x="2207" y="3670"/>
                      </a:lnTo>
                      <a:lnTo>
                        <a:pt x="2124" y="3682"/>
                      </a:lnTo>
                      <a:lnTo>
                        <a:pt x="2039" y="3694"/>
                      </a:lnTo>
                      <a:lnTo>
                        <a:pt x="1956" y="3703"/>
                      </a:lnTo>
                      <a:lnTo>
                        <a:pt x="1870" y="3710"/>
                      </a:lnTo>
                      <a:lnTo>
                        <a:pt x="1785" y="3716"/>
                      </a:lnTo>
                      <a:lnTo>
                        <a:pt x="1699" y="3720"/>
                      </a:lnTo>
                      <a:lnTo>
                        <a:pt x="1614" y="3722"/>
                      </a:lnTo>
                      <a:lnTo>
                        <a:pt x="1527" y="3723"/>
                      </a:lnTo>
                      <a:lnTo>
                        <a:pt x="1441" y="3722"/>
                      </a:lnTo>
                      <a:lnTo>
                        <a:pt x="1355" y="3719"/>
                      </a:lnTo>
                      <a:lnTo>
                        <a:pt x="1270" y="3715"/>
                      </a:lnTo>
                      <a:lnTo>
                        <a:pt x="1185" y="3709"/>
                      </a:lnTo>
                      <a:lnTo>
                        <a:pt x="1099" y="3701"/>
                      </a:lnTo>
                      <a:lnTo>
                        <a:pt x="1016" y="3690"/>
                      </a:lnTo>
                      <a:lnTo>
                        <a:pt x="932" y="3679"/>
                      </a:lnTo>
                      <a:lnTo>
                        <a:pt x="848" y="3667"/>
                      </a:lnTo>
                      <a:lnTo>
                        <a:pt x="767" y="3652"/>
                      </a:lnTo>
                      <a:lnTo>
                        <a:pt x="685" y="3636"/>
                      </a:lnTo>
                      <a:lnTo>
                        <a:pt x="604" y="3617"/>
                      </a:lnTo>
                      <a:lnTo>
                        <a:pt x="526" y="3598"/>
                      </a:lnTo>
                      <a:lnTo>
                        <a:pt x="447" y="3576"/>
                      </a:lnTo>
                      <a:lnTo>
                        <a:pt x="370" y="3553"/>
                      </a:lnTo>
                      <a:lnTo>
                        <a:pt x="296" y="3528"/>
                      </a:lnTo>
                      <a:lnTo>
                        <a:pt x="221" y="3501"/>
                      </a:lnTo>
                      <a:lnTo>
                        <a:pt x="150" y="3473"/>
                      </a:lnTo>
                      <a:lnTo>
                        <a:pt x="80" y="3443"/>
                      </a:lnTo>
                      <a:lnTo>
                        <a:pt x="75" y="3442"/>
                      </a:lnTo>
                      <a:lnTo>
                        <a:pt x="67" y="3437"/>
                      </a:lnTo>
                      <a:lnTo>
                        <a:pt x="61" y="3434"/>
                      </a:lnTo>
                      <a:lnTo>
                        <a:pt x="55" y="3428"/>
                      </a:lnTo>
                      <a:lnTo>
                        <a:pt x="48" y="3421"/>
                      </a:lnTo>
                      <a:lnTo>
                        <a:pt x="41" y="3413"/>
                      </a:lnTo>
                      <a:lnTo>
                        <a:pt x="34" y="3401"/>
                      </a:lnTo>
                      <a:lnTo>
                        <a:pt x="26" y="3388"/>
                      </a:lnTo>
                      <a:lnTo>
                        <a:pt x="19" y="3372"/>
                      </a:lnTo>
                      <a:lnTo>
                        <a:pt x="13" y="3353"/>
                      </a:lnTo>
                      <a:lnTo>
                        <a:pt x="8" y="3332"/>
                      </a:lnTo>
                      <a:lnTo>
                        <a:pt x="4" y="3308"/>
                      </a:lnTo>
                      <a:lnTo>
                        <a:pt x="1" y="3279"/>
                      </a:lnTo>
                      <a:lnTo>
                        <a:pt x="0" y="3248"/>
                      </a:lnTo>
                      <a:lnTo>
                        <a:pt x="0" y="3248"/>
                      </a:lnTo>
                      <a:lnTo>
                        <a:pt x="0" y="3248"/>
                      </a:lnTo>
                      <a:lnTo>
                        <a:pt x="0" y="3246"/>
                      </a:lnTo>
                      <a:lnTo>
                        <a:pt x="0" y="3243"/>
                      </a:lnTo>
                      <a:lnTo>
                        <a:pt x="1" y="3239"/>
                      </a:lnTo>
                      <a:lnTo>
                        <a:pt x="1" y="3234"/>
                      </a:lnTo>
                      <a:lnTo>
                        <a:pt x="1" y="3234"/>
                      </a:lnTo>
                      <a:lnTo>
                        <a:pt x="1" y="3228"/>
                      </a:lnTo>
                      <a:lnTo>
                        <a:pt x="1" y="3228"/>
                      </a:lnTo>
                      <a:lnTo>
                        <a:pt x="1" y="3222"/>
                      </a:lnTo>
                      <a:lnTo>
                        <a:pt x="1" y="3222"/>
                      </a:lnTo>
                      <a:lnTo>
                        <a:pt x="2" y="3214"/>
                      </a:lnTo>
                      <a:lnTo>
                        <a:pt x="2" y="3214"/>
                      </a:lnTo>
                      <a:lnTo>
                        <a:pt x="2" y="3205"/>
                      </a:lnTo>
                      <a:lnTo>
                        <a:pt x="2" y="3205"/>
                      </a:lnTo>
                      <a:lnTo>
                        <a:pt x="5" y="3168"/>
                      </a:lnTo>
                      <a:lnTo>
                        <a:pt x="8" y="3122"/>
                      </a:lnTo>
                      <a:lnTo>
                        <a:pt x="12" y="3068"/>
                      </a:lnTo>
                      <a:lnTo>
                        <a:pt x="18" y="3007"/>
                      </a:lnTo>
                      <a:lnTo>
                        <a:pt x="26" y="2940"/>
                      </a:lnTo>
                      <a:lnTo>
                        <a:pt x="36" y="2868"/>
                      </a:lnTo>
                      <a:lnTo>
                        <a:pt x="47" y="2793"/>
                      </a:lnTo>
                      <a:lnTo>
                        <a:pt x="60" y="2714"/>
                      </a:lnTo>
                      <a:lnTo>
                        <a:pt x="67" y="2673"/>
                      </a:lnTo>
                      <a:lnTo>
                        <a:pt x="75" y="2634"/>
                      </a:lnTo>
                      <a:lnTo>
                        <a:pt x="85" y="2593"/>
                      </a:lnTo>
                      <a:lnTo>
                        <a:pt x="94" y="2553"/>
                      </a:lnTo>
                      <a:lnTo>
                        <a:pt x="104" y="2513"/>
                      </a:lnTo>
                      <a:lnTo>
                        <a:pt x="114" y="2473"/>
                      </a:lnTo>
                      <a:lnTo>
                        <a:pt x="125" y="2434"/>
                      </a:lnTo>
                      <a:lnTo>
                        <a:pt x="138" y="2395"/>
                      </a:lnTo>
                      <a:lnTo>
                        <a:pt x="151" y="2357"/>
                      </a:lnTo>
                      <a:lnTo>
                        <a:pt x="164" y="2320"/>
                      </a:lnTo>
                      <a:lnTo>
                        <a:pt x="179" y="2283"/>
                      </a:lnTo>
                      <a:lnTo>
                        <a:pt x="194" y="2249"/>
                      </a:lnTo>
                      <a:lnTo>
                        <a:pt x="210" y="2215"/>
                      </a:lnTo>
                      <a:lnTo>
                        <a:pt x="227" y="2183"/>
                      </a:lnTo>
                      <a:lnTo>
                        <a:pt x="245" y="2152"/>
                      </a:lnTo>
                      <a:lnTo>
                        <a:pt x="263" y="2124"/>
                      </a:lnTo>
                      <a:close/>
                      <a:moveTo>
                        <a:pt x="9697" y="2124"/>
                      </a:moveTo>
                      <a:lnTo>
                        <a:pt x="9694" y="2120"/>
                      </a:lnTo>
                      <a:lnTo>
                        <a:pt x="9684" y="2108"/>
                      </a:lnTo>
                      <a:lnTo>
                        <a:pt x="9669" y="2093"/>
                      </a:lnTo>
                      <a:lnTo>
                        <a:pt x="9647" y="2073"/>
                      </a:lnTo>
                      <a:lnTo>
                        <a:pt x="9632" y="2061"/>
                      </a:lnTo>
                      <a:lnTo>
                        <a:pt x="9617" y="2050"/>
                      </a:lnTo>
                      <a:lnTo>
                        <a:pt x="9600" y="2038"/>
                      </a:lnTo>
                      <a:lnTo>
                        <a:pt x="9580" y="2025"/>
                      </a:lnTo>
                      <a:lnTo>
                        <a:pt x="9560" y="2013"/>
                      </a:lnTo>
                      <a:lnTo>
                        <a:pt x="9536" y="2000"/>
                      </a:lnTo>
                      <a:lnTo>
                        <a:pt x="9511" y="1988"/>
                      </a:lnTo>
                      <a:lnTo>
                        <a:pt x="9484" y="1977"/>
                      </a:lnTo>
                      <a:lnTo>
                        <a:pt x="9484" y="1977"/>
                      </a:lnTo>
                      <a:lnTo>
                        <a:pt x="9477" y="1974"/>
                      </a:lnTo>
                      <a:lnTo>
                        <a:pt x="9477" y="1974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9" y="1971"/>
                      </a:lnTo>
                      <a:lnTo>
                        <a:pt x="9468" y="1971"/>
                      </a:lnTo>
                      <a:lnTo>
                        <a:pt x="9434" y="1960"/>
                      </a:lnTo>
                      <a:lnTo>
                        <a:pt x="9381" y="1936"/>
                      </a:lnTo>
                      <a:lnTo>
                        <a:pt x="9332" y="1915"/>
                      </a:lnTo>
                      <a:lnTo>
                        <a:pt x="9285" y="1897"/>
                      </a:lnTo>
                      <a:lnTo>
                        <a:pt x="9245" y="1881"/>
                      </a:lnTo>
                      <a:lnTo>
                        <a:pt x="9210" y="1869"/>
                      </a:lnTo>
                      <a:lnTo>
                        <a:pt x="9183" y="1860"/>
                      </a:lnTo>
                      <a:lnTo>
                        <a:pt x="9166" y="1854"/>
                      </a:lnTo>
                      <a:lnTo>
                        <a:pt x="9160" y="1852"/>
                      </a:lnTo>
                      <a:lnTo>
                        <a:pt x="9139" y="1844"/>
                      </a:lnTo>
                      <a:lnTo>
                        <a:pt x="9119" y="1836"/>
                      </a:lnTo>
                      <a:lnTo>
                        <a:pt x="9101" y="1828"/>
                      </a:lnTo>
                      <a:lnTo>
                        <a:pt x="9082" y="1821"/>
                      </a:lnTo>
                      <a:lnTo>
                        <a:pt x="9048" y="1803"/>
                      </a:lnTo>
                      <a:lnTo>
                        <a:pt x="9014" y="1785"/>
                      </a:lnTo>
                      <a:lnTo>
                        <a:pt x="8983" y="1765"/>
                      </a:lnTo>
                      <a:lnTo>
                        <a:pt x="8957" y="1746"/>
                      </a:lnTo>
                      <a:lnTo>
                        <a:pt x="8944" y="1737"/>
                      </a:lnTo>
                      <a:lnTo>
                        <a:pt x="8933" y="1728"/>
                      </a:lnTo>
                      <a:lnTo>
                        <a:pt x="8923" y="1717"/>
                      </a:lnTo>
                      <a:lnTo>
                        <a:pt x="8914" y="1708"/>
                      </a:lnTo>
                      <a:lnTo>
                        <a:pt x="8906" y="1698"/>
                      </a:lnTo>
                      <a:lnTo>
                        <a:pt x="8899" y="1689"/>
                      </a:lnTo>
                      <a:lnTo>
                        <a:pt x="8893" y="1680"/>
                      </a:lnTo>
                      <a:lnTo>
                        <a:pt x="8889" y="1670"/>
                      </a:lnTo>
                      <a:lnTo>
                        <a:pt x="8889" y="1672"/>
                      </a:lnTo>
                      <a:lnTo>
                        <a:pt x="8888" y="1668"/>
                      </a:lnTo>
                      <a:lnTo>
                        <a:pt x="8881" y="1685"/>
                      </a:lnTo>
                      <a:lnTo>
                        <a:pt x="8860" y="1709"/>
                      </a:lnTo>
                      <a:lnTo>
                        <a:pt x="8838" y="1733"/>
                      </a:lnTo>
                      <a:lnTo>
                        <a:pt x="8815" y="1755"/>
                      </a:lnTo>
                      <a:lnTo>
                        <a:pt x="8790" y="1775"/>
                      </a:lnTo>
                      <a:lnTo>
                        <a:pt x="8764" y="1795"/>
                      </a:lnTo>
                      <a:lnTo>
                        <a:pt x="8737" y="1813"/>
                      </a:lnTo>
                      <a:lnTo>
                        <a:pt x="8710" y="1829"/>
                      </a:lnTo>
                      <a:lnTo>
                        <a:pt x="8681" y="1845"/>
                      </a:lnTo>
                      <a:lnTo>
                        <a:pt x="8652" y="1859"/>
                      </a:lnTo>
                      <a:lnTo>
                        <a:pt x="8621" y="1870"/>
                      </a:lnTo>
                      <a:lnTo>
                        <a:pt x="8589" y="1880"/>
                      </a:lnTo>
                      <a:lnTo>
                        <a:pt x="8557" y="1889"/>
                      </a:lnTo>
                      <a:lnTo>
                        <a:pt x="8524" y="1896"/>
                      </a:lnTo>
                      <a:lnTo>
                        <a:pt x="8490" y="1901"/>
                      </a:lnTo>
                      <a:lnTo>
                        <a:pt x="8457" y="1904"/>
                      </a:lnTo>
                      <a:lnTo>
                        <a:pt x="8422" y="1905"/>
                      </a:lnTo>
                      <a:lnTo>
                        <a:pt x="8387" y="1904"/>
                      </a:lnTo>
                      <a:lnTo>
                        <a:pt x="8353" y="1901"/>
                      </a:lnTo>
                      <a:lnTo>
                        <a:pt x="8320" y="1896"/>
                      </a:lnTo>
                      <a:lnTo>
                        <a:pt x="8287" y="1889"/>
                      </a:lnTo>
                      <a:lnTo>
                        <a:pt x="8254" y="1880"/>
                      </a:lnTo>
                      <a:lnTo>
                        <a:pt x="8224" y="1870"/>
                      </a:lnTo>
                      <a:lnTo>
                        <a:pt x="8193" y="1859"/>
                      </a:lnTo>
                      <a:lnTo>
                        <a:pt x="8164" y="1845"/>
                      </a:lnTo>
                      <a:lnTo>
                        <a:pt x="8134" y="1829"/>
                      </a:lnTo>
                      <a:lnTo>
                        <a:pt x="8106" y="1813"/>
                      </a:lnTo>
                      <a:lnTo>
                        <a:pt x="8080" y="1795"/>
                      </a:lnTo>
                      <a:lnTo>
                        <a:pt x="8054" y="1775"/>
                      </a:lnTo>
                      <a:lnTo>
                        <a:pt x="8030" y="1755"/>
                      </a:lnTo>
                      <a:lnTo>
                        <a:pt x="8006" y="1733"/>
                      </a:lnTo>
                      <a:lnTo>
                        <a:pt x="7984" y="1709"/>
                      </a:lnTo>
                      <a:lnTo>
                        <a:pt x="7964" y="1685"/>
                      </a:lnTo>
                      <a:lnTo>
                        <a:pt x="7955" y="1668"/>
                      </a:lnTo>
                      <a:lnTo>
                        <a:pt x="7954" y="1672"/>
                      </a:lnTo>
                      <a:lnTo>
                        <a:pt x="7954" y="1670"/>
                      </a:lnTo>
                      <a:lnTo>
                        <a:pt x="7950" y="1680"/>
                      </a:lnTo>
                      <a:lnTo>
                        <a:pt x="7945" y="1689"/>
                      </a:lnTo>
                      <a:lnTo>
                        <a:pt x="7939" y="1698"/>
                      </a:lnTo>
                      <a:lnTo>
                        <a:pt x="7931" y="1708"/>
                      </a:lnTo>
                      <a:lnTo>
                        <a:pt x="7922" y="1717"/>
                      </a:lnTo>
                      <a:lnTo>
                        <a:pt x="7911" y="1728"/>
                      </a:lnTo>
                      <a:lnTo>
                        <a:pt x="7900" y="1737"/>
                      </a:lnTo>
                      <a:lnTo>
                        <a:pt x="7888" y="1746"/>
                      </a:lnTo>
                      <a:lnTo>
                        <a:pt x="7860" y="1765"/>
                      </a:lnTo>
                      <a:lnTo>
                        <a:pt x="7830" y="1785"/>
                      </a:lnTo>
                      <a:lnTo>
                        <a:pt x="7797" y="1803"/>
                      </a:lnTo>
                      <a:lnTo>
                        <a:pt x="7761" y="1821"/>
                      </a:lnTo>
                      <a:lnTo>
                        <a:pt x="7744" y="1828"/>
                      </a:lnTo>
                      <a:lnTo>
                        <a:pt x="7725" y="1836"/>
                      </a:lnTo>
                      <a:lnTo>
                        <a:pt x="7705" y="1844"/>
                      </a:lnTo>
                      <a:lnTo>
                        <a:pt x="7684" y="1852"/>
                      </a:lnTo>
                      <a:lnTo>
                        <a:pt x="7678" y="1854"/>
                      </a:lnTo>
                      <a:lnTo>
                        <a:pt x="7661" y="1860"/>
                      </a:lnTo>
                      <a:lnTo>
                        <a:pt x="7635" y="1869"/>
                      </a:lnTo>
                      <a:lnTo>
                        <a:pt x="7600" y="1881"/>
                      </a:lnTo>
                      <a:lnTo>
                        <a:pt x="7558" y="1897"/>
                      </a:lnTo>
                      <a:lnTo>
                        <a:pt x="7512" y="1915"/>
                      </a:lnTo>
                      <a:lnTo>
                        <a:pt x="7462" y="1936"/>
                      </a:lnTo>
                      <a:lnTo>
                        <a:pt x="7410" y="1960"/>
                      </a:lnTo>
                      <a:lnTo>
                        <a:pt x="7397" y="1964"/>
                      </a:lnTo>
                      <a:lnTo>
                        <a:pt x="7387" y="1967"/>
                      </a:lnTo>
                      <a:lnTo>
                        <a:pt x="7380" y="1969"/>
                      </a:lnTo>
                      <a:lnTo>
                        <a:pt x="7376" y="1971"/>
                      </a:lnTo>
                      <a:lnTo>
                        <a:pt x="7376" y="1971"/>
                      </a:lnTo>
                      <a:lnTo>
                        <a:pt x="7376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75" y="1971"/>
                      </a:lnTo>
                      <a:lnTo>
                        <a:pt x="7367" y="1974"/>
                      </a:lnTo>
                      <a:lnTo>
                        <a:pt x="7367" y="1974"/>
                      </a:lnTo>
                      <a:lnTo>
                        <a:pt x="7360" y="1977"/>
                      </a:lnTo>
                      <a:lnTo>
                        <a:pt x="7360" y="1977"/>
                      </a:lnTo>
                      <a:lnTo>
                        <a:pt x="7333" y="1988"/>
                      </a:lnTo>
                      <a:lnTo>
                        <a:pt x="7307" y="2000"/>
                      </a:lnTo>
                      <a:lnTo>
                        <a:pt x="7285" y="2013"/>
                      </a:lnTo>
                      <a:lnTo>
                        <a:pt x="7263" y="2025"/>
                      </a:lnTo>
                      <a:lnTo>
                        <a:pt x="7244" y="2038"/>
                      </a:lnTo>
                      <a:lnTo>
                        <a:pt x="7227" y="2050"/>
                      </a:lnTo>
                      <a:lnTo>
                        <a:pt x="7211" y="2061"/>
                      </a:lnTo>
                      <a:lnTo>
                        <a:pt x="7197" y="2073"/>
                      </a:lnTo>
                      <a:lnTo>
                        <a:pt x="7176" y="2093"/>
                      </a:lnTo>
                      <a:lnTo>
                        <a:pt x="7159" y="2108"/>
                      </a:lnTo>
                      <a:lnTo>
                        <a:pt x="7150" y="2120"/>
                      </a:lnTo>
                      <a:lnTo>
                        <a:pt x="7147" y="2124"/>
                      </a:lnTo>
                      <a:lnTo>
                        <a:pt x="7129" y="2152"/>
                      </a:lnTo>
                      <a:lnTo>
                        <a:pt x="7111" y="2183"/>
                      </a:lnTo>
                      <a:lnTo>
                        <a:pt x="7095" y="2215"/>
                      </a:lnTo>
                      <a:lnTo>
                        <a:pt x="7079" y="2249"/>
                      </a:lnTo>
                      <a:lnTo>
                        <a:pt x="7063" y="2283"/>
                      </a:lnTo>
                      <a:lnTo>
                        <a:pt x="7049" y="2319"/>
                      </a:lnTo>
                      <a:lnTo>
                        <a:pt x="7036" y="2357"/>
                      </a:lnTo>
                      <a:lnTo>
                        <a:pt x="7022" y="2394"/>
                      </a:lnTo>
                      <a:lnTo>
                        <a:pt x="7010" y="2433"/>
                      </a:lnTo>
                      <a:lnTo>
                        <a:pt x="6999" y="2473"/>
                      </a:lnTo>
                      <a:lnTo>
                        <a:pt x="6989" y="2513"/>
                      </a:lnTo>
                      <a:lnTo>
                        <a:pt x="6979" y="2552"/>
                      </a:lnTo>
                      <a:lnTo>
                        <a:pt x="6969" y="2592"/>
                      </a:lnTo>
                      <a:lnTo>
                        <a:pt x="6960" y="2633"/>
                      </a:lnTo>
                      <a:lnTo>
                        <a:pt x="6952" y="2672"/>
                      </a:lnTo>
                      <a:lnTo>
                        <a:pt x="6945" y="2713"/>
                      </a:lnTo>
                      <a:lnTo>
                        <a:pt x="6951" y="2720"/>
                      </a:lnTo>
                      <a:lnTo>
                        <a:pt x="6957" y="2727"/>
                      </a:lnTo>
                      <a:lnTo>
                        <a:pt x="6962" y="2735"/>
                      </a:lnTo>
                      <a:lnTo>
                        <a:pt x="6967" y="2744"/>
                      </a:lnTo>
                      <a:lnTo>
                        <a:pt x="6995" y="2786"/>
                      </a:lnTo>
                      <a:lnTo>
                        <a:pt x="7021" y="2830"/>
                      </a:lnTo>
                      <a:lnTo>
                        <a:pt x="7047" y="2876"/>
                      </a:lnTo>
                      <a:lnTo>
                        <a:pt x="7070" y="2924"/>
                      </a:lnTo>
                      <a:lnTo>
                        <a:pt x="7093" y="2973"/>
                      </a:lnTo>
                      <a:lnTo>
                        <a:pt x="7114" y="3023"/>
                      </a:lnTo>
                      <a:lnTo>
                        <a:pt x="7135" y="3074"/>
                      </a:lnTo>
                      <a:lnTo>
                        <a:pt x="7154" y="3125"/>
                      </a:lnTo>
                      <a:lnTo>
                        <a:pt x="7173" y="3178"/>
                      </a:lnTo>
                      <a:lnTo>
                        <a:pt x="7190" y="3231"/>
                      </a:lnTo>
                      <a:lnTo>
                        <a:pt x="7206" y="3285"/>
                      </a:lnTo>
                      <a:lnTo>
                        <a:pt x="7221" y="3340"/>
                      </a:lnTo>
                      <a:lnTo>
                        <a:pt x="7236" y="3394"/>
                      </a:lnTo>
                      <a:lnTo>
                        <a:pt x="7249" y="3449"/>
                      </a:lnTo>
                      <a:lnTo>
                        <a:pt x="7261" y="3504"/>
                      </a:lnTo>
                      <a:lnTo>
                        <a:pt x="7274" y="3558"/>
                      </a:lnTo>
                      <a:lnTo>
                        <a:pt x="7350" y="3582"/>
                      </a:lnTo>
                      <a:lnTo>
                        <a:pt x="7429" y="3602"/>
                      </a:lnTo>
                      <a:lnTo>
                        <a:pt x="7508" y="3621"/>
                      </a:lnTo>
                      <a:lnTo>
                        <a:pt x="7589" y="3640"/>
                      </a:lnTo>
                      <a:lnTo>
                        <a:pt x="7671" y="3656"/>
                      </a:lnTo>
                      <a:lnTo>
                        <a:pt x="7753" y="3670"/>
                      </a:lnTo>
                      <a:lnTo>
                        <a:pt x="7836" y="3682"/>
                      </a:lnTo>
                      <a:lnTo>
                        <a:pt x="7920" y="3694"/>
                      </a:lnTo>
                      <a:lnTo>
                        <a:pt x="8004" y="3703"/>
                      </a:lnTo>
                      <a:lnTo>
                        <a:pt x="8089" y="3710"/>
                      </a:lnTo>
                      <a:lnTo>
                        <a:pt x="8175" y="3716"/>
                      </a:lnTo>
                      <a:lnTo>
                        <a:pt x="8261" y="3720"/>
                      </a:lnTo>
                      <a:lnTo>
                        <a:pt x="8346" y="3722"/>
                      </a:lnTo>
                      <a:lnTo>
                        <a:pt x="8432" y="3723"/>
                      </a:lnTo>
                      <a:lnTo>
                        <a:pt x="8518" y="3722"/>
                      </a:lnTo>
                      <a:lnTo>
                        <a:pt x="8605" y="3719"/>
                      </a:lnTo>
                      <a:lnTo>
                        <a:pt x="8689" y="3715"/>
                      </a:lnTo>
                      <a:lnTo>
                        <a:pt x="8775" y="3709"/>
                      </a:lnTo>
                      <a:lnTo>
                        <a:pt x="8860" y="3701"/>
                      </a:lnTo>
                      <a:lnTo>
                        <a:pt x="8944" y="3690"/>
                      </a:lnTo>
                      <a:lnTo>
                        <a:pt x="9028" y="3679"/>
                      </a:lnTo>
                      <a:lnTo>
                        <a:pt x="9111" y="3667"/>
                      </a:lnTo>
                      <a:lnTo>
                        <a:pt x="9194" y="3652"/>
                      </a:lnTo>
                      <a:lnTo>
                        <a:pt x="9275" y="3636"/>
                      </a:lnTo>
                      <a:lnTo>
                        <a:pt x="9355" y="3617"/>
                      </a:lnTo>
                      <a:lnTo>
                        <a:pt x="9434" y="3598"/>
                      </a:lnTo>
                      <a:lnTo>
                        <a:pt x="9512" y="3576"/>
                      </a:lnTo>
                      <a:lnTo>
                        <a:pt x="9589" y="3553"/>
                      </a:lnTo>
                      <a:lnTo>
                        <a:pt x="9664" y="3528"/>
                      </a:lnTo>
                      <a:lnTo>
                        <a:pt x="9738" y="3501"/>
                      </a:lnTo>
                      <a:lnTo>
                        <a:pt x="9810" y="3473"/>
                      </a:lnTo>
                      <a:lnTo>
                        <a:pt x="9880" y="3443"/>
                      </a:lnTo>
                      <a:lnTo>
                        <a:pt x="9884" y="3442"/>
                      </a:lnTo>
                      <a:lnTo>
                        <a:pt x="9893" y="3437"/>
                      </a:lnTo>
                      <a:lnTo>
                        <a:pt x="9899" y="3434"/>
                      </a:lnTo>
                      <a:lnTo>
                        <a:pt x="9905" y="3428"/>
                      </a:lnTo>
                      <a:lnTo>
                        <a:pt x="9912" y="3421"/>
                      </a:lnTo>
                      <a:lnTo>
                        <a:pt x="9919" y="3413"/>
                      </a:lnTo>
                      <a:lnTo>
                        <a:pt x="9926" y="3401"/>
                      </a:lnTo>
                      <a:lnTo>
                        <a:pt x="9934" y="3388"/>
                      </a:lnTo>
                      <a:lnTo>
                        <a:pt x="9940" y="3372"/>
                      </a:lnTo>
                      <a:lnTo>
                        <a:pt x="9946" y="3353"/>
                      </a:lnTo>
                      <a:lnTo>
                        <a:pt x="9951" y="3332"/>
                      </a:lnTo>
                      <a:lnTo>
                        <a:pt x="9955" y="3308"/>
                      </a:lnTo>
                      <a:lnTo>
                        <a:pt x="9958" y="3279"/>
                      </a:lnTo>
                      <a:lnTo>
                        <a:pt x="9959" y="3248"/>
                      </a:lnTo>
                      <a:lnTo>
                        <a:pt x="9959" y="3248"/>
                      </a:lnTo>
                      <a:lnTo>
                        <a:pt x="9959" y="3248"/>
                      </a:lnTo>
                      <a:lnTo>
                        <a:pt x="9959" y="3246"/>
                      </a:lnTo>
                      <a:lnTo>
                        <a:pt x="9959" y="3243"/>
                      </a:lnTo>
                      <a:lnTo>
                        <a:pt x="9959" y="3239"/>
                      </a:lnTo>
                      <a:lnTo>
                        <a:pt x="9959" y="3234"/>
                      </a:lnTo>
                      <a:lnTo>
                        <a:pt x="9959" y="3234"/>
                      </a:lnTo>
                      <a:lnTo>
                        <a:pt x="9959" y="3228"/>
                      </a:lnTo>
                      <a:lnTo>
                        <a:pt x="9958" y="3228"/>
                      </a:lnTo>
                      <a:lnTo>
                        <a:pt x="9958" y="3222"/>
                      </a:lnTo>
                      <a:lnTo>
                        <a:pt x="9958" y="3222"/>
                      </a:lnTo>
                      <a:lnTo>
                        <a:pt x="9958" y="3214"/>
                      </a:lnTo>
                      <a:lnTo>
                        <a:pt x="9958" y="3214"/>
                      </a:lnTo>
                      <a:lnTo>
                        <a:pt x="9957" y="3205"/>
                      </a:lnTo>
                      <a:lnTo>
                        <a:pt x="9957" y="3205"/>
                      </a:lnTo>
                      <a:lnTo>
                        <a:pt x="9955" y="3168"/>
                      </a:lnTo>
                      <a:lnTo>
                        <a:pt x="9952" y="3122"/>
                      </a:lnTo>
                      <a:lnTo>
                        <a:pt x="9947" y="3068"/>
                      </a:lnTo>
                      <a:lnTo>
                        <a:pt x="9941" y="3007"/>
                      </a:lnTo>
                      <a:lnTo>
                        <a:pt x="9934" y="2940"/>
                      </a:lnTo>
                      <a:lnTo>
                        <a:pt x="9924" y="2868"/>
                      </a:lnTo>
                      <a:lnTo>
                        <a:pt x="9913" y="2793"/>
                      </a:lnTo>
                      <a:lnTo>
                        <a:pt x="9900" y="2714"/>
                      </a:lnTo>
                      <a:lnTo>
                        <a:pt x="9892" y="2673"/>
                      </a:lnTo>
                      <a:lnTo>
                        <a:pt x="9884" y="2634"/>
                      </a:lnTo>
                      <a:lnTo>
                        <a:pt x="9875" y="2593"/>
                      </a:lnTo>
                      <a:lnTo>
                        <a:pt x="9865" y="2553"/>
                      </a:lnTo>
                      <a:lnTo>
                        <a:pt x="9856" y="2513"/>
                      </a:lnTo>
                      <a:lnTo>
                        <a:pt x="9845" y="2473"/>
                      </a:lnTo>
                      <a:lnTo>
                        <a:pt x="9834" y="2434"/>
                      </a:lnTo>
                      <a:lnTo>
                        <a:pt x="9821" y="2395"/>
                      </a:lnTo>
                      <a:lnTo>
                        <a:pt x="9809" y="2357"/>
                      </a:lnTo>
                      <a:lnTo>
                        <a:pt x="9795" y="2320"/>
                      </a:lnTo>
                      <a:lnTo>
                        <a:pt x="9780" y="2283"/>
                      </a:lnTo>
                      <a:lnTo>
                        <a:pt x="9765" y="2249"/>
                      </a:lnTo>
                      <a:lnTo>
                        <a:pt x="9750" y="2215"/>
                      </a:lnTo>
                      <a:lnTo>
                        <a:pt x="9732" y="2183"/>
                      </a:lnTo>
                      <a:lnTo>
                        <a:pt x="9715" y="2152"/>
                      </a:lnTo>
                      <a:lnTo>
                        <a:pt x="9697" y="2124"/>
                      </a:lnTo>
                      <a:close/>
                      <a:moveTo>
                        <a:pt x="8401" y="1724"/>
                      </a:moveTo>
                      <a:lnTo>
                        <a:pt x="8453" y="1721"/>
                      </a:lnTo>
                      <a:lnTo>
                        <a:pt x="8504" y="1711"/>
                      </a:lnTo>
                      <a:lnTo>
                        <a:pt x="8553" y="1696"/>
                      </a:lnTo>
                      <a:lnTo>
                        <a:pt x="8599" y="1675"/>
                      </a:lnTo>
                      <a:lnTo>
                        <a:pt x="8643" y="1647"/>
                      </a:lnTo>
                      <a:lnTo>
                        <a:pt x="8686" y="1616"/>
                      </a:lnTo>
                      <a:lnTo>
                        <a:pt x="8727" y="1580"/>
                      </a:lnTo>
                      <a:lnTo>
                        <a:pt x="8765" y="1539"/>
                      </a:lnTo>
                      <a:lnTo>
                        <a:pt x="8802" y="1494"/>
                      </a:lnTo>
                      <a:lnTo>
                        <a:pt x="8835" y="1448"/>
                      </a:lnTo>
                      <a:lnTo>
                        <a:pt x="8868" y="1397"/>
                      </a:lnTo>
                      <a:lnTo>
                        <a:pt x="8896" y="1343"/>
                      </a:lnTo>
                      <a:lnTo>
                        <a:pt x="8924" y="1287"/>
                      </a:lnTo>
                      <a:lnTo>
                        <a:pt x="8950" y="1229"/>
                      </a:lnTo>
                      <a:lnTo>
                        <a:pt x="8972" y="1169"/>
                      </a:lnTo>
                      <a:lnTo>
                        <a:pt x="8991" y="1108"/>
                      </a:lnTo>
                      <a:lnTo>
                        <a:pt x="9009" y="1046"/>
                      </a:lnTo>
                      <a:lnTo>
                        <a:pt x="9024" y="983"/>
                      </a:lnTo>
                      <a:lnTo>
                        <a:pt x="9037" y="921"/>
                      </a:lnTo>
                      <a:lnTo>
                        <a:pt x="9047" y="859"/>
                      </a:lnTo>
                      <a:lnTo>
                        <a:pt x="9055" y="797"/>
                      </a:lnTo>
                      <a:lnTo>
                        <a:pt x="9059" y="736"/>
                      </a:lnTo>
                      <a:lnTo>
                        <a:pt x="9061" y="676"/>
                      </a:lnTo>
                      <a:lnTo>
                        <a:pt x="9060" y="618"/>
                      </a:lnTo>
                      <a:lnTo>
                        <a:pt x="9057" y="562"/>
                      </a:lnTo>
                      <a:lnTo>
                        <a:pt x="9050" y="508"/>
                      </a:lnTo>
                      <a:lnTo>
                        <a:pt x="9040" y="457"/>
                      </a:lnTo>
                      <a:lnTo>
                        <a:pt x="9028" y="409"/>
                      </a:lnTo>
                      <a:lnTo>
                        <a:pt x="9013" y="365"/>
                      </a:lnTo>
                      <a:lnTo>
                        <a:pt x="8995" y="325"/>
                      </a:lnTo>
                      <a:lnTo>
                        <a:pt x="8974" y="288"/>
                      </a:lnTo>
                      <a:lnTo>
                        <a:pt x="8950" y="256"/>
                      </a:lnTo>
                      <a:lnTo>
                        <a:pt x="8941" y="246"/>
                      </a:lnTo>
                      <a:lnTo>
                        <a:pt x="8926" y="230"/>
                      </a:lnTo>
                      <a:lnTo>
                        <a:pt x="8916" y="220"/>
                      </a:lnTo>
                      <a:lnTo>
                        <a:pt x="8904" y="209"/>
                      </a:lnTo>
                      <a:lnTo>
                        <a:pt x="8889" y="196"/>
                      </a:lnTo>
                      <a:lnTo>
                        <a:pt x="8873" y="184"/>
                      </a:lnTo>
                      <a:lnTo>
                        <a:pt x="8855" y="171"/>
                      </a:lnTo>
                      <a:lnTo>
                        <a:pt x="8834" y="158"/>
                      </a:lnTo>
                      <a:lnTo>
                        <a:pt x="8812" y="144"/>
                      </a:lnTo>
                      <a:lnTo>
                        <a:pt x="8788" y="131"/>
                      </a:lnTo>
                      <a:lnTo>
                        <a:pt x="8762" y="118"/>
                      </a:lnTo>
                      <a:lnTo>
                        <a:pt x="8733" y="106"/>
                      </a:lnTo>
                      <a:lnTo>
                        <a:pt x="8702" y="94"/>
                      </a:lnTo>
                      <a:lnTo>
                        <a:pt x="8669" y="84"/>
                      </a:lnTo>
                      <a:lnTo>
                        <a:pt x="8581" y="54"/>
                      </a:lnTo>
                      <a:lnTo>
                        <a:pt x="8530" y="39"/>
                      </a:lnTo>
                      <a:lnTo>
                        <a:pt x="8484" y="27"/>
                      </a:lnTo>
                      <a:lnTo>
                        <a:pt x="8444" y="18"/>
                      </a:lnTo>
                      <a:lnTo>
                        <a:pt x="8411" y="11"/>
                      </a:lnTo>
                      <a:lnTo>
                        <a:pt x="8383" y="6"/>
                      </a:lnTo>
                      <a:lnTo>
                        <a:pt x="8363" y="3"/>
                      </a:lnTo>
                      <a:lnTo>
                        <a:pt x="8349" y="1"/>
                      </a:lnTo>
                      <a:lnTo>
                        <a:pt x="8344" y="0"/>
                      </a:lnTo>
                      <a:lnTo>
                        <a:pt x="8334" y="0"/>
                      </a:lnTo>
                      <a:lnTo>
                        <a:pt x="8324" y="2"/>
                      </a:lnTo>
                      <a:lnTo>
                        <a:pt x="8319" y="3"/>
                      </a:lnTo>
                      <a:lnTo>
                        <a:pt x="8310" y="5"/>
                      </a:lnTo>
                      <a:lnTo>
                        <a:pt x="8299" y="6"/>
                      </a:lnTo>
                      <a:lnTo>
                        <a:pt x="8289" y="6"/>
                      </a:lnTo>
                      <a:lnTo>
                        <a:pt x="8276" y="5"/>
                      </a:lnTo>
                      <a:lnTo>
                        <a:pt x="8262" y="6"/>
                      </a:lnTo>
                      <a:lnTo>
                        <a:pt x="8246" y="8"/>
                      </a:lnTo>
                      <a:lnTo>
                        <a:pt x="8233" y="11"/>
                      </a:lnTo>
                      <a:lnTo>
                        <a:pt x="8209" y="17"/>
                      </a:lnTo>
                      <a:lnTo>
                        <a:pt x="8195" y="22"/>
                      </a:lnTo>
                      <a:lnTo>
                        <a:pt x="8179" y="28"/>
                      </a:lnTo>
                      <a:lnTo>
                        <a:pt x="8143" y="46"/>
                      </a:lnTo>
                      <a:lnTo>
                        <a:pt x="8120" y="59"/>
                      </a:lnTo>
                      <a:lnTo>
                        <a:pt x="8093" y="74"/>
                      </a:lnTo>
                      <a:lnTo>
                        <a:pt x="8065" y="92"/>
                      </a:lnTo>
                      <a:lnTo>
                        <a:pt x="8035" y="114"/>
                      </a:lnTo>
                      <a:lnTo>
                        <a:pt x="8019" y="125"/>
                      </a:lnTo>
                      <a:lnTo>
                        <a:pt x="8003" y="137"/>
                      </a:lnTo>
                      <a:lnTo>
                        <a:pt x="7988" y="150"/>
                      </a:lnTo>
                      <a:lnTo>
                        <a:pt x="7973" y="165"/>
                      </a:lnTo>
                      <a:lnTo>
                        <a:pt x="7957" y="180"/>
                      </a:lnTo>
                      <a:lnTo>
                        <a:pt x="7942" y="195"/>
                      </a:lnTo>
                      <a:lnTo>
                        <a:pt x="7927" y="212"/>
                      </a:lnTo>
                      <a:lnTo>
                        <a:pt x="7913" y="229"/>
                      </a:lnTo>
                      <a:lnTo>
                        <a:pt x="7899" y="247"/>
                      </a:lnTo>
                      <a:lnTo>
                        <a:pt x="7885" y="266"/>
                      </a:lnTo>
                      <a:lnTo>
                        <a:pt x="7873" y="285"/>
                      </a:lnTo>
                      <a:lnTo>
                        <a:pt x="7860" y="305"/>
                      </a:lnTo>
                      <a:lnTo>
                        <a:pt x="7849" y="327"/>
                      </a:lnTo>
                      <a:lnTo>
                        <a:pt x="7839" y="349"/>
                      </a:lnTo>
                      <a:lnTo>
                        <a:pt x="7829" y="371"/>
                      </a:lnTo>
                      <a:lnTo>
                        <a:pt x="7821" y="396"/>
                      </a:lnTo>
                      <a:lnTo>
                        <a:pt x="7808" y="430"/>
                      </a:lnTo>
                      <a:lnTo>
                        <a:pt x="7797" y="468"/>
                      </a:lnTo>
                      <a:lnTo>
                        <a:pt x="7789" y="509"/>
                      </a:lnTo>
                      <a:lnTo>
                        <a:pt x="7783" y="553"/>
                      </a:lnTo>
                      <a:lnTo>
                        <a:pt x="7780" y="599"/>
                      </a:lnTo>
                      <a:lnTo>
                        <a:pt x="7778" y="647"/>
                      </a:lnTo>
                      <a:lnTo>
                        <a:pt x="7778" y="698"/>
                      </a:lnTo>
                      <a:lnTo>
                        <a:pt x="7781" y="750"/>
                      </a:lnTo>
                      <a:lnTo>
                        <a:pt x="7785" y="803"/>
                      </a:lnTo>
                      <a:lnTo>
                        <a:pt x="7791" y="858"/>
                      </a:lnTo>
                      <a:lnTo>
                        <a:pt x="7800" y="913"/>
                      </a:lnTo>
                      <a:lnTo>
                        <a:pt x="7810" y="969"/>
                      </a:lnTo>
                      <a:lnTo>
                        <a:pt x="7823" y="1025"/>
                      </a:lnTo>
                      <a:lnTo>
                        <a:pt x="7837" y="1081"/>
                      </a:lnTo>
                      <a:lnTo>
                        <a:pt x="7853" y="1136"/>
                      </a:lnTo>
                      <a:lnTo>
                        <a:pt x="7872" y="1191"/>
                      </a:lnTo>
                      <a:lnTo>
                        <a:pt x="7892" y="1244"/>
                      </a:lnTo>
                      <a:lnTo>
                        <a:pt x="7914" y="1297"/>
                      </a:lnTo>
                      <a:lnTo>
                        <a:pt x="7937" y="1347"/>
                      </a:lnTo>
                      <a:lnTo>
                        <a:pt x="7963" y="1396"/>
                      </a:lnTo>
                      <a:lnTo>
                        <a:pt x="7990" y="1442"/>
                      </a:lnTo>
                      <a:lnTo>
                        <a:pt x="8019" y="1486"/>
                      </a:lnTo>
                      <a:lnTo>
                        <a:pt x="8050" y="1528"/>
                      </a:lnTo>
                      <a:lnTo>
                        <a:pt x="8082" y="1566"/>
                      </a:lnTo>
                      <a:lnTo>
                        <a:pt x="8117" y="1600"/>
                      </a:lnTo>
                      <a:lnTo>
                        <a:pt x="8152" y="1632"/>
                      </a:lnTo>
                      <a:lnTo>
                        <a:pt x="8190" y="1658"/>
                      </a:lnTo>
                      <a:lnTo>
                        <a:pt x="8229" y="1682"/>
                      </a:lnTo>
                      <a:lnTo>
                        <a:pt x="8270" y="1700"/>
                      </a:lnTo>
                      <a:lnTo>
                        <a:pt x="8312" y="1713"/>
                      </a:lnTo>
                      <a:lnTo>
                        <a:pt x="8356" y="1721"/>
                      </a:lnTo>
                      <a:lnTo>
                        <a:pt x="8401" y="1724"/>
                      </a:lnTo>
                      <a:close/>
                      <a:moveTo>
                        <a:pt x="1559" y="1724"/>
                      </a:moveTo>
                      <a:lnTo>
                        <a:pt x="1507" y="1721"/>
                      </a:lnTo>
                      <a:lnTo>
                        <a:pt x="1455" y="1711"/>
                      </a:lnTo>
                      <a:lnTo>
                        <a:pt x="1408" y="1696"/>
                      </a:lnTo>
                      <a:lnTo>
                        <a:pt x="1361" y="1675"/>
                      </a:lnTo>
                      <a:lnTo>
                        <a:pt x="1316" y="1647"/>
                      </a:lnTo>
                      <a:lnTo>
                        <a:pt x="1273" y="1616"/>
                      </a:lnTo>
                      <a:lnTo>
                        <a:pt x="1233" y="1580"/>
                      </a:lnTo>
                      <a:lnTo>
                        <a:pt x="1194" y="1539"/>
                      </a:lnTo>
                      <a:lnTo>
                        <a:pt x="1158" y="1494"/>
                      </a:lnTo>
                      <a:lnTo>
                        <a:pt x="1124" y="1448"/>
                      </a:lnTo>
                      <a:lnTo>
                        <a:pt x="1092" y="1397"/>
                      </a:lnTo>
                      <a:lnTo>
                        <a:pt x="1063" y="1343"/>
                      </a:lnTo>
                      <a:lnTo>
                        <a:pt x="1035" y="1287"/>
                      </a:lnTo>
                      <a:lnTo>
                        <a:pt x="1010" y="1229"/>
                      </a:lnTo>
                      <a:lnTo>
                        <a:pt x="988" y="1169"/>
                      </a:lnTo>
                      <a:lnTo>
                        <a:pt x="968" y="1108"/>
                      </a:lnTo>
                      <a:lnTo>
                        <a:pt x="950" y="1046"/>
                      </a:lnTo>
                      <a:lnTo>
                        <a:pt x="935" y="983"/>
                      </a:lnTo>
                      <a:lnTo>
                        <a:pt x="923" y="921"/>
                      </a:lnTo>
                      <a:lnTo>
                        <a:pt x="912" y="859"/>
                      </a:lnTo>
                      <a:lnTo>
                        <a:pt x="905" y="797"/>
                      </a:lnTo>
                      <a:lnTo>
                        <a:pt x="901" y="736"/>
                      </a:lnTo>
                      <a:lnTo>
                        <a:pt x="899" y="676"/>
                      </a:lnTo>
                      <a:lnTo>
                        <a:pt x="899" y="618"/>
                      </a:lnTo>
                      <a:lnTo>
                        <a:pt x="903" y="562"/>
                      </a:lnTo>
                      <a:lnTo>
                        <a:pt x="909" y="508"/>
                      </a:lnTo>
                      <a:lnTo>
                        <a:pt x="919" y="457"/>
                      </a:lnTo>
                      <a:lnTo>
                        <a:pt x="931" y="409"/>
                      </a:lnTo>
                      <a:lnTo>
                        <a:pt x="946" y="365"/>
                      </a:lnTo>
                      <a:lnTo>
                        <a:pt x="965" y="325"/>
                      </a:lnTo>
                      <a:lnTo>
                        <a:pt x="986" y="288"/>
                      </a:lnTo>
                      <a:lnTo>
                        <a:pt x="1009" y="256"/>
                      </a:lnTo>
                      <a:lnTo>
                        <a:pt x="1019" y="246"/>
                      </a:lnTo>
                      <a:lnTo>
                        <a:pt x="1034" y="230"/>
                      </a:lnTo>
                      <a:lnTo>
                        <a:pt x="1044" y="220"/>
                      </a:lnTo>
                      <a:lnTo>
                        <a:pt x="1056" y="209"/>
                      </a:lnTo>
                      <a:lnTo>
                        <a:pt x="1071" y="196"/>
                      </a:lnTo>
                      <a:lnTo>
                        <a:pt x="1087" y="184"/>
                      </a:lnTo>
                      <a:lnTo>
                        <a:pt x="1105" y="171"/>
                      </a:lnTo>
                      <a:lnTo>
                        <a:pt x="1125" y="158"/>
                      </a:lnTo>
                      <a:lnTo>
                        <a:pt x="1147" y="144"/>
                      </a:lnTo>
                      <a:lnTo>
                        <a:pt x="1172" y="131"/>
                      </a:lnTo>
                      <a:lnTo>
                        <a:pt x="1198" y="118"/>
                      </a:lnTo>
                      <a:lnTo>
                        <a:pt x="1227" y="106"/>
                      </a:lnTo>
                      <a:lnTo>
                        <a:pt x="1257" y="94"/>
                      </a:lnTo>
                      <a:lnTo>
                        <a:pt x="1291" y="84"/>
                      </a:lnTo>
                      <a:lnTo>
                        <a:pt x="1378" y="54"/>
                      </a:lnTo>
                      <a:lnTo>
                        <a:pt x="1429" y="39"/>
                      </a:lnTo>
                      <a:lnTo>
                        <a:pt x="1475" y="27"/>
                      </a:lnTo>
                      <a:lnTo>
                        <a:pt x="1515" y="18"/>
                      </a:lnTo>
                      <a:lnTo>
                        <a:pt x="1549" y="11"/>
                      </a:lnTo>
                      <a:lnTo>
                        <a:pt x="1576" y="6"/>
                      </a:lnTo>
                      <a:lnTo>
                        <a:pt x="1597" y="3"/>
                      </a:lnTo>
                      <a:lnTo>
                        <a:pt x="1611" y="1"/>
                      </a:lnTo>
                      <a:lnTo>
                        <a:pt x="1616" y="0"/>
                      </a:lnTo>
                      <a:lnTo>
                        <a:pt x="1625" y="0"/>
                      </a:lnTo>
                      <a:lnTo>
                        <a:pt x="1635" y="2"/>
                      </a:lnTo>
                      <a:lnTo>
                        <a:pt x="1641" y="3"/>
                      </a:lnTo>
                      <a:lnTo>
                        <a:pt x="1649" y="5"/>
                      </a:lnTo>
                      <a:lnTo>
                        <a:pt x="1660" y="6"/>
                      </a:lnTo>
                      <a:lnTo>
                        <a:pt x="1670" y="6"/>
                      </a:lnTo>
                      <a:lnTo>
                        <a:pt x="1684" y="5"/>
                      </a:lnTo>
                      <a:lnTo>
                        <a:pt x="1698" y="6"/>
                      </a:lnTo>
                      <a:lnTo>
                        <a:pt x="1713" y="8"/>
                      </a:lnTo>
                      <a:lnTo>
                        <a:pt x="1727" y="11"/>
                      </a:lnTo>
                      <a:lnTo>
                        <a:pt x="1751" y="17"/>
                      </a:lnTo>
                      <a:lnTo>
                        <a:pt x="1765" y="22"/>
                      </a:lnTo>
                      <a:lnTo>
                        <a:pt x="1781" y="28"/>
                      </a:lnTo>
                      <a:lnTo>
                        <a:pt x="1817" y="46"/>
                      </a:lnTo>
                      <a:lnTo>
                        <a:pt x="1840" y="59"/>
                      </a:lnTo>
                      <a:lnTo>
                        <a:pt x="1867" y="74"/>
                      </a:lnTo>
                      <a:lnTo>
                        <a:pt x="1895" y="92"/>
                      </a:lnTo>
                      <a:lnTo>
                        <a:pt x="1925" y="114"/>
                      </a:lnTo>
                      <a:lnTo>
                        <a:pt x="1940" y="125"/>
                      </a:lnTo>
                      <a:lnTo>
                        <a:pt x="1956" y="137"/>
                      </a:lnTo>
                      <a:lnTo>
                        <a:pt x="1972" y="150"/>
                      </a:lnTo>
                      <a:lnTo>
                        <a:pt x="1987" y="165"/>
                      </a:lnTo>
                      <a:lnTo>
                        <a:pt x="2003" y="180"/>
                      </a:lnTo>
                      <a:lnTo>
                        <a:pt x="2018" y="195"/>
                      </a:lnTo>
                      <a:lnTo>
                        <a:pt x="2032" y="212"/>
                      </a:lnTo>
                      <a:lnTo>
                        <a:pt x="2046" y="229"/>
                      </a:lnTo>
                      <a:lnTo>
                        <a:pt x="2061" y="247"/>
                      </a:lnTo>
                      <a:lnTo>
                        <a:pt x="2074" y="266"/>
                      </a:lnTo>
                      <a:lnTo>
                        <a:pt x="2087" y="285"/>
                      </a:lnTo>
                      <a:lnTo>
                        <a:pt x="2100" y="305"/>
                      </a:lnTo>
                      <a:lnTo>
                        <a:pt x="2111" y="327"/>
                      </a:lnTo>
                      <a:lnTo>
                        <a:pt x="2121" y="349"/>
                      </a:lnTo>
                      <a:lnTo>
                        <a:pt x="2130" y="371"/>
                      </a:lnTo>
                      <a:lnTo>
                        <a:pt x="2138" y="396"/>
                      </a:lnTo>
                      <a:lnTo>
                        <a:pt x="2152" y="430"/>
                      </a:lnTo>
                      <a:lnTo>
                        <a:pt x="2162" y="468"/>
                      </a:lnTo>
                      <a:lnTo>
                        <a:pt x="2170" y="509"/>
                      </a:lnTo>
                      <a:lnTo>
                        <a:pt x="2176" y="553"/>
                      </a:lnTo>
                      <a:lnTo>
                        <a:pt x="2180" y="599"/>
                      </a:lnTo>
                      <a:lnTo>
                        <a:pt x="2182" y="647"/>
                      </a:lnTo>
                      <a:lnTo>
                        <a:pt x="2181" y="698"/>
                      </a:lnTo>
                      <a:lnTo>
                        <a:pt x="2179" y="750"/>
                      </a:lnTo>
                      <a:lnTo>
                        <a:pt x="2175" y="803"/>
                      </a:lnTo>
                      <a:lnTo>
                        <a:pt x="2168" y="858"/>
                      </a:lnTo>
                      <a:lnTo>
                        <a:pt x="2160" y="913"/>
                      </a:lnTo>
                      <a:lnTo>
                        <a:pt x="2150" y="969"/>
                      </a:lnTo>
                      <a:lnTo>
                        <a:pt x="2137" y="1025"/>
                      </a:lnTo>
                      <a:lnTo>
                        <a:pt x="2122" y="1081"/>
                      </a:lnTo>
                      <a:lnTo>
                        <a:pt x="2107" y="1136"/>
                      </a:lnTo>
                      <a:lnTo>
                        <a:pt x="2088" y="1191"/>
                      </a:lnTo>
                      <a:lnTo>
                        <a:pt x="2068" y="1244"/>
                      </a:lnTo>
                      <a:lnTo>
                        <a:pt x="2046" y="1297"/>
                      </a:lnTo>
                      <a:lnTo>
                        <a:pt x="2022" y="1347"/>
                      </a:lnTo>
                      <a:lnTo>
                        <a:pt x="1996" y="1396"/>
                      </a:lnTo>
                      <a:lnTo>
                        <a:pt x="1970" y="1442"/>
                      </a:lnTo>
                      <a:lnTo>
                        <a:pt x="1940" y="1486"/>
                      </a:lnTo>
                      <a:lnTo>
                        <a:pt x="1910" y="1528"/>
                      </a:lnTo>
                      <a:lnTo>
                        <a:pt x="1877" y="1566"/>
                      </a:lnTo>
                      <a:lnTo>
                        <a:pt x="1843" y="1600"/>
                      </a:lnTo>
                      <a:lnTo>
                        <a:pt x="1807" y="1632"/>
                      </a:lnTo>
                      <a:lnTo>
                        <a:pt x="1770" y="1658"/>
                      </a:lnTo>
                      <a:lnTo>
                        <a:pt x="1730" y="1682"/>
                      </a:lnTo>
                      <a:lnTo>
                        <a:pt x="1690" y="1700"/>
                      </a:lnTo>
                      <a:lnTo>
                        <a:pt x="1647" y="1713"/>
                      </a:lnTo>
                      <a:lnTo>
                        <a:pt x="1603" y="1721"/>
                      </a:lnTo>
                      <a:lnTo>
                        <a:pt x="1559" y="172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49" name="Freeform 44"/>
                <p:cNvSpPr>
                  <a:spLocks noEditPoints="1"/>
                </p:cNvSpPr>
                <p:nvPr/>
              </p:nvSpPr>
              <p:spPr bwMode="auto">
                <a:xfrm>
                  <a:off x="4511" y="959"/>
                  <a:ext cx="85" cy="104"/>
                </a:xfrm>
                <a:custGeom>
                  <a:avLst/>
                  <a:gdLst>
                    <a:gd name="T0" fmla="*/ 3444 w 3853"/>
                    <a:gd name="T1" fmla="*/ 2584 h 4666"/>
                    <a:gd name="T2" fmla="*/ 3258 w 3853"/>
                    <a:gd name="T3" fmla="*/ 2478 h 4666"/>
                    <a:gd name="T4" fmla="*/ 3239 w 3853"/>
                    <a:gd name="T5" fmla="*/ 2471 h 4666"/>
                    <a:gd name="T6" fmla="*/ 3067 w 3853"/>
                    <a:gd name="T7" fmla="*/ 2401 h 4666"/>
                    <a:gd name="T8" fmla="*/ 2801 w 3853"/>
                    <a:gd name="T9" fmla="*/ 2302 h 4666"/>
                    <a:gd name="T10" fmla="*/ 2597 w 3853"/>
                    <a:gd name="T11" fmla="*/ 2189 h 4666"/>
                    <a:gd name="T12" fmla="*/ 2513 w 3853"/>
                    <a:gd name="T13" fmla="*/ 2093 h 4666"/>
                    <a:gd name="T14" fmla="*/ 2433 w 3853"/>
                    <a:gd name="T15" fmla="*/ 2186 h 4666"/>
                    <a:gd name="T16" fmla="*/ 2305 w 3853"/>
                    <a:gd name="T17" fmla="*/ 2284 h 4666"/>
                    <a:gd name="T18" fmla="*/ 2156 w 3853"/>
                    <a:gd name="T19" fmla="*/ 2352 h 4666"/>
                    <a:gd name="T20" fmla="*/ 1991 w 3853"/>
                    <a:gd name="T21" fmla="*/ 2384 h 4666"/>
                    <a:gd name="T22" fmla="*/ 1820 w 3853"/>
                    <a:gd name="T23" fmla="*/ 2380 h 4666"/>
                    <a:gd name="T24" fmla="*/ 1659 w 3853"/>
                    <a:gd name="T25" fmla="*/ 2338 h 4666"/>
                    <a:gd name="T26" fmla="*/ 1515 w 3853"/>
                    <a:gd name="T27" fmla="*/ 2262 h 4666"/>
                    <a:gd name="T28" fmla="*/ 1391 w 3853"/>
                    <a:gd name="T29" fmla="*/ 2157 h 4666"/>
                    <a:gd name="T30" fmla="*/ 1329 w 3853"/>
                    <a:gd name="T31" fmla="*/ 2118 h 4666"/>
                    <a:gd name="T32" fmla="*/ 1223 w 3853"/>
                    <a:gd name="T33" fmla="*/ 2213 h 4666"/>
                    <a:gd name="T34" fmla="*/ 1002 w 3853"/>
                    <a:gd name="T35" fmla="*/ 2322 h 4666"/>
                    <a:gd name="T36" fmla="*/ 659 w 3853"/>
                    <a:gd name="T37" fmla="*/ 2457 h 4666"/>
                    <a:gd name="T38" fmla="*/ 615 w 3853"/>
                    <a:gd name="T39" fmla="*/ 2471 h 4666"/>
                    <a:gd name="T40" fmla="*/ 605 w 3853"/>
                    <a:gd name="T41" fmla="*/ 2474 h 4666"/>
                    <a:gd name="T42" fmla="*/ 429 w 3853"/>
                    <a:gd name="T43" fmla="*/ 2570 h 4666"/>
                    <a:gd name="T44" fmla="*/ 330 w 3853"/>
                    <a:gd name="T45" fmla="*/ 2661 h 4666"/>
                    <a:gd name="T46" fmla="*/ 173 w 3853"/>
                    <a:gd name="T47" fmla="*/ 3002 h 4666"/>
                    <a:gd name="T48" fmla="*/ 75 w 3853"/>
                    <a:gd name="T49" fmla="*/ 3401 h 4666"/>
                    <a:gd name="T50" fmla="*/ 10 w 3853"/>
                    <a:gd name="T51" fmla="*/ 3914 h 4666"/>
                    <a:gd name="T52" fmla="*/ 2 w 3853"/>
                    <a:gd name="T53" fmla="*/ 4046 h 4666"/>
                    <a:gd name="T54" fmla="*/ 0 w 3853"/>
                    <a:gd name="T55" fmla="*/ 4070 h 4666"/>
                    <a:gd name="T56" fmla="*/ 14 w 3853"/>
                    <a:gd name="T57" fmla="*/ 4190 h 4666"/>
                    <a:gd name="T58" fmla="*/ 77 w 3853"/>
                    <a:gd name="T59" fmla="*/ 4304 h 4666"/>
                    <a:gd name="T60" fmla="*/ 626 w 3853"/>
                    <a:gd name="T61" fmla="*/ 4500 h 4666"/>
                    <a:gd name="T62" fmla="*/ 1562 w 3853"/>
                    <a:gd name="T63" fmla="*/ 4654 h 4666"/>
                    <a:gd name="T64" fmla="*/ 2533 w 3853"/>
                    <a:gd name="T65" fmla="*/ 4631 h 4666"/>
                    <a:gd name="T66" fmla="*/ 3446 w 3853"/>
                    <a:gd name="T67" fmla="*/ 4435 h 4666"/>
                    <a:gd name="T68" fmla="*/ 3794 w 3853"/>
                    <a:gd name="T69" fmla="*/ 4287 h 4666"/>
                    <a:gd name="T70" fmla="*/ 3846 w 3853"/>
                    <a:gd name="T71" fmla="*/ 4161 h 4666"/>
                    <a:gd name="T72" fmla="*/ 3853 w 3853"/>
                    <a:gd name="T73" fmla="*/ 4067 h 4666"/>
                    <a:gd name="T74" fmla="*/ 3852 w 3853"/>
                    <a:gd name="T75" fmla="*/ 4038 h 4666"/>
                    <a:gd name="T76" fmla="*/ 3831 w 3853"/>
                    <a:gd name="T77" fmla="*/ 3770 h 4666"/>
                    <a:gd name="T78" fmla="*/ 3758 w 3853"/>
                    <a:gd name="T79" fmla="*/ 3301 h 4666"/>
                    <a:gd name="T80" fmla="*/ 3648 w 3853"/>
                    <a:gd name="T81" fmla="*/ 2908 h 4666"/>
                    <a:gd name="T82" fmla="*/ 1966 w 3853"/>
                    <a:gd name="T83" fmla="*/ 2157 h 4666"/>
                    <a:gd name="T84" fmla="*/ 2403 w 3853"/>
                    <a:gd name="T85" fmla="*/ 1874 h 4666"/>
                    <a:gd name="T86" fmla="*/ 2663 w 3853"/>
                    <a:gd name="T87" fmla="*/ 1311 h 4666"/>
                    <a:gd name="T88" fmla="*/ 2721 w 3853"/>
                    <a:gd name="T89" fmla="*/ 705 h 4666"/>
                    <a:gd name="T90" fmla="*/ 2577 w 3853"/>
                    <a:gd name="T91" fmla="*/ 309 h 4666"/>
                    <a:gd name="T92" fmla="*/ 2416 w 3853"/>
                    <a:gd name="T93" fmla="*/ 181 h 4666"/>
                    <a:gd name="T94" fmla="*/ 2126 w 3853"/>
                    <a:gd name="T95" fmla="*/ 69 h 4666"/>
                    <a:gd name="T96" fmla="*/ 1829 w 3853"/>
                    <a:gd name="T97" fmla="*/ 0 h 4666"/>
                    <a:gd name="T98" fmla="*/ 1761 w 3853"/>
                    <a:gd name="T99" fmla="*/ 8 h 4666"/>
                    <a:gd name="T100" fmla="*/ 1642 w 3853"/>
                    <a:gd name="T101" fmla="*/ 28 h 4666"/>
                    <a:gd name="T102" fmla="*/ 1402 w 3853"/>
                    <a:gd name="T103" fmla="*/ 173 h 4666"/>
                    <a:gd name="T104" fmla="*/ 1254 w 3853"/>
                    <a:gd name="T105" fmla="*/ 334 h 4666"/>
                    <a:gd name="T106" fmla="*/ 1144 w 3853"/>
                    <a:gd name="T107" fmla="*/ 587 h 4666"/>
                    <a:gd name="T108" fmla="*/ 1136 w 3853"/>
                    <a:gd name="T109" fmla="*/ 1076 h 4666"/>
                    <a:gd name="T110" fmla="*/ 1290 w 3853"/>
                    <a:gd name="T111" fmla="*/ 1626 h 4666"/>
                    <a:gd name="T112" fmla="*/ 1589 w 3853"/>
                    <a:gd name="T113" fmla="*/ 2045 h 46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3853" h="4666">
                      <a:moveTo>
                        <a:pt x="3524" y="2661"/>
                      </a:moveTo>
                      <a:lnTo>
                        <a:pt x="3520" y="2656"/>
                      </a:lnTo>
                      <a:lnTo>
                        <a:pt x="3509" y="2643"/>
                      </a:lnTo>
                      <a:lnTo>
                        <a:pt x="3500" y="2634"/>
                      </a:lnTo>
                      <a:lnTo>
                        <a:pt x="3490" y="2624"/>
                      </a:lnTo>
                      <a:lnTo>
                        <a:pt x="3476" y="2611"/>
                      </a:lnTo>
                      <a:lnTo>
                        <a:pt x="3461" y="2598"/>
                      </a:lnTo>
                      <a:lnTo>
                        <a:pt x="3444" y="2584"/>
                      </a:lnTo>
                      <a:lnTo>
                        <a:pt x="3424" y="2570"/>
                      </a:lnTo>
                      <a:lnTo>
                        <a:pt x="3403" y="2554"/>
                      </a:lnTo>
                      <a:lnTo>
                        <a:pt x="3378" y="2539"/>
                      </a:lnTo>
                      <a:lnTo>
                        <a:pt x="3352" y="2523"/>
                      </a:lnTo>
                      <a:lnTo>
                        <a:pt x="3323" y="2508"/>
                      </a:lnTo>
                      <a:lnTo>
                        <a:pt x="3292" y="2492"/>
                      </a:lnTo>
                      <a:lnTo>
                        <a:pt x="3258" y="2478"/>
                      </a:lnTo>
                      <a:lnTo>
                        <a:pt x="3258" y="2478"/>
                      </a:lnTo>
                      <a:lnTo>
                        <a:pt x="3249" y="2474"/>
                      </a:lnTo>
                      <a:lnTo>
                        <a:pt x="3249" y="2474"/>
                      </a:lnTo>
                      <a:lnTo>
                        <a:pt x="3240" y="2471"/>
                      </a:lnTo>
                      <a:lnTo>
                        <a:pt x="3240" y="2471"/>
                      </a:lnTo>
                      <a:lnTo>
                        <a:pt x="3240" y="2471"/>
                      </a:lnTo>
                      <a:lnTo>
                        <a:pt x="3240" y="2471"/>
                      </a:lnTo>
                      <a:lnTo>
                        <a:pt x="3239" y="2471"/>
                      </a:lnTo>
                      <a:lnTo>
                        <a:pt x="3239" y="2471"/>
                      </a:lnTo>
                      <a:lnTo>
                        <a:pt x="3239" y="2471"/>
                      </a:lnTo>
                      <a:lnTo>
                        <a:pt x="3239" y="2471"/>
                      </a:lnTo>
                      <a:lnTo>
                        <a:pt x="3239" y="2470"/>
                      </a:lnTo>
                      <a:lnTo>
                        <a:pt x="3239" y="2470"/>
                      </a:lnTo>
                      <a:lnTo>
                        <a:pt x="3239" y="2470"/>
                      </a:lnTo>
                      <a:lnTo>
                        <a:pt x="3195" y="2457"/>
                      </a:lnTo>
                      <a:lnTo>
                        <a:pt x="3129" y="2427"/>
                      </a:lnTo>
                      <a:lnTo>
                        <a:pt x="3067" y="2401"/>
                      </a:lnTo>
                      <a:lnTo>
                        <a:pt x="3009" y="2377"/>
                      </a:lnTo>
                      <a:lnTo>
                        <a:pt x="2957" y="2358"/>
                      </a:lnTo>
                      <a:lnTo>
                        <a:pt x="2914" y="2343"/>
                      </a:lnTo>
                      <a:lnTo>
                        <a:pt x="2880" y="2331"/>
                      </a:lnTo>
                      <a:lnTo>
                        <a:pt x="2859" y="2324"/>
                      </a:lnTo>
                      <a:lnTo>
                        <a:pt x="2852" y="2322"/>
                      </a:lnTo>
                      <a:lnTo>
                        <a:pt x="2825" y="2311"/>
                      </a:lnTo>
                      <a:lnTo>
                        <a:pt x="2801" y="2302"/>
                      </a:lnTo>
                      <a:lnTo>
                        <a:pt x="2776" y="2292"/>
                      </a:lnTo>
                      <a:lnTo>
                        <a:pt x="2754" y="2283"/>
                      </a:lnTo>
                      <a:lnTo>
                        <a:pt x="2710" y="2260"/>
                      </a:lnTo>
                      <a:lnTo>
                        <a:pt x="2669" y="2237"/>
                      </a:lnTo>
                      <a:lnTo>
                        <a:pt x="2650" y="2225"/>
                      </a:lnTo>
                      <a:lnTo>
                        <a:pt x="2630" y="2213"/>
                      </a:lnTo>
                      <a:lnTo>
                        <a:pt x="2613" y="2201"/>
                      </a:lnTo>
                      <a:lnTo>
                        <a:pt x="2597" y="2189"/>
                      </a:lnTo>
                      <a:lnTo>
                        <a:pt x="2581" y="2177"/>
                      </a:lnTo>
                      <a:lnTo>
                        <a:pt x="2567" y="2165"/>
                      </a:lnTo>
                      <a:lnTo>
                        <a:pt x="2554" y="2153"/>
                      </a:lnTo>
                      <a:lnTo>
                        <a:pt x="2543" y="2141"/>
                      </a:lnTo>
                      <a:lnTo>
                        <a:pt x="2532" y="2129"/>
                      </a:lnTo>
                      <a:lnTo>
                        <a:pt x="2524" y="2118"/>
                      </a:lnTo>
                      <a:lnTo>
                        <a:pt x="2518" y="2105"/>
                      </a:lnTo>
                      <a:lnTo>
                        <a:pt x="2513" y="2093"/>
                      </a:lnTo>
                      <a:lnTo>
                        <a:pt x="2513" y="2095"/>
                      </a:lnTo>
                      <a:lnTo>
                        <a:pt x="2511" y="2092"/>
                      </a:lnTo>
                      <a:lnTo>
                        <a:pt x="2502" y="2112"/>
                      </a:lnTo>
                      <a:lnTo>
                        <a:pt x="2489" y="2127"/>
                      </a:lnTo>
                      <a:lnTo>
                        <a:pt x="2476" y="2142"/>
                      </a:lnTo>
                      <a:lnTo>
                        <a:pt x="2462" y="2157"/>
                      </a:lnTo>
                      <a:lnTo>
                        <a:pt x="2448" y="2172"/>
                      </a:lnTo>
                      <a:lnTo>
                        <a:pt x="2433" y="2186"/>
                      </a:lnTo>
                      <a:lnTo>
                        <a:pt x="2419" y="2199"/>
                      </a:lnTo>
                      <a:lnTo>
                        <a:pt x="2404" y="2213"/>
                      </a:lnTo>
                      <a:lnTo>
                        <a:pt x="2388" y="2226"/>
                      </a:lnTo>
                      <a:lnTo>
                        <a:pt x="2372" y="2238"/>
                      </a:lnTo>
                      <a:lnTo>
                        <a:pt x="2356" y="2250"/>
                      </a:lnTo>
                      <a:lnTo>
                        <a:pt x="2339" y="2262"/>
                      </a:lnTo>
                      <a:lnTo>
                        <a:pt x="2322" y="2273"/>
                      </a:lnTo>
                      <a:lnTo>
                        <a:pt x="2305" y="2284"/>
                      </a:lnTo>
                      <a:lnTo>
                        <a:pt x="2287" y="2294"/>
                      </a:lnTo>
                      <a:lnTo>
                        <a:pt x="2269" y="2304"/>
                      </a:lnTo>
                      <a:lnTo>
                        <a:pt x="2252" y="2313"/>
                      </a:lnTo>
                      <a:lnTo>
                        <a:pt x="2232" y="2321"/>
                      </a:lnTo>
                      <a:lnTo>
                        <a:pt x="2214" y="2329"/>
                      </a:lnTo>
                      <a:lnTo>
                        <a:pt x="2194" y="2338"/>
                      </a:lnTo>
                      <a:lnTo>
                        <a:pt x="2176" y="2345"/>
                      </a:lnTo>
                      <a:lnTo>
                        <a:pt x="2156" y="2352"/>
                      </a:lnTo>
                      <a:lnTo>
                        <a:pt x="2136" y="2358"/>
                      </a:lnTo>
                      <a:lnTo>
                        <a:pt x="2116" y="2363"/>
                      </a:lnTo>
                      <a:lnTo>
                        <a:pt x="2096" y="2368"/>
                      </a:lnTo>
                      <a:lnTo>
                        <a:pt x="2075" y="2372"/>
                      </a:lnTo>
                      <a:lnTo>
                        <a:pt x="2055" y="2376"/>
                      </a:lnTo>
                      <a:lnTo>
                        <a:pt x="2034" y="2380"/>
                      </a:lnTo>
                      <a:lnTo>
                        <a:pt x="2013" y="2382"/>
                      </a:lnTo>
                      <a:lnTo>
                        <a:pt x="1991" y="2384"/>
                      </a:lnTo>
                      <a:lnTo>
                        <a:pt x="1970" y="2386"/>
                      </a:lnTo>
                      <a:lnTo>
                        <a:pt x="1948" y="2387"/>
                      </a:lnTo>
                      <a:lnTo>
                        <a:pt x="1927" y="2387"/>
                      </a:lnTo>
                      <a:lnTo>
                        <a:pt x="1905" y="2387"/>
                      </a:lnTo>
                      <a:lnTo>
                        <a:pt x="1883" y="2386"/>
                      </a:lnTo>
                      <a:lnTo>
                        <a:pt x="1862" y="2384"/>
                      </a:lnTo>
                      <a:lnTo>
                        <a:pt x="1841" y="2382"/>
                      </a:lnTo>
                      <a:lnTo>
                        <a:pt x="1820" y="2380"/>
                      </a:lnTo>
                      <a:lnTo>
                        <a:pt x="1798" y="2376"/>
                      </a:lnTo>
                      <a:lnTo>
                        <a:pt x="1778" y="2372"/>
                      </a:lnTo>
                      <a:lnTo>
                        <a:pt x="1758" y="2368"/>
                      </a:lnTo>
                      <a:lnTo>
                        <a:pt x="1737" y="2363"/>
                      </a:lnTo>
                      <a:lnTo>
                        <a:pt x="1718" y="2358"/>
                      </a:lnTo>
                      <a:lnTo>
                        <a:pt x="1697" y="2352"/>
                      </a:lnTo>
                      <a:lnTo>
                        <a:pt x="1678" y="2345"/>
                      </a:lnTo>
                      <a:lnTo>
                        <a:pt x="1659" y="2338"/>
                      </a:lnTo>
                      <a:lnTo>
                        <a:pt x="1640" y="2329"/>
                      </a:lnTo>
                      <a:lnTo>
                        <a:pt x="1621" y="2321"/>
                      </a:lnTo>
                      <a:lnTo>
                        <a:pt x="1602" y="2313"/>
                      </a:lnTo>
                      <a:lnTo>
                        <a:pt x="1584" y="2304"/>
                      </a:lnTo>
                      <a:lnTo>
                        <a:pt x="1567" y="2294"/>
                      </a:lnTo>
                      <a:lnTo>
                        <a:pt x="1549" y="2284"/>
                      </a:lnTo>
                      <a:lnTo>
                        <a:pt x="1532" y="2273"/>
                      </a:lnTo>
                      <a:lnTo>
                        <a:pt x="1515" y="2262"/>
                      </a:lnTo>
                      <a:lnTo>
                        <a:pt x="1498" y="2250"/>
                      </a:lnTo>
                      <a:lnTo>
                        <a:pt x="1482" y="2238"/>
                      </a:lnTo>
                      <a:lnTo>
                        <a:pt x="1466" y="2226"/>
                      </a:lnTo>
                      <a:lnTo>
                        <a:pt x="1450" y="2213"/>
                      </a:lnTo>
                      <a:lnTo>
                        <a:pt x="1435" y="2199"/>
                      </a:lnTo>
                      <a:lnTo>
                        <a:pt x="1420" y="2186"/>
                      </a:lnTo>
                      <a:lnTo>
                        <a:pt x="1405" y="2172"/>
                      </a:lnTo>
                      <a:lnTo>
                        <a:pt x="1391" y="2157"/>
                      </a:lnTo>
                      <a:lnTo>
                        <a:pt x="1378" y="2142"/>
                      </a:lnTo>
                      <a:lnTo>
                        <a:pt x="1365" y="2127"/>
                      </a:lnTo>
                      <a:lnTo>
                        <a:pt x="1351" y="2112"/>
                      </a:lnTo>
                      <a:lnTo>
                        <a:pt x="1342" y="2092"/>
                      </a:lnTo>
                      <a:lnTo>
                        <a:pt x="1341" y="2095"/>
                      </a:lnTo>
                      <a:lnTo>
                        <a:pt x="1341" y="2093"/>
                      </a:lnTo>
                      <a:lnTo>
                        <a:pt x="1336" y="2105"/>
                      </a:lnTo>
                      <a:lnTo>
                        <a:pt x="1329" y="2118"/>
                      </a:lnTo>
                      <a:lnTo>
                        <a:pt x="1321" y="2129"/>
                      </a:lnTo>
                      <a:lnTo>
                        <a:pt x="1312" y="2141"/>
                      </a:lnTo>
                      <a:lnTo>
                        <a:pt x="1299" y="2153"/>
                      </a:lnTo>
                      <a:lnTo>
                        <a:pt x="1287" y="2165"/>
                      </a:lnTo>
                      <a:lnTo>
                        <a:pt x="1273" y="2177"/>
                      </a:lnTo>
                      <a:lnTo>
                        <a:pt x="1257" y="2189"/>
                      </a:lnTo>
                      <a:lnTo>
                        <a:pt x="1241" y="2201"/>
                      </a:lnTo>
                      <a:lnTo>
                        <a:pt x="1223" y="2213"/>
                      </a:lnTo>
                      <a:lnTo>
                        <a:pt x="1204" y="2225"/>
                      </a:lnTo>
                      <a:lnTo>
                        <a:pt x="1185" y="2237"/>
                      </a:lnTo>
                      <a:lnTo>
                        <a:pt x="1143" y="2260"/>
                      </a:lnTo>
                      <a:lnTo>
                        <a:pt x="1099" y="2283"/>
                      </a:lnTo>
                      <a:lnTo>
                        <a:pt x="1077" y="2292"/>
                      </a:lnTo>
                      <a:lnTo>
                        <a:pt x="1053" y="2302"/>
                      </a:lnTo>
                      <a:lnTo>
                        <a:pt x="1029" y="2311"/>
                      </a:lnTo>
                      <a:lnTo>
                        <a:pt x="1002" y="2322"/>
                      </a:lnTo>
                      <a:lnTo>
                        <a:pt x="994" y="2324"/>
                      </a:lnTo>
                      <a:lnTo>
                        <a:pt x="974" y="2331"/>
                      </a:lnTo>
                      <a:lnTo>
                        <a:pt x="940" y="2343"/>
                      </a:lnTo>
                      <a:lnTo>
                        <a:pt x="897" y="2358"/>
                      </a:lnTo>
                      <a:lnTo>
                        <a:pt x="845" y="2377"/>
                      </a:lnTo>
                      <a:lnTo>
                        <a:pt x="787" y="2401"/>
                      </a:lnTo>
                      <a:lnTo>
                        <a:pt x="725" y="2427"/>
                      </a:lnTo>
                      <a:lnTo>
                        <a:pt x="659" y="2457"/>
                      </a:lnTo>
                      <a:lnTo>
                        <a:pt x="643" y="2462"/>
                      </a:lnTo>
                      <a:lnTo>
                        <a:pt x="630" y="2466"/>
                      </a:lnTo>
                      <a:lnTo>
                        <a:pt x="620" y="2469"/>
                      </a:lnTo>
                      <a:lnTo>
                        <a:pt x="615" y="2470"/>
                      </a:lnTo>
                      <a:lnTo>
                        <a:pt x="615" y="2470"/>
                      </a:lnTo>
                      <a:lnTo>
                        <a:pt x="615" y="2470"/>
                      </a:lnTo>
                      <a:lnTo>
                        <a:pt x="615" y="2471"/>
                      </a:lnTo>
                      <a:lnTo>
                        <a:pt x="615" y="2471"/>
                      </a:lnTo>
                      <a:lnTo>
                        <a:pt x="615" y="2471"/>
                      </a:lnTo>
                      <a:lnTo>
                        <a:pt x="614" y="2471"/>
                      </a:lnTo>
                      <a:lnTo>
                        <a:pt x="614" y="2471"/>
                      </a:lnTo>
                      <a:lnTo>
                        <a:pt x="614" y="2471"/>
                      </a:lnTo>
                      <a:lnTo>
                        <a:pt x="614" y="2471"/>
                      </a:lnTo>
                      <a:lnTo>
                        <a:pt x="614" y="2471"/>
                      </a:lnTo>
                      <a:lnTo>
                        <a:pt x="605" y="2474"/>
                      </a:lnTo>
                      <a:lnTo>
                        <a:pt x="605" y="2474"/>
                      </a:lnTo>
                      <a:lnTo>
                        <a:pt x="596" y="2478"/>
                      </a:lnTo>
                      <a:lnTo>
                        <a:pt x="596" y="2478"/>
                      </a:lnTo>
                      <a:lnTo>
                        <a:pt x="562" y="2492"/>
                      </a:lnTo>
                      <a:lnTo>
                        <a:pt x="531" y="2508"/>
                      </a:lnTo>
                      <a:lnTo>
                        <a:pt x="501" y="2523"/>
                      </a:lnTo>
                      <a:lnTo>
                        <a:pt x="475" y="2539"/>
                      </a:lnTo>
                      <a:lnTo>
                        <a:pt x="451" y="2554"/>
                      </a:lnTo>
                      <a:lnTo>
                        <a:pt x="429" y="2570"/>
                      </a:lnTo>
                      <a:lnTo>
                        <a:pt x="409" y="2584"/>
                      </a:lnTo>
                      <a:lnTo>
                        <a:pt x="392" y="2598"/>
                      </a:lnTo>
                      <a:lnTo>
                        <a:pt x="378" y="2611"/>
                      </a:lnTo>
                      <a:lnTo>
                        <a:pt x="364" y="2624"/>
                      </a:lnTo>
                      <a:lnTo>
                        <a:pt x="353" y="2634"/>
                      </a:lnTo>
                      <a:lnTo>
                        <a:pt x="345" y="2643"/>
                      </a:lnTo>
                      <a:lnTo>
                        <a:pt x="334" y="2656"/>
                      </a:lnTo>
                      <a:lnTo>
                        <a:pt x="330" y="2661"/>
                      </a:lnTo>
                      <a:lnTo>
                        <a:pt x="306" y="2698"/>
                      </a:lnTo>
                      <a:lnTo>
                        <a:pt x="284" y="2736"/>
                      </a:lnTo>
                      <a:lnTo>
                        <a:pt x="263" y="2776"/>
                      </a:lnTo>
                      <a:lnTo>
                        <a:pt x="243" y="2819"/>
                      </a:lnTo>
                      <a:lnTo>
                        <a:pt x="224" y="2863"/>
                      </a:lnTo>
                      <a:lnTo>
                        <a:pt x="206" y="2908"/>
                      </a:lnTo>
                      <a:lnTo>
                        <a:pt x="189" y="2955"/>
                      </a:lnTo>
                      <a:lnTo>
                        <a:pt x="173" y="3002"/>
                      </a:lnTo>
                      <a:lnTo>
                        <a:pt x="158" y="3050"/>
                      </a:lnTo>
                      <a:lnTo>
                        <a:pt x="144" y="3100"/>
                      </a:lnTo>
                      <a:lnTo>
                        <a:pt x="131" y="3150"/>
                      </a:lnTo>
                      <a:lnTo>
                        <a:pt x="117" y="3200"/>
                      </a:lnTo>
                      <a:lnTo>
                        <a:pt x="106" y="3251"/>
                      </a:lnTo>
                      <a:lnTo>
                        <a:pt x="95" y="3301"/>
                      </a:lnTo>
                      <a:lnTo>
                        <a:pt x="85" y="3352"/>
                      </a:lnTo>
                      <a:lnTo>
                        <a:pt x="75" y="3401"/>
                      </a:lnTo>
                      <a:lnTo>
                        <a:pt x="67" y="3451"/>
                      </a:lnTo>
                      <a:lnTo>
                        <a:pt x="59" y="3500"/>
                      </a:lnTo>
                      <a:lnTo>
                        <a:pt x="52" y="3548"/>
                      </a:lnTo>
                      <a:lnTo>
                        <a:pt x="45" y="3595"/>
                      </a:lnTo>
                      <a:lnTo>
                        <a:pt x="33" y="3686"/>
                      </a:lnTo>
                      <a:lnTo>
                        <a:pt x="23" y="3770"/>
                      </a:lnTo>
                      <a:lnTo>
                        <a:pt x="16" y="3846"/>
                      </a:lnTo>
                      <a:lnTo>
                        <a:pt x="10" y="3914"/>
                      </a:lnTo>
                      <a:lnTo>
                        <a:pt x="6" y="3972"/>
                      </a:lnTo>
                      <a:lnTo>
                        <a:pt x="3" y="4017"/>
                      </a:lnTo>
                      <a:lnTo>
                        <a:pt x="3" y="4017"/>
                      </a:lnTo>
                      <a:lnTo>
                        <a:pt x="3" y="4028"/>
                      </a:lnTo>
                      <a:lnTo>
                        <a:pt x="2" y="4028"/>
                      </a:lnTo>
                      <a:lnTo>
                        <a:pt x="2" y="4038"/>
                      </a:lnTo>
                      <a:lnTo>
                        <a:pt x="2" y="4038"/>
                      </a:lnTo>
                      <a:lnTo>
                        <a:pt x="2" y="4046"/>
                      </a:lnTo>
                      <a:lnTo>
                        <a:pt x="2" y="4046"/>
                      </a:lnTo>
                      <a:lnTo>
                        <a:pt x="1" y="4054"/>
                      </a:lnTo>
                      <a:lnTo>
                        <a:pt x="1" y="4054"/>
                      </a:lnTo>
                      <a:lnTo>
                        <a:pt x="1" y="4060"/>
                      </a:lnTo>
                      <a:lnTo>
                        <a:pt x="1" y="4064"/>
                      </a:lnTo>
                      <a:lnTo>
                        <a:pt x="1" y="4067"/>
                      </a:lnTo>
                      <a:lnTo>
                        <a:pt x="1" y="4070"/>
                      </a:lnTo>
                      <a:lnTo>
                        <a:pt x="0" y="4070"/>
                      </a:lnTo>
                      <a:lnTo>
                        <a:pt x="0" y="4070"/>
                      </a:lnTo>
                      <a:lnTo>
                        <a:pt x="1" y="4091"/>
                      </a:lnTo>
                      <a:lnTo>
                        <a:pt x="2" y="4110"/>
                      </a:lnTo>
                      <a:lnTo>
                        <a:pt x="4" y="4128"/>
                      </a:lnTo>
                      <a:lnTo>
                        <a:pt x="5" y="4145"/>
                      </a:lnTo>
                      <a:lnTo>
                        <a:pt x="8" y="4161"/>
                      </a:lnTo>
                      <a:lnTo>
                        <a:pt x="11" y="4176"/>
                      </a:lnTo>
                      <a:lnTo>
                        <a:pt x="14" y="4190"/>
                      </a:lnTo>
                      <a:lnTo>
                        <a:pt x="17" y="4203"/>
                      </a:lnTo>
                      <a:lnTo>
                        <a:pt x="24" y="4226"/>
                      </a:lnTo>
                      <a:lnTo>
                        <a:pt x="34" y="4246"/>
                      </a:lnTo>
                      <a:lnTo>
                        <a:pt x="42" y="4263"/>
                      </a:lnTo>
                      <a:lnTo>
                        <a:pt x="51" y="4276"/>
                      </a:lnTo>
                      <a:lnTo>
                        <a:pt x="60" y="4287"/>
                      </a:lnTo>
                      <a:lnTo>
                        <a:pt x="69" y="4296"/>
                      </a:lnTo>
                      <a:lnTo>
                        <a:pt x="77" y="4304"/>
                      </a:lnTo>
                      <a:lnTo>
                        <a:pt x="85" y="4309"/>
                      </a:lnTo>
                      <a:lnTo>
                        <a:pt x="96" y="4314"/>
                      </a:lnTo>
                      <a:lnTo>
                        <a:pt x="100" y="4316"/>
                      </a:lnTo>
                      <a:lnTo>
                        <a:pt x="200" y="4358"/>
                      </a:lnTo>
                      <a:lnTo>
                        <a:pt x="302" y="4397"/>
                      </a:lnTo>
                      <a:lnTo>
                        <a:pt x="408" y="4434"/>
                      </a:lnTo>
                      <a:lnTo>
                        <a:pt x="515" y="4468"/>
                      </a:lnTo>
                      <a:lnTo>
                        <a:pt x="626" y="4500"/>
                      </a:lnTo>
                      <a:lnTo>
                        <a:pt x="737" y="4529"/>
                      </a:lnTo>
                      <a:lnTo>
                        <a:pt x="851" y="4555"/>
                      </a:lnTo>
                      <a:lnTo>
                        <a:pt x="967" y="4578"/>
                      </a:lnTo>
                      <a:lnTo>
                        <a:pt x="1083" y="4599"/>
                      </a:lnTo>
                      <a:lnTo>
                        <a:pt x="1201" y="4616"/>
                      </a:lnTo>
                      <a:lnTo>
                        <a:pt x="1321" y="4631"/>
                      </a:lnTo>
                      <a:lnTo>
                        <a:pt x="1441" y="4644"/>
                      </a:lnTo>
                      <a:lnTo>
                        <a:pt x="1562" y="4654"/>
                      </a:lnTo>
                      <a:lnTo>
                        <a:pt x="1683" y="4661"/>
                      </a:lnTo>
                      <a:lnTo>
                        <a:pt x="1805" y="4665"/>
                      </a:lnTo>
                      <a:lnTo>
                        <a:pt x="1927" y="4666"/>
                      </a:lnTo>
                      <a:lnTo>
                        <a:pt x="2048" y="4665"/>
                      </a:lnTo>
                      <a:lnTo>
                        <a:pt x="2171" y="4661"/>
                      </a:lnTo>
                      <a:lnTo>
                        <a:pt x="2292" y="4654"/>
                      </a:lnTo>
                      <a:lnTo>
                        <a:pt x="2413" y="4644"/>
                      </a:lnTo>
                      <a:lnTo>
                        <a:pt x="2533" y="4631"/>
                      </a:lnTo>
                      <a:lnTo>
                        <a:pt x="2653" y="4617"/>
                      </a:lnTo>
                      <a:lnTo>
                        <a:pt x="2770" y="4599"/>
                      </a:lnTo>
                      <a:lnTo>
                        <a:pt x="2888" y="4578"/>
                      </a:lnTo>
                      <a:lnTo>
                        <a:pt x="3003" y="4555"/>
                      </a:lnTo>
                      <a:lnTo>
                        <a:pt x="3116" y="4530"/>
                      </a:lnTo>
                      <a:lnTo>
                        <a:pt x="3228" y="4500"/>
                      </a:lnTo>
                      <a:lnTo>
                        <a:pt x="3339" y="4468"/>
                      </a:lnTo>
                      <a:lnTo>
                        <a:pt x="3446" y="4435"/>
                      </a:lnTo>
                      <a:lnTo>
                        <a:pt x="3551" y="4397"/>
                      </a:lnTo>
                      <a:lnTo>
                        <a:pt x="3654" y="4358"/>
                      </a:lnTo>
                      <a:lnTo>
                        <a:pt x="3754" y="4316"/>
                      </a:lnTo>
                      <a:lnTo>
                        <a:pt x="3758" y="4314"/>
                      </a:lnTo>
                      <a:lnTo>
                        <a:pt x="3769" y="4309"/>
                      </a:lnTo>
                      <a:lnTo>
                        <a:pt x="3777" y="4304"/>
                      </a:lnTo>
                      <a:lnTo>
                        <a:pt x="3785" y="4296"/>
                      </a:lnTo>
                      <a:lnTo>
                        <a:pt x="3794" y="4287"/>
                      </a:lnTo>
                      <a:lnTo>
                        <a:pt x="3803" y="4276"/>
                      </a:lnTo>
                      <a:lnTo>
                        <a:pt x="3812" y="4263"/>
                      </a:lnTo>
                      <a:lnTo>
                        <a:pt x="3820" y="4246"/>
                      </a:lnTo>
                      <a:lnTo>
                        <a:pt x="3829" y="4226"/>
                      </a:lnTo>
                      <a:lnTo>
                        <a:pt x="3837" y="4203"/>
                      </a:lnTo>
                      <a:lnTo>
                        <a:pt x="3840" y="4190"/>
                      </a:lnTo>
                      <a:lnTo>
                        <a:pt x="3843" y="4176"/>
                      </a:lnTo>
                      <a:lnTo>
                        <a:pt x="3846" y="4161"/>
                      </a:lnTo>
                      <a:lnTo>
                        <a:pt x="3848" y="4145"/>
                      </a:lnTo>
                      <a:lnTo>
                        <a:pt x="3850" y="4128"/>
                      </a:lnTo>
                      <a:lnTo>
                        <a:pt x="3852" y="4110"/>
                      </a:lnTo>
                      <a:lnTo>
                        <a:pt x="3853" y="4091"/>
                      </a:lnTo>
                      <a:lnTo>
                        <a:pt x="3853" y="4070"/>
                      </a:lnTo>
                      <a:lnTo>
                        <a:pt x="3853" y="4070"/>
                      </a:lnTo>
                      <a:lnTo>
                        <a:pt x="3853" y="4070"/>
                      </a:lnTo>
                      <a:lnTo>
                        <a:pt x="3853" y="4067"/>
                      </a:lnTo>
                      <a:lnTo>
                        <a:pt x="3853" y="4064"/>
                      </a:lnTo>
                      <a:lnTo>
                        <a:pt x="3853" y="4060"/>
                      </a:lnTo>
                      <a:lnTo>
                        <a:pt x="3852" y="4054"/>
                      </a:lnTo>
                      <a:lnTo>
                        <a:pt x="3852" y="4054"/>
                      </a:lnTo>
                      <a:lnTo>
                        <a:pt x="3852" y="4046"/>
                      </a:lnTo>
                      <a:lnTo>
                        <a:pt x="3852" y="4046"/>
                      </a:lnTo>
                      <a:lnTo>
                        <a:pt x="3852" y="4038"/>
                      </a:lnTo>
                      <a:lnTo>
                        <a:pt x="3852" y="4038"/>
                      </a:lnTo>
                      <a:lnTo>
                        <a:pt x="3851" y="4028"/>
                      </a:lnTo>
                      <a:lnTo>
                        <a:pt x="3851" y="4028"/>
                      </a:lnTo>
                      <a:lnTo>
                        <a:pt x="3851" y="4017"/>
                      </a:lnTo>
                      <a:lnTo>
                        <a:pt x="3851" y="4017"/>
                      </a:lnTo>
                      <a:lnTo>
                        <a:pt x="3848" y="3972"/>
                      </a:lnTo>
                      <a:lnTo>
                        <a:pt x="3844" y="3914"/>
                      </a:lnTo>
                      <a:lnTo>
                        <a:pt x="3838" y="3846"/>
                      </a:lnTo>
                      <a:lnTo>
                        <a:pt x="3831" y="3770"/>
                      </a:lnTo>
                      <a:lnTo>
                        <a:pt x="3820" y="3686"/>
                      </a:lnTo>
                      <a:lnTo>
                        <a:pt x="3809" y="3595"/>
                      </a:lnTo>
                      <a:lnTo>
                        <a:pt x="3802" y="3548"/>
                      </a:lnTo>
                      <a:lnTo>
                        <a:pt x="3795" y="3500"/>
                      </a:lnTo>
                      <a:lnTo>
                        <a:pt x="3787" y="3451"/>
                      </a:lnTo>
                      <a:lnTo>
                        <a:pt x="3779" y="3401"/>
                      </a:lnTo>
                      <a:lnTo>
                        <a:pt x="3768" y="3352"/>
                      </a:lnTo>
                      <a:lnTo>
                        <a:pt x="3758" y="3301"/>
                      </a:lnTo>
                      <a:lnTo>
                        <a:pt x="3748" y="3251"/>
                      </a:lnTo>
                      <a:lnTo>
                        <a:pt x="3736" y="3200"/>
                      </a:lnTo>
                      <a:lnTo>
                        <a:pt x="3723" y="3150"/>
                      </a:lnTo>
                      <a:lnTo>
                        <a:pt x="3710" y="3100"/>
                      </a:lnTo>
                      <a:lnTo>
                        <a:pt x="3696" y="3050"/>
                      </a:lnTo>
                      <a:lnTo>
                        <a:pt x="3681" y="3002"/>
                      </a:lnTo>
                      <a:lnTo>
                        <a:pt x="3664" y="2955"/>
                      </a:lnTo>
                      <a:lnTo>
                        <a:pt x="3648" y="2908"/>
                      </a:lnTo>
                      <a:lnTo>
                        <a:pt x="3630" y="2863"/>
                      </a:lnTo>
                      <a:lnTo>
                        <a:pt x="3610" y="2819"/>
                      </a:lnTo>
                      <a:lnTo>
                        <a:pt x="3591" y="2776"/>
                      </a:lnTo>
                      <a:lnTo>
                        <a:pt x="3569" y="2736"/>
                      </a:lnTo>
                      <a:lnTo>
                        <a:pt x="3547" y="2698"/>
                      </a:lnTo>
                      <a:lnTo>
                        <a:pt x="3524" y="2661"/>
                      </a:lnTo>
                      <a:close/>
                      <a:moveTo>
                        <a:pt x="1900" y="2161"/>
                      </a:moveTo>
                      <a:lnTo>
                        <a:pt x="1966" y="2157"/>
                      </a:lnTo>
                      <a:lnTo>
                        <a:pt x="2029" y="2145"/>
                      </a:lnTo>
                      <a:lnTo>
                        <a:pt x="2090" y="2126"/>
                      </a:lnTo>
                      <a:lnTo>
                        <a:pt x="2149" y="2099"/>
                      </a:lnTo>
                      <a:lnTo>
                        <a:pt x="2205" y="2066"/>
                      </a:lnTo>
                      <a:lnTo>
                        <a:pt x="2258" y="2026"/>
                      </a:lnTo>
                      <a:lnTo>
                        <a:pt x="2309" y="1980"/>
                      </a:lnTo>
                      <a:lnTo>
                        <a:pt x="2357" y="1929"/>
                      </a:lnTo>
                      <a:lnTo>
                        <a:pt x="2403" y="1874"/>
                      </a:lnTo>
                      <a:lnTo>
                        <a:pt x="2445" y="1814"/>
                      </a:lnTo>
                      <a:lnTo>
                        <a:pt x="2485" y="1750"/>
                      </a:lnTo>
                      <a:lnTo>
                        <a:pt x="2522" y="1683"/>
                      </a:lnTo>
                      <a:lnTo>
                        <a:pt x="2556" y="1613"/>
                      </a:lnTo>
                      <a:lnTo>
                        <a:pt x="2587" y="1540"/>
                      </a:lnTo>
                      <a:lnTo>
                        <a:pt x="2615" y="1466"/>
                      </a:lnTo>
                      <a:lnTo>
                        <a:pt x="2640" y="1390"/>
                      </a:lnTo>
                      <a:lnTo>
                        <a:pt x="2663" y="1311"/>
                      </a:lnTo>
                      <a:lnTo>
                        <a:pt x="2681" y="1234"/>
                      </a:lnTo>
                      <a:lnTo>
                        <a:pt x="2698" y="1156"/>
                      </a:lnTo>
                      <a:lnTo>
                        <a:pt x="2710" y="1077"/>
                      </a:lnTo>
                      <a:lnTo>
                        <a:pt x="2719" y="1000"/>
                      </a:lnTo>
                      <a:lnTo>
                        <a:pt x="2725" y="923"/>
                      </a:lnTo>
                      <a:lnTo>
                        <a:pt x="2727" y="848"/>
                      </a:lnTo>
                      <a:lnTo>
                        <a:pt x="2726" y="776"/>
                      </a:lnTo>
                      <a:lnTo>
                        <a:pt x="2721" y="705"/>
                      </a:lnTo>
                      <a:lnTo>
                        <a:pt x="2714" y="637"/>
                      </a:lnTo>
                      <a:lnTo>
                        <a:pt x="2702" y="574"/>
                      </a:lnTo>
                      <a:lnTo>
                        <a:pt x="2686" y="514"/>
                      </a:lnTo>
                      <a:lnTo>
                        <a:pt x="2668" y="458"/>
                      </a:lnTo>
                      <a:lnTo>
                        <a:pt x="2645" y="407"/>
                      </a:lnTo>
                      <a:lnTo>
                        <a:pt x="2618" y="362"/>
                      </a:lnTo>
                      <a:lnTo>
                        <a:pt x="2588" y="322"/>
                      </a:lnTo>
                      <a:lnTo>
                        <a:pt x="2577" y="309"/>
                      </a:lnTo>
                      <a:lnTo>
                        <a:pt x="2558" y="289"/>
                      </a:lnTo>
                      <a:lnTo>
                        <a:pt x="2546" y="276"/>
                      </a:lnTo>
                      <a:lnTo>
                        <a:pt x="2529" y="263"/>
                      </a:lnTo>
                      <a:lnTo>
                        <a:pt x="2512" y="247"/>
                      </a:lnTo>
                      <a:lnTo>
                        <a:pt x="2491" y="231"/>
                      </a:lnTo>
                      <a:lnTo>
                        <a:pt x="2469" y="215"/>
                      </a:lnTo>
                      <a:lnTo>
                        <a:pt x="2443" y="198"/>
                      </a:lnTo>
                      <a:lnTo>
                        <a:pt x="2416" y="181"/>
                      </a:lnTo>
                      <a:lnTo>
                        <a:pt x="2385" y="165"/>
                      </a:lnTo>
                      <a:lnTo>
                        <a:pt x="2352" y="149"/>
                      </a:lnTo>
                      <a:lnTo>
                        <a:pt x="2316" y="133"/>
                      </a:lnTo>
                      <a:lnTo>
                        <a:pt x="2298" y="126"/>
                      </a:lnTo>
                      <a:lnTo>
                        <a:pt x="2277" y="119"/>
                      </a:lnTo>
                      <a:lnTo>
                        <a:pt x="2257" y="112"/>
                      </a:lnTo>
                      <a:lnTo>
                        <a:pt x="2236" y="106"/>
                      </a:lnTo>
                      <a:lnTo>
                        <a:pt x="2126" y="69"/>
                      </a:lnTo>
                      <a:lnTo>
                        <a:pt x="2063" y="50"/>
                      </a:lnTo>
                      <a:lnTo>
                        <a:pt x="2006" y="35"/>
                      </a:lnTo>
                      <a:lnTo>
                        <a:pt x="1955" y="23"/>
                      </a:lnTo>
                      <a:lnTo>
                        <a:pt x="1913" y="14"/>
                      </a:lnTo>
                      <a:lnTo>
                        <a:pt x="1878" y="8"/>
                      </a:lnTo>
                      <a:lnTo>
                        <a:pt x="1852" y="4"/>
                      </a:lnTo>
                      <a:lnTo>
                        <a:pt x="1836" y="1"/>
                      </a:lnTo>
                      <a:lnTo>
                        <a:pt x="1829" y="0"/>
                      </a:lnTo>
                      <a:lnTo>
                        <a:pt x="1823" y="0"/>
                      </a:lnTo>
                      <a:lnTo>
                        <a:pt x="1817" y="1"/>
                      </a:lnTo>
                      <a:lnTo>
                        <a:pt x="1811" y="2"/>
                      </a:lnTo>
                      <a:lnTo>
                        <a:pt x="1805" y="3"/>
                      </a:lnTo>
                      <a:lnTo>
                        <a:pt x="1797" y="5"/>
                      </a:lnTo>
                      <a:lnTo>
                        <a:pt x="1786" y="7"/>
                      </a:lnTo>
                      <a:lnTo>
                        <a:pt x="1774" y="8"/>
                      </a:lnTo>
                      <a:lnTo>
                        <a:pt x="1761" y="8"/>
                      </a:lnTo>
                      <a:lnTo>
                        <a:pt x="1752" y="7"/>
                      </a:lnTo>
                      <a:lnTo>
                        <a:pt x="1743" y="7"/>
                      </a:lnTo>
                      <a:lnTo>
                        <a:pt x="1734" y="7"/>
                      </a:lnTo>
                      <a:lnTo>
                        <a:pt x="1725" y="8"/>
                      </a:lnTo>
                      <a:lnTo>
                        <a:pt x="1707" y="10"/>
                      </a:lnTo>
                      <a:lnTo>
                        <a:pt x="1689" y="14"/>
                      </a:lnTo>
                      <a:lnTo>
                        <a:pt x="1660" y="22"/>
                      </a:lnTo>
                      <a:lnTo>
                        <a:pt x="1642" y="28"/>
                      </a:lnTo>
                      <a:lnTo>
                        <a:pt x="1622" y="37"/>
                      </a:lnTo>
                      <a:lnTo>
                        <a:pt x="1577" y="58"/>
                      </a:lnTo>
                      <a:lnTo>
                        <a:pt x="1547" y="74"/>
                      </a:lnTo>
                      <a:lnTo>
                        <a:pt x="1515" y="94"/>
                      </a:lnTo>
                      <a:lnTo>
                        <a:pt x="1479" y="116"/>
                      </a:lnTo>
                      <a:lnTo>
                        <a:pt x="1441" y="143"/>
                      </a:lnTo>
                      <a:lnTo>
                        <a:pt x="1422" y="158"/>
                      </a:lnTo>
                      <a:lnTo>
                        <a:pt x="1402" y="173"/>
                      </a:lnTo>
                      <a:lnTo>
                        <a:pt x="1383" y="190"/>
                      </a:lnTo>
                      <a:lnTo>
                        <a:pt x="1364" y="208"/>
                      </a:lnTo>
                      <a:lnTo>
                        <a:pt x="1344" y="226"/>
                      </a:lnTo>
                      <a:lnTo>
                        <a:pt x="1326" y="245"/>
                      </a:lnTo>
                      <a:lnTo>
                        <a:pt x="1306" y="267"/>
                      </a:lnTo>
                      <a:lnTo>
                        <a:pt x="1289" y="288"/>
                      </a:lnTo>
                      <a:lnTo>
                        <a:pt x="1271" y="310"/>
                      </a:lnTo>
                      <a:lnTo>
                        <a:pt x="1254" y="334"/>
                      </a:lnTo>
                      <a:lnTo>
                        <a:pt x="1238" y="358"/>
                      </a:lnTo>
                      <a:lnTo>
                        <a:pt x="1223" y="384"/>
                      </a:lnTo>
                      <a:lnTo>
                        <a:pt x="1208" y="410"/>
                      </a:lnTo>
                      <a:lnTo>
                        <a:pt x="1196" y="439"/>
                      </a:lnTo>
                      <a:lnTo>
                        <a:pt x="1184" y="467"/>
                      </a:lnTo>
                      <a:lnTo>
                        <a:pt x="1174" y="497"/>
                      </a:lnTo>
                      <a:lnTo>
                        <a:pt x="1157" y="541"/>
                      </a:lnTo>
                      <a:lnTo>
                        <a:pt x="1144" y="587"/>
                      </a:lnTo>
                      <a:lnTo>
                        <a:pt x="1134" y="638"/>
                      </a:lnTo>
                      <a:lnTo>
                        <a:pt x="1127" y="693"/>
                      </a:lnTo>
                      <a:lnTo>
                        <a:pt x="1122" y="751"/>
                      </a:lnTo>
                      <a:lnTo>
                        <a:pt x="1120" y="812"/>
                      </a:lnTo>
                      <a:lnTo>
                        <a:pt x="1120" y="876"/>
                      </a:lnTo>
                      <a:lnTo>
                        <a:pt x="1123" y="941"/>
                      </a:lnTo>
                      <a:lnTo>
                        <a:pt x="1128" y="1008"/>
                      </a:lnTo>
                      <a:lnTo>
                        <a:pt x="1136" y="1076"/>
                      </a:lnTo>
                      <a:lnTo>
                        <a:pt x="1147" y="1145"/>
                      </a:lnTo>
                      <a:lnTo>
                        <a:pt x="1160" y="1216"/>
                      </a:lnTo>
                      <a:lnTo>
                        <a:pt x="1176" y="1285"/>
                      </a:lnTo>
                      <a:lnTo>
                        <a:pt x="1194" y="1355"/>
                      </a:lnTo>
                      <a:lnTo>
                        <a:pt x="1215" y="1424"/>
                      </a:lnTo>
                      <a:lnTo>
                        <a:pt x="1237" y="1493"/>
                      </a:lnTo>
                      <a:lnTo>
                        <a:pt x="1263" y="1560"/>
                      </a:lnTo>
                      <a:lnTo>
                        <a:pt x="1290" y="1626"/>
                      </a:lnTo>
                      <a:lnTo>
                        <a:pt x="1320" y="1689"/>
                      </a:lnTo>
                      <a:lnTo>
                        <a:pt x="1351" y="1750"/>
                      </a:lnTo>
                      <a:lnTo>
                        <a:pt x="1385" y="1808"/>
                      </a:lnTo>
                      <a:lnTo>
                        <a:pt x="1422" y="1863"/>
                      </a:lnTo>
                      <a:lnTo>
                        <a:pt x="1461" y="1915"/>
                      </a:lnTo>
                      <a:lnTo>
                        <a:pt x="1501" y="1963"/>
                      </a:lnTo>
                      <a:lnTo>
                        <a:pt x="1544" y="2007"/>
                      </a:lnTo>
                      <a:lnTo>
                        <a:pt x="1589" y="2045"/>
                      </a:lnTo>
                      <a:lnTo>
                        <a:pt x="1636" y="2080"/>
                      </a:lnTo>
                      <a:lnTo>
                        <a:pt x="1685" y="2108"/>
                      </a:lnTo>
                      <a:lnTo>
                        <a:pt x="1736" y="2131"/>
                      </a:lnTo>
                      <a:lnTo>
                        <a:pt x="1789" y="2148"/>
                      </a:lnTo>
                      <a:lnTo>
                        <a:pt x="1843" y="2158"/>
                      </a:lnTo>
                      <a:lnTo>
                        <a:pt x="1900" y="21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  <p:sp>
              <p:nvSpPr>
                <p:cNvPr id="50" name="Freeform 45"/>
                <p:cNvSpPr>
                  <a:spLocks noEditPoints="1"/>
                </p:cNvSpPr>
                <p:nvPr/>
              </p:nvSpPr>
              <p:spPr bwMode="auto">
                <a:xfrm>
                  <a:off x="4483" y="1072"/>
                  <a:ext cx="146" cy="160"/>
                </a:xfrm>
                <a:custGeom>
                  <a:avLst/>
                  <a:gdLst>
                    <a:gd name="T0" fmla="*/ 2866 w 6541"/>
                    <a:gd name="T1" fmla="*/ 4950 h 7171"/>
                    <a:gd name="T2" fmla="*/ 3067 w 6541"/>
                    <a:gd name="T3" fmla="*/ 4933 h 7171"/>
                    <a:gd name="T4" fmla="*/ 3920 w 6541"/>
                    <a:gd name="T5" fmla="*/ 5196 h 7171"/>
                    <a:gd name="T6" fmla="*/ 5956 w 6541"/>
                    <a:gd name="T7" fmla="*/ 4810 h 7171"/>
                    <a:gd name="T8" fmla="*/ 6208 w 6541"/>
                    <a:gd name="T9" fmla="*/ 4697 h 7171"/>
                    <a:gd name="T10" fmla="*/ 521 w 6541"/>
                    <a:gd name="T11" fmla="*/ 4906 h 7171"/>
                    <a:gd name="T12" fmla="*/ 1989 w 6541"/>
                    <a:gd name="T13" fmla="*/ 6935 h 7171"/>
                    <a:gd name="T14" fmla="*/ 1912 w 6541"/>
                    <a:gd name="T15" fmla="*/ 6614 h 7171"/>
                    <a:gd name="T16" fmla="*/ 1883 w 6541"/>
                    <a:gd name="T17" fmla="*/ 6294 h 7171"/>
                    <a:gd name="T18" fmla="*/ 1907 w 6541"/>
                    <a:gd name="T19" fmla="*/ 5984 h 7171"/>
                    <a:gd name="T20" fmla="*/ 1989 w 6541"/>
                    <a:gd name="T21" fmla="*/ 5695 h 7171"/>
                    <a:gd name="T22" fmla="*/ 2133 w 6541"/>
                    <a:gd name="T23" fmla="*/ 5433 h 7171"/>
                    <a:gd name="T24" fmla="*/ 2344 w 6541"/>
                    <a:gd name="T25" fmla="*/ 5210 h 7171"/>
                    <a:gd name="T26" fmla="*/ 2626 w 6541"/>
                    <a:gd name="T27" fmla="*/ 5030 h 7171"/>
                    <a:gd name="T28" fmla="*/ 3067 w 6541"/>
                    <a:gd name="T29" fmla="*/ 4933 h 7171"/>
                    <a:gd name="T30" fmla="*/ 4089 w 6541"/>
                    <a:gd name="T31" fmla="*/ 5319 h 7171"/>
                    <a:gd name="T32" fmla="*/ 4257 w 6541"/>
                    <a:gd name="T33" fmla="*/ 5524 h 7171"/>
                    <a:gd name="T34" fmla="*/ 4367 w 6541"/>
                    <a:gd name="T35" fmla="*/ 5764 h 7171"/>
                    <a:gd name="T36" fmla="*/ 4426 w 6541"/>
                    <a:gd name="T37" fmla="*/ 6028 h 7171"/>
                    <a:gd name="T38" fmla="*/ 4438 w 6541"/>
                    <a:gd name="T39" fmla="*/ 6306 h 7171"/>
                    <a:gd name="T40" fmla="*/ 4410 w 6541"/>
                    <a:gd name="T41" fmla="*/ 6586 h 7171"/>
                    <a:gd name="T42" fmla="*/ 4351 w 6541"/>
                    <a:gd name="T43" fmla="*/ 6859 h 7171"/>
                    <a:gd name="T44" fmla="*/ 4264 w 6541"/>
                    <a:gd name="T45" fmla="*/ 7112 h 7171"/>
                    <a:gd name="T46" fmla="*/ 4848 w 6541"/>
                    <a:gd name="T47" fmla="*/ 7076 h 7171"/>
                    <a:gd name="T48" fmla="*/ 4894 w 6541"/>
                    <a:gd name="T49" fmla="*/ 6988 h 7171"/>
                    <a:gd name="T50" fmla="*/ 4944 w 6541"/>
                    <a:gd name="T51" fmla="*/ 6912 h 7171"/>
                    <a:gd name="T52" fmla="*/ 4999 w 6541"/>
                    <a:gd name="T53" fmla="*/ 6847 h 7171"/>
                    <a:gd name="T54" fmla="*/ 5595 w 6541"/>
                    <a:gd name="T55" fmla="*/ 6329 h 7171"/>
                    <a:gd name="T56" fmla="*/ 5535 w 6541"/>
                    <a:gd name="T57" fmla="*/ 6101 h 7171"/>
                    <a:gd name="T58" fmla="*/ 5501 w 6541"/>
                    <a:gd name="T59" fmla="*/ 5864 h 7171"/>
                    <a:gd name="T60" fmla="*/ 5499 w 6541"/>
                    <a:gd name="T61" fmla="*/ 5627 h 7171"/>
                    <a:gd name="T62" fmla="*/ 5533 w 6541"/>
                    <a:gd name="T63" fmla="*/ 5398 h 7171"/>
                    <a:gd name="T64" fmla="*/ 5609 w 6541"/>
                    <a:gd name="T65" fmla="*/ 5185 h 7171"/>
                    <a:gd name="T66" fmla="*/ 5731 w 6541"/>
                    <a:gd name="T67" fmla="*/ 4998 h 7171"/>
                    <a:gd name="T68" fmla="*/ 5904 w 6541"/>
                    <a:gd name="T69" fmla="*/ 4843 h 7171"/>
                    <a:gd name="T70" fmla="*/ 6036 w 6541"/>
                    <a:gd name="T71" fmla="*/ 4765 h 7171"/>
                    <a:gd name="T72" fmla="*/ 6170 w 6541"/>
                    <a:gd name="T73" fmla="*/ 4709 h 7171"/>
                    <a:gd name="T74" fmla="*/ 6352 w 6541"/>
                    <a:gd name="T75" fmla="*/ 0 h 7171"/>
                    <a:gd name="T76" fmla="*/ 87 w 6541"/>
                    <a:gd name="T77" fmla="*/ 4629 h 7171"/>
                    <a:gd name="T78" fmla="*/ 573 w 6541"/>
                    <a:gd name="T79" fmla="*/ 4960 h 7171"/>
                    <a:gd name="T80" fmla="*/ 639 w 6541"/>
                    <a:gd name="T81" fmla="*/ 5043 h 7171"/>
                    <a:gd name="T82" fmla="*/ 697 w 6541"/>
                    <a:gd name="T83" fmla="*/ 5136 h 7171"/>
                    <a:gd name="T84" fmla="*/ 748 w 6541"/>
                    <a:gd name="T85" fmla="*/ 5242 h 7171"/>
                    <a:gd name="T86" fmla="*/ 771 w 6541"/>
                    <a:gd name="T87" fmla="*/ 6523 h 7171"/>
                    <a:gd name="T88" fmla="*/ 931 w 6541"/>
                    <a:gd name="T89" fmla="*/ 6585 h 7171"/>
                    <a:gd name="T90" fmla="*/ 1068 w 6541"/>
                    <a:gd name="T91" fmla="*/ 6654 h 7171"/>
                    <a:gd name="T92" fmla="*/ 1188 w 6541"/>
                    <a:gd name="T93" fmla="*/ 6730 h 7171"/>
                    <a:gd name="T94" fmla="*/ 1290 w 6541"/>
                    <a:gd name="T95" fmla="*/ 6813 h 7171"/>
                    <a:gd name="T96" fmla="*/ 1376 w 6541"/>
                    <a:gd name="T97" fmla="*/ 6905 h 7171"/>
                    <a:gd name="T98" fmla="*/ 1448 w 6541"/>
                    <a:gd name="T99" fmla="*/ 7004 h 7171"/>
                    <a:gd name="T100" fmla="*/ 1508 w 6541"/>
                    <a:gd name="T101" fmla="*/ 7113 h 7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6541" h="7171">
                      <a:moveTo>
                        <a:pt x="2745" y="4981"/>
                      </a:moveTo>
                      <a:lnTo>
                        <a:pt x="2745" y="4981"/>
                      </a:lnTo>
                      <a:lnTo>
                        <a:pt x="2745" y="4981"/>
                      </a:lnTo>
                      <a:close/>
                      <a:moveTo>
                        <a:pt x="2866" y="4950"/>
                      </a:moveTo>
                      <a:lnTo>
                        <a:pt x="2866" y="4950"/>
                      </a:lnTo>
                      <a:lnTo>
                        <a:pt x="2866" y="4950"/>
                      </a:lnTo>
                      <a:close/>
                      <a:moveTo>
                        <a:pt x="3067" y="4933"/>
                      </a:moveTo>
                      <a:lnTo>
                        <a:pt x="3067" y="4933"/>
                      </a:lnTo>
                      <a:lnTo>
                        <a:pt x="3067" y="4933"/>
                      </a:lnTo>
                      <a:close/>
                      <a:moveTo>
                        <a:pt x="3920" y="5196"/>
                      </a:moveTo>
                      <a:lnTo>
                        <a:pt x="3920" y="5196"/>
                      </a:lnTo>
                      <a:lnTo>
                        <a:pt x="3920" y="5196"/>
                      </a:lnTo>
                      <a:close/>
                      <a:moveTo>
                        <a:pt x="4999" y="6848"/>
                      </a:moveTo>
                      <a:lnTo>
                        <a:pt x="4999" y="6848"/>
                      </a:lnTo>
                      <a:lnTo>
                        <a:pt x="4999" y="6848"/>
                      </a:lnTo>
                      <a:close/>
                      <a:moveTo>
                        <a:pt x="5956" y="4810"/>
                      </a:moveTo>
                      <a:lnTo>
                        <a:pt x="5956" y="4810"/>
                      </a:lnTo>
                      <a:lnTo>
                        <a:pt x="5956" y="4810"/>
                      </a:lnTo>
                      <a:close/>
                      <a:moveTo>
                        <a:pt x="6208" y="4697"/>
                      </a:moveTo>
                      <a:lnTo>
                        <a:pt x="6208" y="4697"/>
                      </a:lnTo>
                      <a:lnTo>
                        <a:pt x="6208" y="4697"/>
                      </a:lnTo>
                      <a:close/>
                      <a:moveTo>
                        <a:pt x="521" y="4906"/>
                      </a:moveTo>
                      <a:lnTo>
                        <a:pt x="521" y="4906"/>
                      </a:lnTo>
                      <a:lnTo>
                        <a:pt x="521" y="4906"/>
                      </a:lnTo>
                      <a:close/>
                      <a:moveTo>
                        <a:pt x="2076" y="7171"/>
                      </a:moveTo>
                      <a:lnTo>
                        <a:pt x="2044" y="7093"/>
                      </a:lnTo>
                      <a:lnTo>
                        <a:pt x="2016" y="7015"/>
                      </a:lnTo>
                      <a:lnTo>
                        <a:pt x="1989" y="6935"/>
                      </a:lnTo>
                      <a:lnTo>
                        <a:pt x="1966" y="6855"/>
                      </a:lnTo>
                      <a:lnTo>
                        <a:pt x="1944" y="6774"/>
                      </a:lnTo>
                      <a:lnTo>
                        <a:pt x="1927" y="6694"/>
                      </a:lnTo>
                      <a:lnTo>
                        <a:pt x="1912" y="6614"/>
                      </a:lnTo>
                      <a:lnTo>
                        <a:pt x="1899" y="6533"/>
                      </a:lnTo>
                      <a:lnTo>
                        <a:pt x="1891" y="6453"/>
                      </a:lnTo>
                      <a:lnTo>
                        <a:pt x="1885" y="6373"/>
                      </a:lnTo>
                      <a:lnTo>
                        <a:pt x="1883" y="6294"/>
                      </a:lnTo>
                      <a:lnTo>
                        <a:pt x="1884" y="6215"/>
                      </a:lnTo>
                      <a:lnTo>
                        <a:pt x="1888" y="6137"/>
                      </a:lnTo>
                      <a:lnTo>
                        <a:pt x="1896" y="6061"/>
                      </a:lnTo>
                      <a:lnTo>
                        <a:pt x="1907" y="5984"/>
                      </a:lnTo>
                      <a:lnTo>
                        <a:pt x="1922" y="5910"/>
                      </a:lnTo>
                      <a:lnTo>
                        <a:pt x="1940" y="5837"/>
                      </a:lnTo>
                      <a:lnTo>
                        <a:pt x="1963" y="5765"/>
                      </a:lnTo>
                      <a:lnTo>
                        <a:pt x="1989" y="5695"/>
                      </a:lnTo>
                      <a:lnTo>
                        <a:pt x="2019" y="5627"/>
                      </a:lnTo>
                      <a:lnTo>
                        <a:pt x="2053" y="5560"/>
                      </a:lnTo>
                      <a:lnTo>
                        <a:pt x="2091" y="5496"/>
                      </a:lnTo>
                      <a:lnTo>
                        <a:pt x="2133" y="5433"/>
                      </a:lnTo>
                      <a:lnTo>
                        <a:pt x="2180" y="5373"/>
                      </a:lnTo>
                      <a:lnTo>
                        <a:pt x="2230" y="5316"/>
                      </a:lnTo>
                      <a:lnTo>
                        <a:pt x="2285" y="5261"/>
                      </a:lnTo>
                      <a:lnTo>
                        <a:pt x="2344" y="5210"/>
                      </a:lnTo>
                      <a:lnTo>
                        <a:pt x="2408" y="5160"/>
                      </a:lnTo>
                      <a:lnTo>
                        <a:pt x="2476" y="5114"/>
                      </a:lnTo>
                      <a:lnTo>
                        <a:pt x="2550" y="5071"/>
                      </a:lnTo>
                      <a:lnTo>
                        <a:pt x="2626" y="5030"/>
                      </a:lnTo>
                      <a:lnTo>
                        <a:pt x="2709" y="4995"/>
                      </a:lnTo>
                      <a:lnTo>
                        <a:pt x="2745" y="4981"/>
                      </a:lnTo>
                      <a:lnTo>
                        <a:pt x="2866" y="4950"/>
                      </a:lnTo>
                      <a:lnTo>
                        <a:pt x="3067" y="4933"/>
                      </a:lnTo>
                      <a:lnTo>
                        <a:pt x="3920" y="5196"/>
                      </a:lnTo>
                      <a:lnTo>
                        <a:pt x="3981" y="5234"/>
                      </a:lnTo>
                      <a:lnTo>
                        <a:pt x="4037" y="5276"/>
                      </a:lnTo>
                      <a:lnTo>
                        <a:pt x="4089" y="5319"/>
                      </a:lnTo>
                      <a:lnTo>
                        <a:pt x="4137" y="5367"/>
                      </a:lnTo>
                      <a:lnTo>
                        <a:pt x="4181" y="5417"/>
                      </a:lnTo>
                      <a:lnTo>
                        <a:pt x="4220" y="5469"/>
                      </a:lnTo>
                      <a:lnTo>
                        <a:pt x="4257" y="5524"/>
                      </a:lnTo>
                      <a:lnTo>
                        <a:pt x="4290" y="5581"/>
                      </a:lnTo>
                      <a:lnTo>
                        <a:pt x="4319" y="5640"/>
                      </a:lnTo>
                      <a:lnTo>
                        <a:pt x="4345" y="5701"/>
                      </a:lnTo>
                      <a:lnTo>
                        <a:pt x="4367" y="5764"/>
                      </a:lnTo>
                      <a:lnTo>
                        <a:pt x="4387" y="5829"/>
                      </a:lnTo>
                      <a:lnTo>
                        <a:pt x="4402" y="5894"/>
                      </a:lnTo>
                      <a:lnTo>
                        <a:pt x="4415" y="5960"/>
                      </a:lnTo>
                      <a:lnTo>
                        <a:pt x="4426" y="6028"/>
                      </a:lnTo>
                      <a:lnTo>
                        <a:pt x="4433" y="6096"/>
                      </a:lnTo>
                      <a:lnTo>
                        <a:pt x="4437" y="6166"/>
                      </a:lnTo>
                      <a:lnTo>
                        <a:pt x="4439" y="6236"/>
                      </a:lnTo>
                      <a:lnTo>
                        <a:pt x="4438" y="6306"/>
                      </a:lnTo>
                      <a:lnTo>
                        <a:pt x="4434" y="6376"/>
                      </a:lnTo>
                      <a:lnTo>
                        <a:pt x="4429" y="6447"/>
                      </a:lnTo>
                      <a:lnTo>
                        <a:pt x="4420" y="6517"/>
                      </a:lnTo>
                      <a:lnTo>
                        <a:pt x="4410" y="6586"/>
                      </a:lnTo>
                      <a:lnTo>
                        <a:pt x="4398" y="6655"/>
                      </a:lnTo>
                      <a:lnTo>
                        <a:pt x="4385" y="6724"/>
                      </a:lnTo>
                      <a:lnTo>
                        <a:pt x="4368" y="6792"/>
                      </a:lnTo>
                      <a:lnTo>
                        <a:pt x="4351" y="6859"/>
                      </a:lnTo>
                      <a:lnTo>
                        <a:pt x="4332" y="6924"/>
                      </a:lnTo>
                      <a:lnTo>
                        <a:pt x="4310" y="6989"/>
                      </a:lnTo>
                      <a:lnTo>
                        <a:pt x="4288" y="7051"/>
                      </a:lnTo>
                      <a:lnTo>
                        <a:pt x="4264" y="7112"/>
                      </a:lnTo>
                      <a:lnTo>
                        <a:pt x="4240" y="7171"/>
                      </a:lnTo>
                      <a:lnTo>
                        <a:pt x="4807" y="7171"/>
                      </a:lnTo>
                      <a:lnTo>
                        <a:pt x="4827" y="7123"/>
                      </a:lnTo>
                      <a:lnTo>
                        <a:pt x="4848" y="7076"/>
                      </a:lnTo>
                      <a:lnTo>
                        <a:pt x="4859" y="7053"/>
                      </a:lnTo>
                      <a:lnTo>
                        <a:pt x="4871" y="7031"/>
                      </a:lnTo>
                      <a:lnTo>
                        <a:pt x="4882" y="7010"/>
                      </a:lnTo>
                      <a:lnTo>
                        <a:pt x="4894" y="6988"/>
                      </a:lnTo>
                      <a:lnTo>
                        <a:pt x="4906" y="6968"/>
                      </a:lnTo>
                      <a:lnTo>
                        <a:pt x="4919" y="6948"/>
                      </a:lnTo>
                      <a:lnTo>
                        <a:pt x="4931" y="6930"/>
                      </a:lnTo>
                      <a:lnTo>
                        <a:pt x="4944" y="6912"/>
                      </a:lnTo>
                      <a:lnTo>
                        <a:pt x="4957" y="6895"/>
                      </a:lnTo>
                      <a:lnTo>
                        <a:pt x="4971" y="6878"/>
                      </a:lnTo>
                      <a:lnTo>
                        <a:pt x="4985" y="6862"/>
                      </a:lnTo>
                      <a:lnTo>
                        <a:pt x="4999" y="6847"/>
                      </a:lnTo>
                      <a:lnTo>
                        <a:pt x="5656" y="6490"/>
                      </a:lnTo>
                      <a:lnTo>
                        <a:pt x="5634" y="6438"/>
                      </a:lnTo>
                      <a:lnTo>
                        <a:pt x="5615" y="6384"/>
                      </a:lnTo>
                      <a:lnTo>
                        <a:pt x="5595" y="6329"/>
                      </a:lnTo>
                      <a:lnTo>
                        <a:pt x="5578" y="6273"/>
                      </a:lnTo>
                      <a:lnTo>
                        <a:pt x="5563" y="6217"/>
                      </a:lnTo>
                      <a:lnTo>
                        <a:pt x="5548" y="6159"/>
                      </a:lnTo>
                      <a:lnTo>
                        <a:pt x="5535" y="6101"/>
                      </a:lnTo>
                      <a:lnTo>
                        <a:pt x="5524" y="6042"/>
                      </a:lnTo>
                      <a:lnTo>
                        <a:pt x="5515" y="5983"/>
                      </a:lnTo>
                      <a:lnTo>
                        <a:pt x="5507" y="5923"/>
                      </a:lnTo>
                      <a:lnTo>
                        <a:pt x="5501" y="5864"/>
                      </a:lnTo>
                      <a:lnTo>
                        <a:pt x="5497" y="5804"/>
                      </a:lnTo>
                      <a:lnTo>
                        <a:pt x="5496" y="5745"/>
                      </a:lnTo>
                      <a:lnTo>
                        <a:pt x="5496" y="5686"/>
                      </a:lnTo>
                      <a:lnTo>
                        <a:pt x="5499" y="5627"/>
                      </a:lnTo>
                      <a:lnTo>
                        <a:pt x="5504" y="5568"/>
                      </a:lnTo>
                      <a:lnTo>
                        <a:pt x="5512" y="5511"/>
                      </a:lnTo>
                      <a:lnTo>
                        <a:pt x="5521" y="5454"/>
                      </a:lnTo>
                      <a:lnTo>
                        <a:pt x="5533" y="5398"/>
                      </a:lnTo>
                      <a:lnTo>
                        <a:pt x="5548" y="5343"/>
                      </a:lnTo>
                      <a:lnTo>
                        <a:pt x="5566" y="5289"/>
                      </a:lnTo>
                      <a:lnTo>
                        <a:pt x="5586" y="5236"/>
                      </a:lnTo>
                      <a:lnTo>
                        <a:pt x="5609" y="5185"/>
                      </a:lnTo>
                      <a:lnTo>
                        <a:pt x="5635" y="5135"/>
                      </a:lnTo>
                      <a:lnTo>
                        <a:pt x="5664" y="5087"/>
                      </a:lnTo>
                      <a:lnTo>
                        <a:pt x="5695" y="5042"/>
                      </a:lnTo>
                      <a:lnTo>
                        <a:pt x="5731" y="4998"/>
                      </a:lnTo>
                      <a:lnTo>
                        <a:pt x="5769" y="4955"/>
                      </a:lnTo>
                      <a:lnTo>
                        <a:pt x="5811" y="4915"/>
                      </a:lnTo>
                      <a:lnTo>
                        <a:pt x="5855" y="4878"/>
                      </a:lnTo>
                      <a:lnTo>
                        <a:pt x="5904" y="4843"/>
                      </a:lnTo>
                      <a:lnTo>
                        <a:pt x="5955" y="4810"/>
                      </a:lnTo>
                      <a:lnTo>
                        <a:pt x="5980" y="4795"/>
                      </a:lnTo>
                      <a:lnTo>
                        <a:pt x="6008" y="4780"/>
                      </a:lnTo>
                      <a:lnTo>
                        <a:pt x="6036" y="4765"/>
                      </a:lnTo>
                      <a:lnTo>
                        <a:pt x="6067" y="4750"/>
                      </a:lnTo>
                      <a:lnTo>
                        <a:pt x="6100" y="4736"/>
                      </a:lnTo>
                      <a:lnTo>
                        <a:pt x="6134" y="4722"/>
                      </a:lnTo>
                      <a:lnTo>
                        <a:pt x="6170" y="4709"/>
                      </a:lnTo>
                      <a:lnTo>
                        <a:pt x="6207" y="4696"/>
                      </a:lnTo>
                      <a:lnTo>
                        <a:pt x="6541" y="4619"/>
                      </a:lnTo>
                      <a:lnTo>
                        <a:pt x="6541" y="188"/>
                      </a:lnTo>
                      <a:lnTo>
                        <a:pt x="6352" y="0"/>
                      </a:lnTo>
                      <a:lnTo>
                        <a:pt x="189" y="0"/>
                      </a:lnTo>
                      <a:lnTo>
                        <a:pt x="0" y="188"/>
                      </a:lnTo>
                      <a:lnTo>
                        <a:pt x="0" y="4607"/>
                      </a:lnTo>
                      <a:lnTo>
                        <a:pt x="87" y="4629"/>
                      </a:lnTo>
                      <a:lnTo>
                        <a:pt x="522" y="4905"/>
                      </a:lnTo>
                      <a:lnTo>
                        <a:pt x="540" y="4922"/>
                      </a:lnTo>
                      <a:lnTo>
                        <a:pt x="557" y="4941"/>
                      </a:lnTo>
                      <a:lnTo>
                        <a:pt x="573" y="4960"/>
                      </a:lnTo>
                      <a:lnTo>
                        <a:pt x="591" y="4979"/>
                      </a:lnTo>
                      <a:lnTo>
                        <a:pt x="607" y="5000"/>
                      </a:lnTo>
                      <a:lnTo>
                        <a:pt x="622" y="5021"/>
                      </a:lnTo>
                      <a:lnTo>
                        <a:pt x="639" y="5043"/>
                      </a:lnTo>
                      <a:lnTo>
                        <a:pt x="654" y="5065"/>
                      </a:lnTo>
                      <a:lnTo>
                        <a:pt x="669" y="5088"/>
                      </a:lnTo>
                      <a:lnTo>
                        <a:pt x="684" y="5112"/>
                      </a:lnTo>
                      <a:lnTo>
                        <a:pt x="697" y="5136"/>
                      </a:lnTo>
                      <a:lnTo>
                        <a:pt x="711" y="5162"/>
                      </a:lnTo>
                      <a:lnTo>
                        <a:pt x="723" y="5188"/>
                      </a:lnTo>
                      <a:lnTo>
                        <a:pt x="736" y="5215"/>
                      </a:lnTo>
                      <a:lnTo>
                        <a:pt x="748" y="5242"/>
                      </a:lnTo>
                      <a:lnTo>
                        <a:pt x="758" y="5271"/>
                      </a:lnTo>
                      <a:lnTo>
                        <a:pt x="684" y="6493"/>
                      </a:lnTo>
                      <a:lnTo>
                        <a:pt x="729" y="6508"/>
                      </a:lnTo>
                      <a:lnTo>
                        <a:pt x="771" y="6523"/>
                      </a:lnTo>
                      <a:lnTo>
                        <a:pt x="813" y="6537"/>
                      </a:lnTo>
                      <a:lnTo>
                        <a:pt x="853" y="6553"/>
                      </a:lnTo>
                      <a:lnTo>
                        <a:pt x="893" y="6569"/>
                      </a:lnTo>
                      <a:lnTo>
                        <a:pt x="931" y="6585"/>
                      </a:lnTo>
                      <a:lnTo>
                        <a:pt x="966" y="6601"/>
                      </a:lnTo>
                      <a:lnTo>
                        <a:pt x="1002" y="6619"/>
                      </a:lnTo>
                      <a:lnTo>
                        <a:pt x="1036" y="6636"/>
                      </a:lnTo>
                      <a:lnTo>
                        <a:pt x="1068" y="6654"/>
                      </a:lnTo>
                      <a:lnTo>
                        <a:pt x="1100" y="6672"/>
                      </a:lnTo>
                      <a:lnTo>
                        <a:pt x="1131" y="6691"/>
                      </a:lnTo>
                      <a:lnTo>
                        <a:pt x="1159" y="6710"/>
                      </a:lnTo>
                      <a:lnTo>
                        <a:pt x="1188" y="6730"/>
                      </a:lnTo>
                      <a:lnTo>
                        <a:pt x="1214" y="6750"/>
                      </a:lnTo>
                      <a:lnTo>
                        <a:pt x="1241" y="6770"/>
                      </a:lnTo>
                      <a:lnTo>
                        <a:pt x="1265" y="6792"/>
                      </a:lnTo>
                      <a:lnTo>
                        <a:pt x="1290" y="6813"/>
                      </a:lnTo>
                      <a:lnTo>
                        <a:pt x="1312" y="6835"/>
                      </a:lnTo>
                      <a:lnTo>
                        <a:pt x="1335" y="6858"/>
                      </a:lnTo>
                      <a:lnTo>
                        <a:pt x="1356" y="6880"/>
                      </a:lnTo>
                      <a:lnTo>
                        <a:pt x="1376" y="6905"/>
                      </a:lnTo>
                      <a:lnTo>
                        <a:pt x="1395" y="6928"/>
                      </a:lnTo>
                      <a:lnTo>
                        <a:pt x="1414" y="6954"/>
                      </a:lnTo>
                      <a:lnTo>
                        <a:pt x="1432" y="6979"/>
                      </a:lnTo>
                      <a:lnTo>
                        <a:pt x="1448" y="7004"/>
                      </a:lnTo>
                      <a:lnTo>
                        <a:pt x="1465" y="7031"/>
                      </a:lnTo>
                      <a:lnTo>
                        <a:pt x="1480" y="7057"/>
                      </a:lnTo>
                      <a:lnTo>
                        <a:pt x="1495" y="7085"/>
                      </a:lnTo>
                      <a:lnTo>
                        <a:pt x="1508" y="7113"/>
                      </a:lnTo>
                      <a:lnTo>
                        <a:pt x="1522" y="7142"/>
                      </a:lnTo>
                      <a:lnTo>
                        <a:pt x="1535" y="7171"/>
                      </a:lnTo>
                      <a:lnTo>
                        <a:pt x="2076" y="7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dirty="0">
                    <a:solidFill>
                      <a:srgbClr val="3C3C3C"/>
                    </a:solidFill>
                  </a:endParaRPr>
                </a:p>
              </p:txBody>
            </p:sp>
          </p:grpSp>
          <p:sp>
            <p:nvSpPr>
              <p:cNvPr id="43" name="TextBox 42"/>
              <p:cNvSpPr txBox="1"/>
              <p:nvPr/>
            </p:nvSpPr>
            <p:spPr>
              <a:xfrm>
                <a:off x="6444208" y="3985448"/>
                <a:ext cx="1008212" cy="357791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ru-RU"/>
                </a:defPPr>
                <a:lvl1pPr algn="ctr">
                  <a:lnSpc>
                    <a:spcPts val="1000"/>
                  </a:lnSpc>
                  <a:defRPr sz="1000" b="1">
                    <a:solidFill>
                      <a:schemeClr val="accent3"/>
                    </a:solidFill>
                    <a:latin typeface="Arial Narrow" panose="020B0606020202030204" pitchFamily="34" charset="0"/>
                  </a:defRPr>
                </a:lvl1pPr>
              </a:lstStyle>
              <a:p>
                <a:r>
                  <a:rPr lang="ru-RU" dirty="0">
                    <a:solidFill>
                      <a:srgbClr val="000000"/>
                    </a:solidFill>
                  </a:rPr>
                  <a:t>Отраслевые </a:t>
                </a:r>
                <a:r>
                  <a:rPr lang="ru-RU" dirty="0" smtClean="0">
                    <a:solidFill>
                      <a:srgbClr val="000000"/>
                    </a:solidFill>
                  </a:rPr>
                  <a:t>научные союзы       и объединения</a:t>
                </a:r>
                <a:endParaRPr lang="ru-RU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1" name="Группа 50"/>
            <p:cNvGrpSpPr/>
            <p:nvPr/>
          </p:nvGrpSpPr>
          <p:grpSpPr>
            <a:xfrm>
              <a:off x="7729643" y="3713149"/>
              <a:ext cx="965842" cy="886018"/>
              <a:chOff x="7776356" y="3231477"/>
              <a:chExt cx="965842" cy="886018"/>
            </a:xfrm>
          </p:grpSpPr>
          <p:sp>
            <p:nvSpPr>
              <p:cNvPr id="52" name="man_nauka_1"/>
              <p:cNvSpPr>
                <a:spLocks noEditPoints="1"/>
              </p:cNvSpPr>
              <p:nvPr/>
            </p:nvSpPr>
            <p:spPr bwMode="auto">
              <a:xfrm>
                <a:off x="8064388" y="3231477"/>
                <a:ext cx="445054" cy="464671"/>
              </a:xfrm>
              <a:custGeom>
                <a:avLst/>
                <a:gdLst>
                  <a:gd name="T0" fmla="*/ 7881 w 15609"/>
                  <a:gd name="T1" fmla="*/ 6704 h 16297"/>
                  <a:gd name="T2" fmla="*/ 9114 w 15609"/>
                  <a:gd name="T3" fmla="*/ 3810 h 16297"/>
                  <a:gd name="T4" fmla="*/ 8411 w 15609"/>
                  <a:gd name="T5" fmla="*/ 4662 h 16297"/>
                  <a:gd name="T6" fmla="*/ 6741 w 15609"/>
                  <a:gd name="T7" fmla="*/ 3820 h 16297"/>
                  <a:gd name="T8" fmla="*/ 5177 w 15609"/>
                  <a:gd name="T9" fmla="*/ 4892 h 16297"/>
                  <a:gd name="T10" fmla="*/ 3924 w 15609"/>
                  <a:gd name="T11" fmla="*/ 3642 h 16297"/>
                  <a:gd name="T12" fmla="*/ 5264 w 15609"/>
                  <a:gd name="T13" fmla="*/ 4531 h 16297"/>
                  <a:gd name="T14" fmla="*/ 5676 w 15609"/>
                  <a:gd name="T15" fmla="*/ 3372 h 16297"/>
                  <a:gd name="T16" fmla="*/ 4565 w 15609"/>
                  <a:gd name="T17" fmla="*/ 3899 h 16297"/>
                  <a:gd name="T18" fmla="*/ 7291 w 15609"/>
                  <a:gd name="T19" fmla="*/ 4336 h 16297"/>
                  <a:gd name="T20" fmla="*/ 8426 w 15609"/>
                  <a:gd name="T21" fmla="*/ 3865 h 16297"/>
                  <a:gd name="T22" fmla="*/ 7291 w 15609"/>
                  <a:gd name="T23" fmla="*/ 3394 h 16297"/>
                  <a:gd name="T24" fmla="*/ 13038 w 15609"/>
                  <a:gd name="T25" fmla="*/ 9425 h 16297"/>
                  <a:gd name="T26" fmla="*/ 13714 w 15609"/>
                  <a:gd name="T27" fmla="*/ 10208 h 16297"/>
                  <a:gd name="T28" fmla="*/ 15239 w 15609"/>
                  <a:gd name="T29" fmla="*/ 10654 h 16297"/>
                  <a:gd name="T30" fmla="*/ 14934 w 15609"/>
                  <a:gd name="T31" fmla="*/ 12652 h 16297"/>
                  <a:gd name="T32" fmla="*/ 15404 w 15609"/>
                  <a:gd name="T33" fmla="*/ 14640 h 16297"/>
                  <a:gd name="T34" fmla="*/ 13425 w 15609"/>
                  <a:gd name="T35" fmla="*/ 15422 h 16297"/>
                  <a:gd name="T36" fmla="*/ 11644 w 15609"/>
                  <a:gd name="T37" fmla="*/ 15835 h 16297"/>
                  <a:gd name="T38" fmla="*/ 10789 w 15609"/>
                  <a:gd name="T39" fmla="*/ 15223 h 16297"/>
                  <a:gd name="T40" fmla="*/ 9768 w 15609"/>
                  <a:gd name="T41" fmla="*/ 14870 h 16297"/>
                  <a:gd name="T42" fmla="*/ 9350 w 15609"/>
                  <a:gd name="T43" fmla="*/ 13561 h 16297"/>
                  <a:gd name="T44" fmla="*/ 9210 w 15609"/>
                  <a:gd name="T45" fmla="*/ 11379 h 16297"/>
                  <a:gd name="T46" fmla="*/ 11005 w 15609"/>
                  <a:gd name="T47" fmla="*/ 10538 h 16297"/>
                  <a:gd name="T48" fmla="*/ 13031 w 15609"/>
                  <a:gd name="T49" fmla="*/ 10031 h 16297"/>
                  <a:gd name="T50" fmla="*/ 13135 w 15609"/>
                  <a:gd name="T51" fmla="*/ 9831 h 16297"/>
                  <a:gd name="T52" fmla="*/ 10378 w 15609"/>
                  <a:gd name="T53" fmla="*/ 14877 h 16297"/>
                  <a:gd name="T54" fmla="*/ 10890 w 15609"/>
                  <a:gd name="T55" fmla="*/ 14352 h 16297"/>
                  <a:gd name="T56" fmla="*/ 9895 w 15609"/>
                  <a:gd name="T57" fmla="*/ 13441 h 16297"/>
                  <a:gd name="T58" fmla="*/ 9997 w 15609"/>
                  <a:gd name="T59" fmla="*/ 14411 h 16297"/>
                  <a:gd name="T60" fmla="*/ 12632 w 15609"/>
                  <a:gd name="T61" fmla="*/ 10155 h 16297"/>
                  <a:gd name="T62" fmla="*/ 12165 w 15609"/>
                  <a:gd name="T63" fmla="*/ 9637 h 16297"/>
                  <a:gd name="T64" fmla="*/ 12521 w 15609"/>
                  <a:gd name="T65" fmla="*/ 10961 h 16297"/>
                  <a:gd name="T66" fmla="*/ 13931 w 15609"/>
                  <a:gd name="T67" fmla="*/ 14484 h 16297"/>
                  <a:gd name="T68" fmla="*/ 15178 w 15609"/>
                  <a:gd name="T69" fmla="*/ 13974 h 16297"/>
                  <a:gd name="T70" fmla="*/ 11021 w 15609"/>
                  <a:gd name="T71" fmla="*/ 11243 h 16297"/>
                  <a:gd name="T72" fmla="*/ 9646 w 15609"/>
                  <a:gd name="T73" fmla="*/ 11174 h 16297"/>
                  <a:gd name="T74" fmla="*/ 13165 w 15609"/>
                  <a:gd name="T75" fmla="*/ 11396 h 16297"/>
                  <a:gd name="T76" fmla="*/ 14808 w 15609"/>
                  <a:gd name="T77" fmla="*/ 12156 h 16297"/>
                  <a:gd name="T78" fmla="*/ 14756 w 15609"/>
                  <a:gd name="T79" fmla="*/ 10912 h 16297"/>
                  <a:gd name="T80" fmla="*/ 12887 w 15609"/>
                  <a:gd name="T81" fmla="*/ 14618 h 16297"/>
                  <a:gd name="T82" fmla="*/ 11999 w 15609"/>
                  <a:gd name="T83" fmla="*/ 15622 h 16297"/>
                  <a:gd name="T84" fmla="*/ 13124 w 15609"/>
                  <a:gd name="T85" fmla="*/ 15073 h 16297"/>
                  <a:gd name="T86" fmla="*/ 11924 w 15609"/>
                  <a:gd name="T87" fmla="*/ 14180 h 16297"/>
                  <a:gd name="T88" fmla="*/ 12073 w 15609"/>
                  <a:gd name="T89" fmla="*/ 13789 h 16297"/>
                  <a:gd name="T90" fmla="*/ 13027 w 15609"/>
                  <a:gd name="T91" fmla="*/ 11796 h 16297"/>
                  <a:gd name="T92" fmla="*/ 12964 w 15609"/>
                  <a:gd name="T93" fmla="*/ 14202 h 16297"/>
                  <a:gd name="T94" fmla="*/ 13928 w 15609"/>
                  <a:gd name="T95" fmla="*/ 12561 h 16297"/>
                  <a:gd name="T96" fmla="*/ 11720 w 15609"/>
                  <a:gd name="T97" fmla="*/ 11362 h 16297"/>
                  <a:gd name="T98" fmla="*/ 31 w 15609"/>
                  <a:gd name="T99" fmla="*/ 14219 h 16297"/>
                  <a:gd name="T100" fmla="*/ 8092 w 15609"/>
                  <a:gd name="T101" fmla="*/ 15802 h 16297"/>
                  <a:gd name="T102" fmla="*/ 9078 w 15609"/>
                  <a:gd name="T103" fmla="*/ 13161 h 16297"/>
                  <a:gd name="T104" fmla="*/ 9355 w 15609"/>
                  <a:gd name="T105" fmla="*/ 10281 h 16297"/>
                  <a:gd name="T106" fmla="*/ 9599 w 15609"/>
                  <a:gd name="T107" fmla="*/ 7973 h 16297"/>
                  <a:gd name="T108" fmla="*/ 3531 w 15609"/>
                  <a:gd name="T109" fmla="*/ 7903 h 16297"/>
                  <a:gd name="T110" fmla="*/ 5714 w 15609"/>
                  <a:gd name="T111" fmla="*/ 2950 h 16297"/>
                  <a:gd name="T112" fmla="*/ 7728 w 15609"/>
                  <a:gd name="T113" fmla="*/ 2816 h 16297"/>
                  <a:gd name="T114" fmla="*/ 9073 w 15609"/>
                  <a:gd name="T115" fmla="*/ 3363 h 16297"/>
                  <a:gd name="T116" fmla="*/ 8864 w 15609"/>
                  <a:gd name="T117" fmla="*/ 1096 h 16297"/>
                  <a:gd name="T118" fmla="*/ 7022 w 15609"/>
                  <a:gd name="T119" fmla="*/ 49 h 16297"/>
                  <a:gd name="T120" fmla="*/ 4763 w 15609"/>
                  <a:gd name="T121" fmla="*/ 469 h 16297"/>
                  <a:gd name="T122" fmla="*/ 3853 w 15609"/>
                  <a:gd name="T123" fmla="*/ 2869 h 16297"/>
                  <a:gd name="T124" fmla="*/ 5101 w 15609"/>
                  <a:gd name="T125" fmla="*/ 2825 h 16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5609" h="16297">
                    <a:moveTo>
                      <a:pt x="4082" y="4890"/>
                    </a:moveTo>
                    <a:lnTo>
                      <a:pt x="4103" y="5013"/>
                    </a:lnTo>
                    <a:lnTo>
                      <a:pt x="4129" y="5136"/>
                    </a:lnTo>
                    <a:lnTo>
                      <a:pt x="4160" y="5257"/>
                    </a:lnTo>
                    <a:lnTo>
                      <a:pt x="4196" y="5377"/>
                    </a:lnTo>
                    <a:lnTo>
                      <a:pt x="4236" y="5496"/>
                    </a:lnTo>
                    <a:lnTo>
                      <a:pt x="4281" y="5613"/>
                    </a:lnTo>
                    <a:lnTo>
                      <a:pt x="4330" y="5729"/>
                    </a:lnTo>
                    <a:lnTo>
                      <a:pt x="4383" y="5842"/>
                    </a:lnTo>
                    <a:lnTo>
                      <a:pt x="4440" y="5953"/>
                    </a:lnTo>
                    <a:lnTo>
                      <a:pt x="4501" y="6062"/>
                    </a:lnTo>
                    <a:lnTo>
                      <a:pt x="4565" y="6168"/>
                    </a:lnTo>
                    <a:lnTo>
                      <a:pt x="4632" y="6272"/>
                    </a:lnTo>
                    <a:lnTo>
                      <a:pt x="4702" y="6372"/>
                    </a:lnTo>
                    <a:lnTo>
                      <a:pt x="4775" y="6470"/>
                    </a:lnTo>
                    <a:lnTo>
                      <a:pt x="4851" y="6564"/>
                    </a:lnTo>
                    <a:lnTo>
                      <a:pt x="4930" y="6653"/>
                    </a:lnTo>
                    <a:lnTo>
                      <a:pt x="5010" y="6740"/>
                    </a:lnTo>
                    <a:lnTo>
                      <a:pt x="5094" y="6821"/>
                    </a:lnTo>
                    <a:lnTo>
                      <a:pt x="5178" y="6900"/>
                    </a:lnTo>
                    <a:lnTo>
                      <a:pt x="5265" y="6973"/>
                    </a:lnTo>
                    <a:lnTo>
                      <a:pt x="5354" y="7041"/>
                    </a:lnTo>
                    <a:lnTo>
                      <a:pt x="5443" y="7105"/>
                    </a:lnTo>
                    <a:lnTo>
                      <a:pt x="5535" y="7164"/>
                    </a:lnTo>
                    <a:lnTo>
                      <a:pt x="5627" y="7218"/>
                    </a:lnTo>
                    <a:lnTo>
                      <a:pt x="5720" y="7265"/>
                    </a:lnTo>
                    <a:lnTo>
                      <a:pt x="5814" y="7307"/>
                    </a:lnTo>
                    <a:lnTo>
                      <a:pt x="5908" y="7344"/>
                    </a:lnTo>
                    <a:lnTo>
                      <a:pt x="6003" y="7373"/>
                    </a:lnTo>
                    <a:lnTo>
                      <a:pt x="6098" y="7397"/>
                    </a:lnTo>
                    <a:lnTo>
                      <a:pt x="6193" y="7414"/>
                    </a:lnTo>
                    <a:lnTo>
                      <a:pt x="6288" y="7425"/>
                    </a:lnTo>
                    <a:lnTo>
                      <a:pt x="6382" y="7428"/>
                    </a:lnTo>
                    <a:lnTo>
                      <a:pt x="6491" y="7424"/>
                    </a:lnTo>
                    <a:lnTo>
                      <a:pt x="6600" y="7413"/>
                    </a:lnTo>
                    <a:lnTo>
                      <a:pt x="6708" y="7395"/>
                    </a:lnTo>
                    <a:lnTo>
                      <a:pt x="6815" y="7369"/>
                    </a:lnTo>
                    <a:lnTo>
                      <a:pt x="6921" y="7337"/>
                    </a:lnTo>
                    <a:lnTo>
                      <a:pt x="7024" y="7298"/>
                    </a:lnTo>
                    <a:lnTo>
                      <a:pt x="7127" y="7253"/>
                    </a:lnTo>
                    <a:lnTo>
                      <a:pt x="7229" y="7203"/>
                    </a:lnTo>
                    <a:lnTo>
                      <a:pt x="7328" y="7146"/>
                    </a:lnTo>
                    <a:lnTo>
                      <a:pt x="7426" y="7085"/>
                    </a:lnTo>
                    <a:lnTo>
                      <a:pt x="7521" y="7018"/>
                    </a:lnTo>
                    <a:lnTo>
                      <a:pt x="7615" y="6947"/>
                    </a:lnTo>
                    <a:lnTo>
                      <a:pt x="7706" y="6870"/>
                    </a:lnTo>
                    <a:lnTo>
                      <a:pt x="7795" y="6789"/>
                    </a:lnTo>
                    <a:lnTo>
                      <a:pt x="7881" y="6704"/>
                    </a:lnTo>
                    <a:lnTo>
                      <a:pt x="7965" y="6616"/>
                    </a:lnTo>
                    <a:lnTo>
                      <a:pt x="8046" y="6524"/>
                    </a:lnTo>
                    <a:lnTo>
                      <a:pt x="8124" y="6428"/>
                    </a:lnTo>
                    <a:lnTo>
                      <a:pt x="8198" y="6329"/>
                    </a:lnTo>
                    <a:lnTo>
                      <a:pt x="8271" y="6229"/>
                    </a:lnTo>
                    <a:lnTo>
                      <a:pt x="8339" y="6125"/>
                    </a:lnTo>
                    <a:lnTo>
                      <a:pt x="8403" y="6019"/>
                    </a:lnTo>
                    <a:lnTo>
                      <a:pt x="8464" y="5911"/>
                    </a:lnTo>
                    <a:lnTo>
                      <a:pt x="8521" y="5802"/>
                    </a:lnTo>
                    <a:lnTo>
                      <a:pt x="8575" y="5690"/>
                    </a:lnTo>
                    <a:lnTo>
                      <a:pt x="8623" y="5578"/>
                    </a:lnTo>
                    <a:lnTo>
                      <a:pt x="8668" y="5465"/>
                    </a:lnTo>
                    <a:lnTo>
                      <a:pt x="8709" y="5351"/>
                    </a:lnTo>
                    <a:lnTo>
                      <a:pt x="8745" y="5236"/>
                    </a:lnTo>
                    <a:lnTo>
                      <a:pt x="8777" y="5122"/>
                    </a:lnTo>
                    <a:lnTo>
                      <a:pt x="8803" y="5008"/>
                    </a:lnTo>
                    <a:lnTo>
                      <a:pt x="8825" y="4894"/>
                    </a:lnTo>
                    <a:lnTo>
                      <a:pt x="8841" y="4877"/>
                    </a:lnTo>
                    <a:lnTo>
                      <a:pt x="8857" y="4859"/>
                    </a:lnTo>
                    <a:lnTo>
                      <a:pt x="8874" y="4839"/>
                    </a:lnTo>
                    <a:lnTo>
                      <a:pt x="8889" y="4819"/>
                    </a:lnTo>
                    <a:lnTo>
                      <a:pt x="8904" y="4796"/>
                    </a:lnTo>
                    <a:lnTo>
                      <a:pt x="8919" y="4772"/>
                    </a:lnTo>
                    <a:lnTo>
                      <a:pt x="8934" y="4748"/>
                    </a:lnTo>
                    <a:lnTo>
                      <a:pt x="8948" y="4720"/>
                    </a:lnTo>
                    <a:lnTo>
                      <a:pt x="8961" y="4693"/>
                    </a:lnTo>
                    <a:lnTo>
                      <a:pt x="8974" y="4662"/>
                    </a:lnTo>
                    <a:lnTo>
                      <a:pt x="8985" y="4630"/>
                    </a:lnTo>
                    <a:lnTo>
                      <a:pt x="8998" y="4597"/>
                    </a:lnTo>
                    <a:lnTo>
                      <a:pt x="9008" y="4562"/>
                    </a:lnTo>
                    <a:lnTo>
                      <a:pt x="9018" y="4525"/>
                    </a:lnTo>
                    <a:lnTo>
                      <a:pt x="9027" y="4487"/>
                    </a:lnTo>
                    <a:lnTo>
                      <a:pt x="9034" y="4446"/>
                    </a:lnTo>
                    <a:lnTo>
                      <a:pt x="9046" y="4400"/>
                    </a:lnTo>
                    <a:lnTo>
                      <a:pt x="9060" y="4350"/>
                    </a:lnTo>
                    <a:lnTo>
                      <a:pt x="9071" y="4298"/>
                    </a:lnTo>
                    <a:lnTo>
                      <a:pt x="9083" y="4243"/>
                    </a:lnTo>
                    <a:lnTo>
                      <a:pt x="9093" y="4186"/>
                    </a:lnTo>
                    <a:lnTo>
                      <a:pt x="9102" y="4128"/>
                    </a:lnTo>
                    <a:lnTo>
                      <a:pt x="9109" y="4070"/>
                    </a:lnTo>
                    <a:lnTo>
                      <a:pt x="9116" y="4011"/>
                    </a:lnTo>
                    <a:lnTo>
                      <a:pt x="9118" y="3982"/>
                    </a:lnTo>
                    <a:lnTo>
                      <a:pt x="9119" y="3952"/>
                    </a:lnTo>
                    <a:lnTo>
                      <a:pt x="9120" y="3924"/>
                    </a:lnTo>
                    <a:lnTo>
                      <a:pt x="9120" y="3895"/>
                    </a:lnTo>
                    <a:lnTo>
                      <a:pt x="9119" y="3866"/>
                    </a:lnTo>
                    <a:lnTo>
                      <a:pt x="9117" y="3838"/>
                    </a:lnTo>
                    <a:lnTo>
                      <a:pt x="9114" y="3810"/>
                    </a:lnTo>
                    <a:lnTo>
                      <a:pt x="9111" y="3784"/>
                    </a:lnTo>
                    <a:lnTo>
                      <a:pt x="9107" y="3757"/>
                    </a:lnTo>
                    <a:lnTo>
                      <a:pt x="9102" y="3732"/>
                    </a:lnTo>
                    <a:lnTo>
                      <a:pt x="9096" y="3707"/>
                    </a:lnTo>
                    <a:lnTo>
                      <a:pt x="9090" y="3682"/>
                    </a:lnTo>
                    <a:lnTo>
                      <a:pt x="9082" y="3660"/>
                    </a:lnTo>
                    <a:lnTo>
                      <a:pt x="9073" y="3637"/>
                    </a:lnTo>
                    <a:lnTo>
                      <a:pt x="9063" y="3616"/>
                    </a:lnTo>
                    <a:lnTo>
                      <a:pt x="9051" y="3596"/>
                    </a:lnTo>
                    <a:lnTo>
                      <a:pt x="9038" y="3610"/>
                    </a:lnTo>
                    <a:lnTo>
                      <a:pt x="9024" y="3623"/>
                    </a:lnTo>
                    <a:lnTo>
                      <a:pt x="9009" y="3634"/>
                    </a:lnTo>
                    <a:lnTo>
                      <a:pt x="8994" y="3643"/>
                    </a:lnTo>
                    <a:lnTo>
                      <a:pt x="8984" y="3648"/>
                    </a:lnTo>
                    <a:lnTo>
                      <a:pt x="8976" y="3652"/>
                    </a:lnTo>
                    <a:lnTo>
                      <a:pt x="8967" y="3655"/>
                    </a:lnTo>
                    <a:lnTo>
                      <a:pt x="8958" y="3658"/>
                    </a:lnTo>
                    <a:lnTo>
                      <a:pt x="8949" y="3660"/>
                    </a:lnTo>
                    <a:lnTo>
                      <a:pt x="8940" y="3661"/>
                    </a:lnTo>
                    <a:lnTo>
                      <a:pt x="8930" y="3662"/>
                    </a:lnTo>
                    <a:lnTo>
                      <a:pt x="8921" y="3663"/>
                    </a:lnTo>
                    <a:lnTo>
                      <a:pt x="8760" y="3663"/>
                    </a:lnTo>
                    <a:lnTo>
                      <a:pt x="8765" y="3691"/>
                    </a:lnTo>
                    <a:lnTo>
                      <a:pt x="8770" y="3719"/>
                    </a:lnTo>
                    <a:lnTo>
                      <a:pt x="8774" y="3745"/>
                    </a:lnTo>
                    <a:lnTo>
                      <a:pt x="8778" y="3771"/>
                    </a:lnTo>
                    <a:lnTo>
                      <a:pt x="8780" y="3796"/>
                    </a:lnTo>
                    <a:lnTo>
                      <a:pt x="8782" y="3822"/>
                    </a:lnTo>
                    <a:lnTo>
                      <a:pt x="8783" y="3848"/>
                    </a:lnTo>
                    <a:lnTo>
                      <a:pt x="8784" y="3875"/>
                    </a:lnTo>
                    <a:lnTo>
                      <a:pt x="8782" y="3928"/>
                    </a:lnTo>
                    <a:lnTo>
                      <a:pt x="8779" y="3980"/>
                    </a:lnTo>
                    <a:lnTo>
                      <a:pt x="8772" y="4030"/>
                    </a:lnTo>
                    <a:lnTo>
                      <a:pt x="8763" y="4081"/>
                    </a:lnTo>
                    <a:lnTo>
                      <a:pt x="8752" y="4130"/>
                    </a:lnTo>
                    <a:lnTo>
                      <a:pt x="8737" y="4179"/>
                    </a:lnTo>
                    <a:lnTo>
                      <a:pt x="8722" y="4226"/>
                    </a:lnTo>
                    <a:lnTo>
                      <a:pt x="8703" y="4273"/>
                    </a:lnTo>
                    <a:lnTo>
                      <a:pt x="8682" y="4318"/>
                    </a:lnTo>
                    <a:lnTo>
                      <a:pt x="8660" y="4361"/>
                    </a:lnTo>
                    <a:lnTo>
                      <a:pt x="8636" y="4404"/>
                    </a:lnTo>
                    <a:lnTo>
                      <a:pt x="8609" y="4445"/>
                    </a:lnTo>
                    <a:lnTo>
                      <a:pt x="8581" y="4486"/>
                    </a:lnTo>
                    <a:lnTo>
                      <a:pt x="8550" y="4523"/>
                    </a:lnTo>
                    <a:lnTo>
                      <a:pt x="8518" y="4561"/>
                    </a:lnTo>
                    <a:lnTo>
                      <a:pt x="8484" y="4596"/>
                    </a:lnTo>
                    <a:lnTo>
                      <a:pt x="8449" y="4629"/>
                    </a:lnTo>
                    <a:lnTo>
                      <a:pt x="8411" y="4662"/>
                    </a:lnTo>
                    <a:lnTo>
                      <a:pt x="8372" y="4691"/>
                    </a:lnTo>
                    <a:lnTo>
                      <a:pt x="8333" y="4720"/>
                    </a:lnTo>
                    <a:lnTo>
                      <a:pt x="8291" y="4747"/>
                    </a:lnTo>
                    <a:lnTo>
                      <a:pt x="8248" y="4771"/>
                    </a:lnTo>
                    <a:lnTo>
                      <a:pt x="8204" y="4793"/>
                    </a:lnTo>
                    <a:lnTo>
                      <a:pt x="8159" y="4814"/>
                    </a:lnTo>
                    <a:lnTo>
                      <a:pt x="8112" y="4832"/>
                    </a:lnTo>
                    <a:lnTo>
                      <a:pt x="8064" y="4848"/>
                    </a:lnTo>
                    <a:lnTo>
                      <a:pt x="8016" y="4862"/>
                    </a:lnTo>
                    <a:lnTo>
                      <a:pt x="7967" y="4873"/>
                    </a:lnTo>
                    <a:lnTo>
                      <a:pt x="7917" y="4882"/>
                    </a:lnTo>
                    <a:lnTo>
                      <a:pt x="7865" y="4888"/>
                    </a:lnTo>
                    <a:lnTo>
                      <a:pt x="7813" y="4892"/>
                    </a:lnTo>
                    <a:lnTo>
                      <a:pt x="7761" y="4893"/>
                    </a:lnTo>
                    <a:lnTo>
                      <a:pt x="7708" y="4892"/>
                    </a:lnTo>
                    <a:lnTo>
                      <a:pt x="7657" y="4888"/>
                    </a:lnTo>
                    <a:lnTo>
                      <a:pt x="7606" y="4882"/>
                    </a:lnTo>
                    <a:lnTo>
                      <a:pt x="7555" y="4873"/>
                    </a:lnTo>
                    <a:lnTo>
                      <a:pt x="7506" y="4862"/>
                    </a:lnTo>
                    <a:lnTo>
                      <a:pt x="7457" y="4847"/>
                    </a:lnTo>
                    <a:lnTo>
                      <a:pt x="7410" y="4832"/>
                    </a:lnTo>
                    <a:lnTo>
                      <a:pt x="7364" y="4814"/>
                    </a:lnTo>
                    <a:lnTo>
                      <a:pt x="7318" y="4793"/>
                    </a:lnTo>
                    <a:lnTo>
                      <a:pt x="7274" y="4771"/>
                    </a:lnTo>
                    <a:lnTo>
                      <a:pt x="7232" y="4747"/>
                    </a:lnTo>
                    <a:lnTo>
                      <a:pt x="7190" y="4720"/>
                    </a:lnTo>
                    <a:lnTo>
                      <a:pt x="7149" y="4691"/>
                    </a:lnTo>
                    <a:lnTo>
                      <a:pt x="7111" y="4661"/>
                    </a:lnTo>
                    <a:lnTo>
                      <a:pt x="7074" y="4629"/>
                    </a:lnTo>
                    <a:lnTo>
                      <a:pt x="7038" y="4595"/>
                    </a:lnTo>
                    <a:lnTo>
                      <a:pt x="7005" y="4560"/>
                    </a:lnTo>
                    <a:lnTo>
                      <a:pt x="6972" y="4522"/>
                    </a:lnTo>
                    <a:lnTo>
                      <a:pt x="6942" y="4484"/>
                    </a:lnTo>
                    <a:lnTo>
                      <a:pt x="6913" y="4444"/>
                    </a:lnTo>
                    <a:lnTo>
                      <a:pt x="6887" y="4402"/>
                    </a:lnTo>
                    <a:lnTo>
                      <a:pt x="6863" y="4360"/>
                    </a:lnTo>
                    <a:lnTo>
                      <a:pt x="6839" y="4316"/>
                    </a:lnTo>
                    <a:lnTo>
                      <a:pt x="6819" y="4271"/>
                    </a:lnTo>
                    <a:lnTo>
                      <a:pt x="6801" y="4224"/>
                    </a:lnTo>
                    <a:lnTo>
                      <a:pt x="6784" y="4177"/>
                    </a:lnTo>
                    <a:lnTo>
                      <a:pt x="6771" y="4128"/>
                    </a:lnTo>
                    <a:lnTo>
                      <a:pt x="6759" y="4079"/>
                    </a:lnTo>
                    <a:lnTo>
                      <a:pt x="6751" y="4028"/>
                    </a:lnTo>
                    <a:lnTo>
                      <a:pt x="6744" y="3977"/>
                    </a:lnTo>
                    <a:lnTo>
                      <a:pt x="6740" y="3926"/>
                    </a:lnTo>
                    <a:lnTo>
                      <a:pt x="6739" y="3873"/>
                    </a:lnTo>
                    <a:lnTo>
                      <a:pt x="6739" y="3846"/>
                    </a:lnTo>
                    <a:lnTo>
                      <a:pt x="6741" y="3820"/>
                    </a:lnTo>
                    <a:lnTo>
                      <a:pt x="6743" y="3794"/>
                    </a:lnTo>
                    <a:lnTo>
                      <a:pt x="6745" y="3770"/>
                    </a:lnTo>
                    <a:lnTo>
                      <a:pt x="6749" y="3744"/>
                    </a:lnTo>
                    <a:lnTo>
                      <a:pt x="6753" y="3719"/>
                    </a:lnTo>
                    <a:lnTo>
                      <a:pt x="6757" y="3691"/>
                    </a:lnTo>
                    <a:lnTo>
                      <a:pt x="6763" y="3663"/>
                    </a:lnTo>
                    <a:lnTo>
                      <a:pt x="6228" y="3663"/>
                    </a:lnTo>
                    <a:lnTo>
                      <a:pt x="6233" y="3691"/>
                    </a:lnTo>
                    <a:lnTo>
                      <a:pt x="6238" y="3719"/>
                    </a:lnTo>
                    <a:lnTo>
                      <a:pt x="6242" y="3745"/>
                    </a:lnTo>
                    <a:lnTo>
                      <a:pt x="6245" y="3771"/>
                    </a:lnTo>
                    <a:lnTo>
                      <a:pt x="6248" y="3796"/>
                    </a:lnTo>
                    <a:lnTo>
                      <a:pt x="6251" y="3822"/>
                    </a:lnTo>
                    <a:lnTo>
                      <a:pt x="6252" y="3848"/>
                    </a:lnTo>
                    <a:lnTo>
                      <a:pt x="6252" y="3875"/>
                    </a:lnTo>
                    <a:lnTo>
                      <a:pt x="6251" y="3928"/>
                    </a:lnTo>
                    <a:lnTo>
                      <a:pt x="6246" y="3980"/>
                    </a:lnTo>
                    <a:lnTo>
                      <a:pt x="6240" y="4030"/>
                    </a:lnTo>
                    <a:lnTo>
                      <a:pt x="6231" y="4081"/>
                    </a:lnTo>
                    <a:lnTo>
                      <a:pt x="6220" y="4130"/>
                    </a:lnTo>
                    <a:lnTo>
                      <a:pt x="6206" y="4179"/>
                    </a:lnTo>
                    <a:lnTo>
                      <a:pt x="6190" y="4226"/>
                    </a:lnTo>
                    <a:lnTo>
                      <a:pt x="6171" y="4273"/>
                    </a:lnTo>
                    <a:lnTo>
                      <a:pt x="6151" y="4318"/>
                    </a:lnTo>
                    <a:lnTo>
                      <a:pt x="6129" y="4361"/>
                    </a:lnTo>
                    <a:lnTo>
                      <a:pt x="6104" y="4404"/>
                    </a:lnTo>
                    <a:lnTo>
                      <a:pt x="6077" y="4445"/>
                    </a:lnTo>
                    <a:lnTo>
                      <a:pt x="6048" y="4486"/>
                    </a:lnTo>
                    <a:lnTo>
                      <a:pt x="6018" y="4523"/>
                    </a:lnTo>
                    <a:lnTo>
                      <a:pt x="5986" y="4561"/>
                    </a:lnTo>
                    <a:lnTo>
                      <a:pt x="5953" y="4596"/>
                    </a:lnTo>
                    <a:lnTo>
                      <a:pt x="5917" y="4629"/>
                    </a:lnTo>
                    <a:lnTo>
                      <a:pt x="5879" y="4662"/>
                    </a:lnTo>
                    <a:lnTo>
                      <a:pt x="5841" y="4691"/>
                    </a:lnTo>
                    <a:lnTo>
                      <a:pt x="5801" y="4720"/>
                    </a:lnTo>
                    <a:lnTo>
                      <a:pt x="5759" y="4747"/>
                    </a:lnTo>
                    <a:lnTo>
                      <a:pt x="5717" y="4771"/>
                    </a:lnTo>
                    <a:lnTo>
                      <a:pt x="5672" y="4793"/>
                    </a:lnTo>
                    <a:lnTo>
                      <a:pt x="5627" y="4814"/>
                    </a:lnTo>
                    <a:lnTo>
                      <a:pt x="5581" y="4832"/>
                    </a:lnTo>
                    <a:lnTo>
                      <a:pt x="5534" y="4848"/>
                    </a:lnTo>
                    <a:lnTo>
                      <a:pt x="5485" y="4862"/>
                    </a:lnTo>
                    <a:lnTo>
                      <a:pt x="5435" y="4873"/>
                    </a:lnTo>
                    <a:lnTo>
                      <a:pt x="5385" y="4882"/>
                    </a:lnTo>
                    <a:lnTo>
                      <a:pt x="5334" y="4888"/>
                    </a:lnTo>
                    <a:lnTo>
                      <a:pt x="5283" y="4892"/>
                    </a:lnTo>
                    <a:lnTo>
                      <a:pt x="5230" y="4893"/>
                    </a:lnTo>
                    <a:lnTo>
                      <a:pt x="5177" y="4892"/>
                    </a:lnTo>
                    <a:lnTo>
                      <a:pt x="5125" y="4888"/>
                    </a:lnTo>
                    <a:lnTo>
                      <a:pt x="5074" y="4882"/>
                    </a:lnTo>
                    <a:lnTo>
                      <a:pt x="5024" y="4873"/>
                    </a:lnTo>
                    <a:lnTo>
                      <a:pt x="4975" y="4862"/>
                    </a:lnTo>
                    <a:lnTo>
                      <a:pt x="4926" y="4847"/>
                    </a:lnTo>
                    <a:lnTo>
                      <a:pt x="4879" y="4832"/>
                    </a:lnTo>
                    <a:lnTo>
                      <a:pt x="4832" y="4814"/>
                    </a:lnTo>
                    <a:lnTo>
                      <a:pt x="4787" y="4793"/>
                    </a:lnTo>
                    <a:lnTo>
                      <a:pt x="4743" y="4771"/>
                    </a:lnTo>
                    <a:lnTo>
                      <a:pt x="4700" y="4747"/>
                    </a:lnTo>
                    <a:lnTo>
                      <a:pt x="4658" y="4720"/>
                    </a:lnTo>
                    <a:lnTo>
                      <a:pt x="4619" y="4691"/>
                    </a:lnTo>
                    <a:lnTo>
                      <a:pt x="4580" y="4661"/>
                    </a:lnTo>
                    <a:lnTo>
                      <a:pt x="4543" y="4629"/>
                    </a:lnTo>
                    <a:lnTo>
                      <a:pt x="4507" y="4595"/>
                    </a:lnTo>
                    <a:lnTo>
                      <a:pt x="4473" y="4560"/>
                    </a:lnTo>
                    <a:lnTo>
                      <a:pt x="4441" y="4522"/>
                    </a:lnTo>
                    <a:lnTo>
                      <a:pt x="4410" y="4484"/>
                    </a:lnTo>
                    <a:lnTo>
                      <a:pt x="4382" y="4444"/>
                    </a:lnTo>
                    <a:lnTo>
                      <a:pt x="4355" y="4402"/>
                    </a:lnTo>
                    <a:lnTo>
                      <a:pt x="4331" y="4360"/>
                    </a:lnTo>
                    <a:lnTo>
                      <a:pt x="4308" y="4316"/>
                    </a:lnTo>
                    <a:lnTo>
                      <a:pt x="4287" y="4271"/>
                    </a:lnTo>
                    <a:lnTo>
                      <a:pt x="4269" y="4224"/>
                    </a:lnTo>
                    <a:lnTo>
                      <a:pt x="4253" y="4177"/>
                    </a:lnTo>
                    <a:lnTo>
                      <a:pt x="4240" y="4128"/>
                    </a:lnTo>
                    <a:lnTo>
                      <a:pt x="4228" y="4079"/>
                    </a:lnTo>
                    <a:lnTo>
                      <a:pt x="4219" y="4028"/>
                    </a:lnTo>
                    <a:lnTo>
                      <a:pt x="4212" y="3977"/>
                    </a:lnTo>
                    <a:lnTo>
                      <a:pt x="4208" y="3926"/>
                    </a:lnTo>
                    <a:lnTo>
                      <a:pt x="4207" y="3873"/>
                    </a:lnTo>
                    <a:lnTo>
                      <a:pt x="4207" y="3846"/>
                    </a:lnTo>
                    <a:lnTo>
                      <a:pt x="4209" y="3820"/>
                    </a:lnTo>
                    <a:lnTo>
                      <a:pt x="4211" y="3794"/>
                    </a:lnTo>
                    <a:lnTo>
                      <a:pt x="4213" y="3770"/>
                    </a:lnTo>
                    <a:lnTo>
                      <a:pt x="4217" y="3744"/>
                    </a:lnTo>
                    <a:lnTo>
                      <a:pt x="4221" y="3719"/>
                    </a:lnTo>
                    <a:lnTo>
                      <a:pt x="4225" y="3691"/>
                    </a:lnTo>
                    <a:lnTo>
                      <a:pt x="4231" y="3663"/>
                    </a:lnTo>
                    <a:lnTo>
                      <a:pt x="3999" y="3663"/>
                    </a:lnTo>
                    <a:lnTo>
                      <a:pt x="3988" y="3662"/>
                    </a:lnTo>
                    <a:lnTo>
                      <a:pt x="3979" y="3661"/>
                    </a:lnTo>
                    <a:lnTo>
                      <a:pt x="3969" y="3660"/>
                    </a:lnTo>
                    <a:lnTo>
                      <a:pt x="3960" y="3658"/>
                    </a:lnTo>
                    <a:lnTo>
                      <a:pt x="3951" y="3655"/>
                    </a:lnTo>
                    <a:lnTo>
                      <a:pt x="3942" y="3651"/>
                    </a:lnTo>
                    <a:lnTo>
                      <a:pt x="3932" y="3647"/>
                    </a:lnTo>
                    <a:lnTo>
                      <a:pt x="3924" y="3642"/>
                    </a:lnTo>
                    <a:lnTo>
                      <a:pt x="3916" y="3637"/>
                    </a:lnTo>
                    <a:lnTo>
                      <a:pt x="3908" y="3632"/>
                    </a:lnTo>
                    <a:lnTo>
                      <a:pt x="3900" y="3626"/>
                    </a:lnTo>
                    <a:lnTo>
                      <a:pt x="3892" y="3620"/>
                    </a:lnTo>
                    <a:lnTo>
                      <a:pt x="3878" y="3606"/>
                    </a:lnTo>
                    <a:lnTo>
                      <a:pt x="3865" y="3591"/>
                    </a:lnTo>
                    <a:lnTo>
                      <a:pt x="3853" y="3611"/>
                    </a:lnTo>
                    <a:lnTo>
                      <a:pt x="3842" y="3631"/>
                    </a:lnTo>
                    <a:lnTo>
                      <a:pt x="3833" y="3654"/>
                    </a:lnTo>
                    <a:lnTo>
                      <a:pt x="3824" y="3676"/>
                    </a:lnTo>
                    <a:lnTo>
                      <a:pt x="3817" y="3700"/>
                    </a:lnTo>
                    <a:lnTo>
                      <a:pt x="3810" y="3725"/>
                    </a:lnTo>
                    <a:lnTo>
                      <a:pt x="3805" y="3750"/>
                    </a:lnTo>
                    <a:lnTo>
                      <a:pt x="3801" y="3777"/>
                    </a:lnTo>
                    <a:lnTo>
                      <a:pt x="3798" y="3804"/>
                    </a:lnTo>
                    <a:lnTo>
                      <a:pt x="3795" y="3832"/>
                    </a:lnTo>
                    <a:lnTo>
                      <a:pt x="3794" y="3859"/>
                    </a:lnTo>
                    <a:lnTo>
                      <a:pt x="3793" y="3888"/>
                    </a:lnTo>
                    <a:lnTo>
                      <a:pt x="3793" y="3917"/>
                    </a:lnTo>
                    <a:lnTo>
                      <a:pt x="3794" y="3946"/>
                    </a:lnTo>
                    <a:lnTo>
                      <a:pt x="3795" y="3975"/>
                    </a:lnTo>
                    <a:lnTo>
                      <a:pt x="3797" y="4005"/>
                    </a:lnTo>
                    <a:lnTo>
                      <a:pt x="3803" y="4065"/>
                    </a:lnTo>
                    <a:lnTo>
                      <a:pt x="3810" y="4124"/>
                    </a:lnTo>
                    <a:lnTo>
                      <a:pt x="3821" y="4182"/>
                    </a:lnTo>
                    <a:lnTo>
                      <a:pt x="3831" y="4240"/>
                    </a:lnTo>
                    <a:lnTo>
                      <a:pt x="3843" y="4295"/>
                    </a:lnTo>
                    <a:lnTo>
                      <a:pt x="3855" y="4349"/>
                    </a:lnTo>
                    <a:lnTo>
                      <a:pt x="3867" y="4399"/>
                    </a:lnTo>
                    <a:lnTo>
                      <a:pt x="3881" y="4446"/>
                    </a:lnTo>
                    <a:lnTo>
                      <a:pt x="3888" y="4487"/>
                    </a:lnTo>
                    <a:lnTo>
                      <a:pt x="3896" y="4525"/>
                    </a:lnTo>
                    <a:lnTo>
                      <a:pt x="3905" y="4562"/>
                    </a:lnTo>
                    <a:lnTo>
                      <a:pt x="3915" y="4597"/>
                    </a:lnTo>
                    <a:lnTo>
                      <a:pt x="3926" y="4629"/>
                    </a:lnTo>
                    <a:lnTo>
                      <a:pt x="3938" y="4661"/>
                    </a:lnTo>
                    <a:lnTo>
                      <a:pt x="3950" y="4690"/>
                    </a:lnTo>
                    <a:lnTo>
                      <a:pt x="3963" y="4718"/>
                    </a:lnTo>
                    <a:lnTo>
                      <a:pt x="3977" y="4744"/>
                    </a:lnTo>
                    <a:lnTo>
                      <a:pt x="3990" y="4770"/>
                    </a:lnTo>
                    <a:lnTo>
                      <a:pt x="4006" y="4793"/>
                    </a:lnTo>
                    <a:lnTo>
                      <a:pt x="4020" y="4815"/>
                    </a:lnTo>
                    <a:lnTo>
                      <a:pt x="4035" y="4835"/>
                    </a:lnTo>
                    <a:lnTo>
                      <a:pt x="4050" y="4854"/>
                    </a:lnTo>
                    <a:lnTo>
                      <a:pt x="4067" y="4873"/>
                    </a:lnTo>
                    <a:lnTo>
                      <a:pt x="4082" y="4890"/>
                    </a:lnTo>
                    <a:close/>
                    <a:moveTo>
                      <a:pt x="5230" y="4532"/>
                    </a:moveTo>
                    <a:lnTo>
                      <a:pt x="5264" y="4531"/>
                    </a:lnTo>
                    <a:lnTo>
                      <a:pt x="5298" y="4529"/>
                    </a:lnTo>
                    <a:lnTo>
                      <a:pt x="5331" y="4523"/>
                    </a:lnTo>
                    <a:lnTo>
                      <a:pt x="5364" y="4518"/>
                    </a:lnTo>
                    <a:lnTo>
                      <a:pt x="5395" y="4510"/>
                    </a:lnTo>
                    <a:lnTo>
                      <a:pt x="5427" y="4501"/>
                    </a:lnTo>
                    <a:lnTo>
                      <a:pt x="5459" y="4491"/>
                    </a:lnTo>
                    <a:lnTo>
                      <a:pt x="5488" y="4479"/>
                    </a:lnTo>
                    <a:lnTo>
                      <a:pt x="5517" y="4465"/>
                    </a:lnTo>
                    <a:lnTo>
                      <a:pt x="5546" y="4451"/>
                    </a:lnTo>
                    <a:lnTo>
                      <a:pt x="5574" y="4435"/>
                    </a:lnTo>
                    <a:lnTo>
                      <a:pt x="5601" y="4418"/>
                    </a:lnTo>
                    <a:lnTo>
                      <a:pt x="5627" y="4399"/>
                    </a:lnTo>
                    <a:lnTo>
                      <a:pt x="5653" y="4379"/>
                    </a:lnTo>
                    <a:lnTo>
                      <a:pt x="5676" y="4358"/>
                    </a:lnTo>
                    <a:lnTo>
                      <a:pt x="5699" y="4336"/>
                    </a:lnTo>
                    <a:lnTo>
                      <a:pt x="5722" y="4313"/>
                    </a:lnTo>
                    <a:lnTo>
                      <a:pt x="5742" y="4289"/>
                    </a:lnTo>
                    <a:lnTo>
                      <a:pt x="5763" y="4264"/>
                    </a:lnTo>
                    <a:lnTo>
                      <a:pt x="5781" y="4237"/>
                    </a:lnTo>
                    <a:lnTo>
                      <a:pt x="5798" y="4211"/>
                    </a:lnTo>
                    <a:lnTo>
                      <a:pt x="5814" y="4182"/>
                    </a:lnTo>
                    <a:lnTo>
                      <a:pt x="5829" y="4154"/>
                    </a:lnTo>
                    <a:lnTo>
                      <a:pt x="5842" y="4124"/>
                    </a:lnTo>
                    <a:lnTo>
                      <a:pt x="5854" y="4094"/>
                    </a:lnTo>
                    <a:lnTo>
                      <a:pt x="5864" y="4063"/>
                    </a:lnTo>
                    <a:lnTo>
                      <a:pt x="5873" y="4031"/>
                    </a:lnTo>
                    <a:lnTo>
                      <a:pt x="5881" y="3999"/>
                    </a:lnTo>
                    <a:lnTo>
                      <a:pt x="5887" y="3966"/>
                    </a:lnTo>
                    <a:lnTo>
                      <a:pt x="5892" y="3933"/>
                    </a:lnTo>
                    <a:lnTo>
                      <a:pt x="5894" y="3899"/>
                    </a:lnTo>
                    <a:lnTo>
                      <a:pt x="5895" y="3865"/>
                    </a:lnTo>
                    <a:lnTo>
                      <a:pt x="5894" y="3831"/>
                    </a:lnTo>
                    <a:lnTo>
                      <a:pt x="5892" y="3797"/>
                    </a:lnTo>
                    <a:lnTo>
                      <a:pt x="5887" y="3764"/>
                    </a:lnTo>
                    <a:lnTo>
                      <a:pt x="5881" y="3731"/>
                    </a:lnTo>
                    <a:lnTo>
                      <a:pt x="5873" y="3698"/>
                    </a:lnTo>
                    <a:lnTo>
                      <a:pt x="5864" y="3667"/>
                    </a:lnTo>
                    <a:lnTo>
                      <a:pt x="5854" y="3636"/>
                    </a:lnTo>
                    <a:lnTo>
                      <a:pt x="5842" y="3606"/>
                    </a:lnTo>
                    <a:lnTo>
                      <a:pt x="5829" y="3576"/>
                    </a:lnTo>
                    <a:lnTo>
                      <a:pt x="5814" y="3548"/>
                    </a:lnTo>
                    <a:lnTo>
                      <a:pt x="5798" y="3520"/>
                    </a:lnTo>
                    <a:lnTo>
                      <a:pt x="5781" y="3493"/>
                    </a:lnTo>
                    <a:lnTo>
                      <a:pt x="5763" y="3466"/>
                    </a:lnTo>
                    <a:lnTo>
                      <a:pt x="5742" y="3442"/>
                    </a:lnTo>
                    <a:lnTo>
                      <a:pt x="5722" y="3417"/>
                    </a:lnTo>
                    <a:lnTo>
                      <a:pt x="5699" y="3394"/>
                    </a:lnTo>
                    <a:lnTo>
                      <a:pt x="5676" y="3372"/>
                    </a:lnTo>
                    <a:lnTo>
                      <a:pt x="5653" y="3351"/>
                    </a:lnTo>
                    <a:lnTo>
                      <a:pt x="5627" y="3331"/>
                    </a:lnTo>
                    <a:lnTo>
                      <a:pt x="5601" y="3312"/>
                    </a:lnTo>
                    <a:lnTo>
                      <a:pt x="5574" y="3295"/>
                    </a:lnTo>
                    <a:lnTo>
                      <a:pt x="5546" y="3279"/>
                    </a:lnTo>
                    <a:lnTo>
                      <a:pt x="5517" y="3264"/>
                    </a:lnTo>
                    <a:lnTo>
                      <a:pt x="5488" y="3251"/>
                    </a:lnTo>
                    <a:lnTo>
                      <a:pt x="5459" y="3239"/>
                    </a:lnTo>
                    <a:lnTo>
                      <a:pt x="5427" y="3229"/>
                    </a:lnTo>
                    <a:lnTo>
                      <a:pt x="5395" y="3220"/>
                    </a:lnTo>
                    <a:lnTo>
                      <a:pt x="5364" y="3213"/>
                    </a:lnTo>
                    <a:lnTo>
                      <a:pt x="5331" y="3206"/>
                    </a:lnTo>
                    <a:lnTo>
                      <a:pt x="5298" y="3202"/>
                    </a:lnTo>
                    <a:lnTo>
                      <a:pt x="5264" y="3199"/>
                    </a:lnTo>
                    <a:lnTo>
                      <a:pt x="5230" y="3198"/>
                    </a:lnTo>
                    <a:lnTo>
                      <a:pt x="5195" y="3199"/>
                    </a:lnTo>
                    <a:lnTo>
                      <a:pt x="5162" y="3202"/>
                    </a:lnTo>
                    <a:lnTo>
                      <a:pt x="5128" y="3206"/>
                    </a:lnTo>
                    <a:lnTo>
                      <a:pt x="5096" y="3213"/>
                    </a:lnTo>
                    <a:lnTo>
                      <a:pt x="5064" y="3220"/>
                    </a:lnTo>
                    <a:lnTo>
                      <a:pt x="5033" y="3229"/>
                    </a:lnTo>
                    <a:lnTo>
                      <a:pt x="5001" y="3239"/>
                    </a:lnTo>
                    <a:lnTo>
                      <a:pt x="4971" y="3251"/>
                    </a:lnTo>
                    <a:lnTo>
                      <a:pt x="4941" y="3264"/>
                    </a:lnTo>
                    <a:lnTo>
                      <a:pt x="4913" y="3279"/>
                    </a:lnTo>
                    <a:lnTo>
                      <a:pt x="4885" y="3295"/>
                    </a:lnTo>
                    <a:lnTo>
                      <a:pt x="4858" y="3312"/>
                    </a:lnTo>
                    <a:lnTo>
                      <a:pt x="4832" y="3331"/>
                    </a:lnTo>
                    <a:lnTo>
                      <a:pt x="4807" y="3351"/>
                    </a:lnTo>
                    <a:lnTo>
                      <a:pt x="4782" y="3372"/>
                    </a:lnTo>
                    <a:lnTo>
                      <a:pt x="4759" y="3394"/>
                    </a:lnTo>
                    <a:lnTo>
                      <a:pt x="4738" y="3417"/>
                    </a:lnTo>
                    <a:lnTo>
                      <a:pt x="4716" y="3442"/>
                    </a:lnTo>
                    <a:lnTo>
                      <a:pt x="4697" y="3466"/>
                    </a:lnTo>
                    <a:lnTo>
                      <a:pt x="4678" y="3493"/>
                    </a:lnTo>
                    <a:lnTo>
                      <a:pt x="4660" y="3520"/>
                    </a:lnTo>
                    <a:lnTo>
                      <a:pt x="4645" y="3548"/>
                    </a:lnTo>
                    <a:lnTo>
                      <a:pt x="4630" y="3576"/>
                    </a:lnTo>
                    <a:lnTo>
                      <a:pt x="4617" y="3606"/>
                    </a:lnTo>
                    <a:lnTo>
                      <a:pt x="4605" y="3636"/>
                    </a:lnTo>
                    <a:lnTo>
                      <a:pt x="4594" y="3667"/>
                    </a:lnTo>
                    <a:lnTo>
                      <a:pt x="4585" y="3698"/>
                    </a:lnTo>
                    <a:lnTo>
                      <a:pt x="4578" y="3731"/>
                    </a:lnTo>
                    <a:lnTo>
                      <a:pt x="4572" y="3764"/>
                    </a:lnTo>
                    <a:lnTo>
                      <a:pt x="4568" y="3797"/>
                    </a:lnTo>
                    <a:lnTo>
                      <a:pt x="4565" y="3831"/>
                    </a:lnTo>
                    <a:lnTo>
                      <a:pt x="4565" y="3865"/>
                    </a:lnTo>
                    <a:lnTo>
                      <a:pt x="4565" y="3899"/>
                    </a:lnTo>
                    <a:lnTo>
                      <a:pt x="4568" y="3933"/>
                    </a:lnTo>
                    <a:lnTo>
                      <a:pt x="4572" y="3966"/>
                    </a:lnTo>
                    <a:lnTo>
                      <a:pt x="4578" y="3999"/>
                    </a:lnTo>
                    <a:lnTo>
                      <a:pt x="4585" y="4031"/>
                    </a:lnTo>
                    <a:lnTo>
                      <a:pt x="4594" y="4063"/>
                    </a:lnTo>
                    <a:lnTo>
                      <a:pt x="4605" y="4094"/>
                    </a:lnTo>
                    <a:lnTo>
                      <a:pt x="4617" y="4124"/>
                    </a:lnTo>
                    <a:lnTo>
                      <a:pt x="4630" y="4154"/>
                    </a:lnTo>
                    <a:lnTo>
                      <a:pt x="4645" y="4182"/>
                    </a:lnTo>
                    <a:lnTo>
                      <a:pt x="4660" y="4211"/>
                    </a:lnTo>
                    <a:lnTo>
                      <a:pt x="4678" y="4237"/>
                    </a:lnTo>
                    <a:lnTo>
                      <a:pt x="4697" y="4264"/>
                    </a:lnTo>
                    <a:lnTo>
                      <a:pt x="4716" y="4289"/>
                    </a:lnTo>
                    <a:lnTo>
                      <a:pt x="4738" y="4313"/>
                    </a:lnTo>
                    <a:lnTo>
                      <a:pt x="4759" y="4336"/>
                    </a:lnTo>
                    <a:lnTo>
                      <a:pt x="4782" y="4358"/>
                    </a:lnTo>
                    <a:lnTo>
                      <a:pt x="4807" y="4379"/>
                    </a:lnTo>
                    <a:lnTo>
                      <a:pt x="4832" y="4399"/>
                    </a:lnTo>
                    <a:lnTo>
                      <a:pt x="4858" y="4418"/>
                    </a:lnTo>
                    <a:lnTo>
                      <a:pt x="4885" y="4435"/>
                    </a:lnTo>
                    <a:lnTo>
                      <a:pt x="4913" y="4451"/>
                    </a:lnTo>
                    <a:lnTo>
                      <a:pt x="4941" y="4465"/>
                    </a:lnTo>
                    <a:lnTo>
                      <a:pt x="4971" y="4479"/>
                    </a:lnTo>
                    <a:lnTo>
                      <a:pt x="5001" y="4491"/>
                    </a:lnTo>
                    <a:lnTo>
                      <a:pt x="5033" y="4501"/>
                    </a:lnTo>
                    <a:lnTo>
                      <a:pt x="5064" y="4510"/>
                    </a:lnTo>
                    <a:lnTo>
                      <a:pt x="5096" y="4518"/>
                    </a:lnTo>
                    <a:lnTo>
                      <a:pt x="5128" y="4523"/>
                    </a:lnTo>
                    <a:lnTo>
                      <a:pt x="5162" y="4529"/>
                    </a:lnTo>
                    <a:lnTo>
                      <a:pt x="5195" y="4531"/>
                    </a:lnTo>
                    <a:lnTo>
                      <a:pt x="5230" y="4532"/>
                    </a:lnTo>
                    <a:close/>
                    <a:moveTo>
                      <a:pt x="7096" y="3865"/>
                    </a:moveTo>
                    <a:lnTo>
                      <a:pt x="7097" y="3899"/>
                    </a:lnTo>
                    <a:lnTo>
                      <a:pt x="7099" y="3933"/>
                    </a:lnTo>
                    <a:lnTo>
                      <a:pt x="7104" y="3966"/>
                    </a:lnTo>
                    <a:lnTo>
                      <a:pt x="7110" y="3999"/>
                    </a:lnTo>
                    <a:lnTo>
                      <a:pt x="7117" y="4031"/>
                    </a:lnTo>
                    <a:lnTo>
                      <a:pt x="7126" y="4063"/>
                    </a:lnTo>
                    <a:lnTo>
                      <a:pt x="7136" y="4094"/>
                    </a:lnTo>
                    <a:lnTo>
                      <a:pt x="7148" y="4124"/>
                    </a:lnTo>
                    <a:lnTo>
                      <a:pt x="7161" y="4154"/>
                    </a:lnTo>
                    <a:lnTo>
                      <a:pt x="7177" y="4182"/>
                    </a:lnTo>
                    <a:lnTo>
                      <a:pt x="7192" y="4211"/>
                    </a:lnTo>
                    <a:lnTo>
                      <a:pt x="7209" y="4237"/>
                    </a:lnTo>
                    <a:lnTo>
                      <a:pt x="7229" y="4264"/>
                    </a:lnTo>
                    <a:lnTo>
                      <a:pt x="7248" y="4289"/>
                    </a:lnTo>
                    <a:lnTo>
                      <a:pt x="7269" y="4313"/>
                    </a:lnTo>
                    <a:lnTo>
                      <a:pt x="7291" y="4336"/>
                    </a:lnTo>
                    <a:lnTo>
                      <a:pt x="7314" y="4358"/>
                    </a:lnTo>
                    <a:lnTo>
                      <a:pt x="7338" y="4379"/>
                    </a:lnTo>
                    <a:lnTo>
                      <a:pt x="7364" y="4399"/>
                    </a:lnTo>
                    <a:lnTo>
                      <a:pt x="7389" y="4418"/>
                    </a:lnTo>
                    <a:lnTo>
                      <a:pt x="7417" y="4435"/>
                    </a:lnTo>
                    <a:lnTo>
                      <a:pt x="7444" y="4451"/>
                    </a:lnTo>
                    <a:lnTo>
                      <a:pt x="7473" y="4465"/>
                    </a:lnTo>
                    <a:lnTo>
                      <a:pt x="7502" y="4479"/>
                    </a:lnTo>
                    <a:lnTo>
                      <a:pt x="7533" y="4491"/>
                    </a:lnTo>
                    <a:lnTo>
                      <a:pt x="7563" y="4501"/>
                    </a:lnTo>
                    <a:lnTo>
                      <a:pt x="7595" y="4510"/>
                    </a:lnTo>
                    <a:lnTo>
                      <a:pt x="7627" y="4518"/>
                    </a:lnTo>
                    <a:lnTo>
                      <a:pt x="7660" y="4523"/>
                    </a:lnTo>
                    <a:lnTo>
                      <a:pt x="7693" y="4529"/>
                    </a:lnTo>
                    <a:lnTo>
                      <a:pt x="7727" y="4531"/>
                    </a:lnTo>
                    <a:lnTo>
                      <a:pt x="7761" y="4532"/>
                    </a:lnTo>
                    <a:lnTo>
                      <a:pt x="7795" y="4531"/>
                    </a:lnTo>
                    <a:lnTo>
                      <a:pt x="7828" y="4529"/>
                    </a:lnTo>
                    <a:lnTo>
                      <a:pt x="7862" y="4523"/>
                    </a:lnTo>
                    <a:lnTo>
                      <a:pt x="7894" y="4518"/>
                    </a:lnTo>
                    <a:lnTo>
                      <a:pt x="7927" y="4510"/>
                    </a:lnTo>
                    <a:lnTo>
                      <a:pt x="7959" y="4501"/>
                    </a:lnTo>
                    <a:lnTo>
                      <a:pt x="7989" y="4491"/>
                    </a:lnTo>
                    <a:lnTo>
                      <a:pt x="8020" y="4479"/>
                    </a:lnTo>
                    <a:lnTo>
                      <a:pt x="8049" y="4465"/>
                    </a:lnTo>
                    <a:lnTo>
                      <a:pt x="8077" y="4451"/>
                    </a:lnTo>
                    <a:lnTo>
                      <a:pt x="8106" y="4435"/>
                    </a:lnTo>
                    <a:lnTo>
                      <a:pt x="8132" y="4418"/>
                    </a:lnTo>
                    <a:lnTo>
                      <a:pt x="8159" y="4399"/>
                    </a:lnTo>
                    <a:lnTo>
                      <a:pt x="8184" y="4379"/>
                    </a:lnTo>
                    <a:lnTo>
                      <a:pt x="8208" y="4358"/>
                    </a:lnTo>
                    <a:lnTo>
                      <a:pt x="8231" y="4336"/>
                    </a:lnTo>
                    <a:lnTo>
                      <a:pt x="8253" y="4313"/>
                    </a:lnTo>
                    <a:lnTo>
                      <a:pt x="8274" y="4289"/>
                    </a:lnTo>
                    <a:lnTo>
                      <a:pt x="8294" y="4264"/>
                    </a:lnTo>
                    <a:lnTo>
                      <a:pt x="8312" y="4237"/>
                    </a:lnTo>
                    <a:lnTo>
                      <a:pt x="8330" y="4211"/>
                    </a:lnTo>
                    <a:lnTo>
                      <a:pt x="8346" y="4182"/>
                    </a:lnTo>
                    <a:lnTo>
                      <a:pt x="8360" y="4154"/>
                    </a:lnTo>
                    <a:lnTo>
                      <a:pt x="8374" y="4124"/>
                    </a:lnTo>
                    <a:lnTo>
                      <a:pt x="8386" y="4094"/>
                    </a:lnTo>
                    <a:lnTo>
                      <a:pt x="8397" y="4063"/>
                    </a:lnTo>
                    <a:lnTo>
                      <a:pt x="8405" y="4031"/>
                    </a:lnTo>
                    <a:lnTo>
                      <a:pt x="8413" y="3999"/>
                    </a:lnTo>
                    <a:lnTo>
                      <a:pt x="8418" y="3966"/>
                    </a:lnTo>
                    <a:lnTo>
                      <a:pt x="8423" y="3933"/>
                    </a:lnTo>
                    <a:lnTo>
                      <a:pt x="8425" y="3899"/>
                    </a:lnTo>
                    <a:lnTo>
                      <a:pt x="8426" y="3865"/>
                    </a:lnTo>
                    <a:lnTo>
                      <a:pt x="8425" y="3831"/>
                    </a:lnTo>
                    <a:lnTo>
                      <a:pt x="8423" y="3797"/>
                    </a:lnTo>
                    <a:lnTo>
                      <a:pt x="8418" y="3764"/>
                    </a:lnTo>
                    <a:lnTo>
                      <a:pt x="8413" y="3731"/>
                    </a:lnTo>
                    <a:lnTo>
                      <a:pt x="8405" y="3698"/>
                    </a:lnTo>
                    <a:lnTo>
                      <a:pt x="8397" y="3667"/>
                    </a:lnTo>
                    <a:lnTo>
                      <a:pt x="8386" y="3636"/>
                    </a:lnTo>
                    <a:lnTo>
                      <a:pt x="8374" y="3606"/>
                    </a:lnTo>
                    <a:lnTo>
                      <a:pt x="8360" y="3576"/>
                    </a:lnTo>
                    <a:lnTo>
                      <a:pt x="8346" y="3548"/>
                    </a:lnTo>
                    <a:lnTo>
                      <a:pt x="8330" y="3520"/>
                    </a:lnTo>
                    <a:lnTo>
                      <a:pt x="8312" y="3493"/>
                    </a:lnTo>
                    <a:lnTo>
                      <a:pt x="8294" y="3466"/>
                    </a:lnTo>
                    <a:lnTo>
                      <a:pt x="8274" y="3442"/>
                    </a:lnTo>
                    <a:lnTo>
                      <a:pt x="8253" y="3417"/>
                    </a:lnTo>
                    <a:lnTo>
                      <a:pt x="8231" y="3394"/>
                    </a:lnTo>
                    <a:lnTo>
                      <a:pt x="8208" y="3372"/>
                    </a:lnTo>
                    <a:lnTo>
                      <a:pt x="8184" y="3351"/>
                    </a:lnTo>
                    <a:lnTo>
                      <a:pt x="8159" y="3331"/>
                    </a:lnTo>
                    <a:lnTo>
                      <a:pt x="8132" y="3312"/>
                    </a:lnTo>
                    <a:lnTo>
                      <a:pt x="8106" y="3295"/>
                    </a:lnTo>
                    <a:lnTo>
                      <a:pt x="8077" y="3279"/>
                    </a:lnTo>
                    <a:lnTo>
                      <a:pt x="8049" y="3264"/>
                    </a:lnTo>
                    <a:lnTo>
                      <a:pt x="8020" y="3251"/>
                    </a:lnTo>
                    <a:lnTo>
                      <a:pt x="7989" y="3239"/>
                    </a:lnTo>
                    <a:lnTo>
                      <a:pt x="7959" y="3229"/>
                    </a:lnTo>
                    <a:lnTo>
                      <a:pt x="7927" y="3220"/>
                    </a:lnTo>
                    <a:lnTo>
                      <a:pt x="7894" y="3213"/>
                    </a:lnTo>
                    <a:lnTo>
                      <a:pt x="7862" y="3206"/>
                    </a:lnTo>
                    <a:lnTo>
                      <a:pt x="7828" y="3202"/>
                    </a:lnTo>
                    <a:lnTo>
                      <a:pt x="7795" y="3199"/>
                    </a:lnTo>
                    <a:lnTo>
                      <a:pt x="7761" y="3198"/>
                    </a:lnTo>
                    <a:lnTo>
                      <a:pt x="7727" y="3199"/>
                    </a:lnTo>
                    <a:lnTo>
                      <a:pt x="7693" y="3202"/>
                    </a:lnTo>
                    <a:lnTo>
                      <a:pt x="7660" y="3206"/>
                    </a:lnTo>
                    <a:lnTo>
                      <a:pt x="7627" y="3213"/>
                    </a:lnTo>
                    <a:lnTo>
                      <a:pt x="7595" y="3220"/>
                    </a:lnTo>
                    <a:lnTo>
                      <a:pt x="7563" y="3229"/>
                    </a:lnTo>
                    <a:lnTo>
                      <a:pt x="7533" y="3239"/>
                    </a:lnTo>
                    <a:lnTo>
                      <a:pt x="7502" y="3251"/>
                    </a:lnTo>
                    <a:lnTo>
                      <a:pt x="7473" y="3264"/>
                    </a:lnTo>
                    <a:lnTo>
                      <a:pt x="7444" y="3279"/>
                    </a:lnTo>
                    <a:lnTo>
                      <a:pt x="7417" y="3295"/>
                    </a:lnTo>
                    <a:lnTo>
                      <a:pt x="7389" y="3312"/>
                    </a:lnTo>
                    <a:lnTo>
                      <a:pt x="7364" y="3331"/>
                    </a:lnTo>
                    <a:lnTo>
                      <a:pt x="7338" y="3351"/>
                    </a:lnTo>
                    <a:lnTo>
                      <a:pt x="7314" y="3372"/>
                    </a:lnTo>
                    <a:lnTo>
                      <a:pt x="7291" y="3394"/>
                    </a:lnTo>
                    <a:lnTo>
                      <a:pt x="7269" y="3417"/>
                    </a:lnTo>
                    <a:lnTo>
                      <a:pt x="7248" y="3442"/>
                    </a:lnTo>
                    <a:lnTo>
                      <a:pt x="7229" y="3466"/>
                    </a:lnTo>
                    <a:lnTo>
                      <a:pt x="7209" y="3493"/>
                    </a:lnTo>
                    <a:lnTo>
                      <a:pt x="7192" y="3520"/>
                    </a:lnTo>
                    <a:lnTo>
                      <a:pt x="7177" y="3548"/>
                    </a:lnTo>
                    <a:lnTo>
                      <a:pt x="7161" y="3576"/>
                    </a:lnTo>
                    <a:lnTo>
                      <a:pt x="7148" y="3606"/>
                    </a:lnTo>
                    <a:lnTo>
                      <a:pt x="7136" y="3636"/>
                    </a:lnTo>
                    <a:lnTo>
                      <a:pt x="7126" y="3667"/>
                    </a:lnTo>
                    <a:lnTo>
                      <a:pt x="7117" y="3698"/>
                    </a:lnTo>
                    <a:lnTo>
                      <a:pt x="7110" y="3731"/>
                    </a:lnTo>
                    <a:lnTo>
                      <a:pt x="7104" y="3764"/>
                    </a:lnTo>
                    <a:lnTo>
                      <a:pt x="7099" y="3797"/>
                    </a:lnTo>
                    <a:lnTo>
                      <a:pt x="7097" y="3831"/>
                    </a:lnTo>
                    <a:lnTo>
                      <a:pt x="7096" y="3865"/>
                    </a:lnTo>
                    <a:close/>
                    <a:moveTo>
                      <a:pt x="8940" y="10705"/>
                    </a:moveTo>
                    <a:lnTo>
                      <a:pt x="8940" y="10705"/>
                    </a:lnTo>
                    <a:lnTo>
                      <a:pt x="8940" y="10705"/>
                    </a:lnTo>
                    <a:close/>
                    <a:moveTo>
                      <a:pt x="12412" y="9127"/>
                    </a:moveTo>
                    <a:lnTo>
                      <a:pt x="12433" y="9127"/>
                    </a:lnTo>
                    <a:lnTo>
                      <a:pt x="12454" y="9128"/>
                    </a:lnTo>
                    <a:lnTo>
                      <a:pt x="12475" y="9130"/>
                    </a:lnTo>
                    <a:lnTo>
                      <a:pt x="12496" y="9132"/>
                    </a:lnTo>
                    <a:lnTo>
                      <a:pt x="12516" y="9134"/>
                    </a:lnTo>
                    <a:lnTo>
                      <a:pt x="12538" y="9139"/>
                    </a:lnTo>
                    <a:lnTo>
                      <a:pt x="12558" y="9143"/>
                    </a:lnTo>
                    <a:lnTo>
                      <a:pt x="12578" y="9147"/>
                    </a:lnTo>
                    <a:lnTo>
                      <a:pt x="12599" y="9152"/>
                    </a:lnTo>
                    <a:lnTo>
                      <a:pt x="12619" y="9158"/>
                    </a:lnTo>
                    <a:lnTo>
                      <a:pt x="12639" y="9164"/>
                    </a:lnTo>
                    <a:lnTo>
                      <a:pt x="12660" y="9171"/>
                    </a:lnTo>
                    <a:lnTo>
                      <a:pt x="12680" y="9178"/>
                    </a:lnTo>
                    <a:lnTo>
                      <a:pt x="12699" y="9186"/>
                    </a:lnTo>
                    <a:lnTo>
                      <a:pt x="12720" y="9195"/>
                    </a:lnTo>
                    <a:lnTo>
                      <a:pt x="12739" y="9204"/>
                    </a:lnTo>
                    <a:lnTo>
                      <a:pt x="12759" y="9214"/>
                    </a:lnTo>
                    <a:lnTo>
                      <a:pt x="12779" y="9224"/>
                    </a:lnTo>
                    <a:lnTo>
                      <a:pt x="12798" y="9235"/>
                    </a:lnTo>
                    <a:lnTo>
                      <a:pt x="12817" y="9247"/>
                    </a:lnTo>
                    <a:lnTo>
                      <a:pt x="12837" y="9259"/>
                    </a:lnTo>
                    <a:lnTo>
                      <a:pt x="12855" y="9271"/>
                    </a:lnTo>
                    <a:lnTo>
                      <a:pt x="12874" y="9284"/>
                    </a:lnTo>
                    <a:lnTo>
                      <a:pt x="12892" y="9297"/>
                    </a:lnTo>
                    <a:lnTo>
                      <a:pt x="12930" y="9326"/>
                    </a:lnTo>
                    <a:lnTo>
                      <a:pt x="12967" y="9357"/>
                    </a:lnTo>
                    <a:lnTo>
                      <a:pt x="13002" y="9390"/>
                    </a:lnTo>
                    <a:lnTo>
                      <a:pt x="13038" y="9425"/>
                    </a:lnTo>
                    <a:lnTo>
                      <a:pt x="13056" y="9421"/>
                    </a:lnTo>
                    <a:lnTo>
                      <a:pt x="13073" y="9417"/>
                    </a:lnTo>
                    <a:lnTo>
                      <a:pt x="13091" y="9414"/>
                    </a:lnTo>
                    <a:lnTo>
                      <a:pt x="13109" y="9412"/>
                    </a:lnTo>
                    <a:lnTo>
                      <a:pt x="13127" y="9409"/>
                    </a:lnTo>
                    <a:lnTo>
                      <a:pt x="13146" y="9407"/>
                    </a:lnTo>
                    <a:lnTo>
                      <a:pt x="13165" y="9406"/>
                    </a:lnTo>
                    <a:lnTo>
                      <a:pt x="13183" y="9406"/>
                    </a:lnTo>
                    <a:lnTo>
                      <a:pt x="13213" y="9407"/>
                    </a:lnTo>
                    <a:lnTo>
                      <a:pt x="13242" y="9409"/>
                    </a:lnTo>
                    <a:lnTo>
                      <a:pt x="13271" y="9413"/>
                    </a:lnTo>
                    <a:lnTo>
                      <a:pt x="13299" y="9418"/>
                    </a:lnTo>
                    <a:lnTo>
                      <a:pt x="13328" y="9425"/>
                    </a:lnTo>
                    <a:lnTo>
                      <a:pt x="13355" y="9432"/>
                    </a:lnTo>
                    <a:lnTo>
                      <a:pt x="13381" y="9441"/>
                    </a:lnTo>
                    <a:lnTo>
                      <a:pt x="13408" y="9451"/>
                    </a:lnTo>
                    <a:lnTo>
                      <a:pt x="13433" y="9463"/>
                    </a:lnTo>
                    <a:lnTo>
                      <a:pt x="13458" y="9476"/>
                    </a:lnTo>
                    <a:lnTo>
                      <a:pt x="13482" y="9490"/>
                    </a:lnTo>
                    <a:lnTo>
                      <a:pt x="13506" y="9505"/>
                    </a:lnTo>
                    <a:lnTo>
                      <a:pt x="13528" y="9521"/>
                    </a:lnTo>
                    <a:lnTo>
                      <a:pt x="13550" y="9538"/>
                    </a:lnTo>
                    <a:lnTo>
                      <a:pt x="13571" y="9556"/>
                    </a:lnTo>
                    <a:lnTo>
                      <a:pt x="13591" y="9576"/>
                    </a:lnTo>
                    <a:lnTo>
                      <a:pt x="13610" y="9596"/>
                    </a:lnTo>
                    <a:lnTo>
                      <a:pt x="13628" y="9616"/>
                    </a:lnTo>
                    <a:lnTo>
                      <a:pt x="13645" y="9639"/>
                    </a:lnTo>
                    <a:lnTo>
                      <a:pt x="13661" y="9661"/>
                    </a:lnTo>
                    <a:lnTo>
                      <a:pt x="13676" y="9684"/>
                    </a:lnTo>
                    <a:lnTo>
                      <a:pt x="13691" y="9709"/>
                    </a:lnTo>
                    <a:lnTo>
                      <a:pt x="13703" y="9733"/>
                    </a:lnTo>
                    <a:lnTo>
                      <a:pt x="13714" y="9759"/>
                    </a:lnTo>
                    <a:lnTo>
                      <a:pt x="13725" y="9785"/>
                    </a:lnTo>
                    <a:lnTo>
                      <a:pt x="13733" y="9812"/>
                    </a:lnTo>
                    <a:lnTo>
                      <a:pt x="13741" y="9839"/>
                    </a:lnTo>
                    <a:lnTo>
                      <a:pt x="13747" y="9868"/>
                    </a:lnTo>
                    <a:lnTo>
                      <a:pt x="13753" y="9896"/>
                    </a:lnTo>
                    <a:lnTo>
                      <a:pt x="13757" y="9925"/>
                    </a:lnTo>
                    <a:lnTo>
                      <a:pt x="13759" y="9954"/>
                    </a:lnTo>
                    <a:lnTo>
                      <a:pt x="13760" y="9984"/>
                    </a:lnTo>
                    <a:lnTo>
                      <a:pt x="13759" y="10013"/>
                    </a:lnTo>
                    <a:lnTo>
                      <a:pt x="13757" y="10043"/>
                    </a:lnTo>
                    <a:lnTo>
                      <a:pt x="13753" y="10072"/>
                    </a:lnTo>
                    <a:lnTo>
                      <a:pt x="13747" y="10100"/>
                    </a:lnTo>
                    <a:lnTo>
                      <a:pt x="13741" y="10129"/>
                    </a:lnTo>
                    <a:lnTo>
                      <a:pt x="13733" y="10155"/>
                    </a:lnTo>
                    <a:lnTo>
                      <a:pt x="13725" y="10183"/>
                    </a:lnTo>
                    <a:lnTo>
                      <a:pt x="13714" y="10208"/>
                    </a:lnTo>
                    <a:lnTo>
                      <a:pt x="13703" y="10235"/>
                    </a:lnTo>
                    <a:lnTo>
                      <a:pt x="13691" y="10259"/>
                    </a:lnTo>
                    <a:lnTo>
                      <a:pt x="13676" y="10283"/>
                    </a:lnTo>
                    <a:lnTo>
                      <a:pt x="13661" y="10307"/>
                    </a:lnTo>
                    <a:lnTo>
                      <a:pt x="13645" y="10329"/>
                    </a:lnTo>
                    <a:lnTo>
                      <a:pt x="13628" y="10351"/>
                    </a:lnTo>
                    <a:lnTo>
                      <a:pt x="13610" y="10372"/>
                    </a:lnTo>
                    <a:lnTo>
                      <a:pt x="13591" y="10392"/>
                    </a:lnTo>
                    <a:lnTo>
                      <a:pt x="13586" y="10397"/>
                    </a:lnTo>
                    <a:lnTo>
                      <a:pt x="13593" y="10420"/>
                    </a:lnTo>
                    <a:lnTo>
                      <a:pt x="13601" y="10442"/>
                    </a:lnTo>
                    <a:lnTo>
                      <a:pt x="13608" y="10465"/>
                    </a:lnTo>
                    <a:lnTo>
                      <a:pt x="13615" y="10487"/>
                    </a:lnTo>
                    <a:lnTo>
                      <a:pt x="13623" y="10511"/>
                    </a:lnTo>
                    <a:lnTo>
                      <a:pt x="13631" y="10533"/>
                    </a:lnTo>
                    <a:lnTo>
                      <a:pt x="13638" y="10556"/>
                    </a:lnTo>
                    <a:lnTo>
                      <a:pt x="13645" y="10580"/>
                    </a:lnTo>
                    <a:lnTo>
                      <a:pt x="13687" y="10570"/>
                    </a:lnTo>
                    <a:lnTo>
                      <a:pt x="13731" y="10560"/>
                    </a:lnTo>
                    <a:lnTo>
                      <a:pt x="13773" y="10551"/>
                    </a:lnTo>
                    <a:lnTo>
                      <a:pt x="13816" y="10543"/>
                    </a:lnTo>
                    <a:lnTo>
                      <a:pt x="13857" y="10535"/>
                    </a:lnTo>
                    <a:lnTo>
                      <a:pt x="13899" y="10528"/>
                    </a:lnTo>
                    <a:lnTo>
                      <a:pt x="13940" y="10521"/>
                    </a:lnTo>
                    <a:lnTo>
                      <a:pt x="13980" y="10515"/>
                    </a:lnTo>
                    <a:lnTo>
                      <a:pt x="14048" y="10504"/>
                    </a:lnTo>
                    <a:lnTo>
                      <a:pt x="14116" y="10496"/>
                    </a:lnTo>
                    <a:lnTo>
                      <a:pt x="14182" y="10489"/>
                    </a:lnTo>
                    <a:lnTo>
                      <a:pt x="14247" y="10483"/>
                    </a:lnTo>
                    <a:lnTo>
                      <a:pt x="14311" y="10479"/>
                    </a:lnTo>
                    <a:lnTo>
                      <a:pt x="14374" y="10476"/>
                    </a:lnTo>
                    <a:lnTo>
                      <a:pt x="14436" y="10475"/>
                    </a:lnTo>
                    <a:lnTo>
                      <a:pt x="14496" y="10475"/>
                    </a:lnTo>
                    <a:lnTo>
                      <a:pt x="14555" y="10477"/>
                    </a:lnTo>
                    <a:lnTo>
                      <a:pt x="14613" y="10480"/>
                    </a:lnTo>
                    <a:lnTo>
                      <a:pt x="14670" y="10484"/>
                    </a:lnTo>
                    <a:lnTo>
                      <a:pt x="14726" y="10490"/>
                    </a:lnTo>
                    <a:lnTo>
                      <a:pt x="14779" y="10498"/>
                    </a:lnTo>
                    <a:lnTo>
                      <a:pt x="14832" y="10506"/>
                    </a:lnTo>
                    <a:lnTo>
                      <a:pt x="14883" y="10518"/>
                    </a:lnTo>
                    <a:lnTo>
                      <a:pt x="14933" y="10529"/>
                    </a:lnTo>
                    <a:lnTo>
                      <a:pt x="14982" y="10542"/>
                    </a:lnTo>
                    <a:lnTo>
                      <a:pt x="15028" y="10557"/>
                    </a:lnTo>
                    <a:lnTo>
                      <a:pt x="15074" y="10574"/>
                    </a:lnTo>
                    <a:lnTo>
                      <a:pt x="15118" y="10592"/>
                    </a:lnTo>
                    <a:lnTo>
                      <a:pt x="15160" y="10611"/>
                    </a:lnTo>
                    <a:lnTo>
                      <a:pt x="15200" y="10632"/>
                    </a:lnTo>
                    <a:lnTo>
                      <a:pt x="15239" y="10654"/>
                    </a:lnTo>
                    <a:lnTo>
                      <a:pt x="15277" y="10679"/>
                    </a:lnTo>
                    <a:lnTo>
                      <a:pt x="15312" y="10704"/>
                    </a:lnTo>
                    <a:lnTo>
                      <a:pt x="15346" y="10731"/>
                    </a:lnTo>
                    <a:lnTo>
                      <a:pt x="15377" y="10759"/>
                    </a:lnTo>
                    <a:lnTo>
                      <a:pt x="15408" y="10790"/>
                    </a:lnTo>
                    <a:lnTo>
                      <a:pt x="15435" y="10821"/>
                    </a:lnTo>
                    <a:lnTo>
                      <a:pt x="15462" y="10855"/>
                    </a:lnTo>
                    <a:lnTo>
                      <a:pt x="15486" y="10889"/>
                    </a:lnTo>
                    <a:lnTo>
                      <a:pt x="15508" y="10926"/>
                    </a:lnTo>
                    <a:lnTo>
                      <a:pt x="15509" y="10925"/>
                    </a:lnTo>
                    <a:lnTo>
                      <a:pt x="15530" y="10963"/>
                    </a:lnTo>
                    <a:lnTo>
                      <a:pt x="15547" y="11001"/>
                    </a:lnTo>
                    <a:lnTo>
                      <a:pt x="15562" y="11041"/>
                    </a:lnTo>
                    <a:lnTo>
                      <a:pt x="15575" y="11081"/>
                    </a:lnTo>
                    <a:lnTo>
                      <a:pt x="15587" y="11123"/>
                    </a:lnTo>
                    <a:lnTo>
                      <a:pt x="15596" y="11164"/>
                    </a:lnTo>
                    <a:lnTo>
                      <a:pt x="15602" y="11207"/>
                    </a:lnTo>
                    <a:lnTo>
                      <a:pt x="15607" y="11251"/>
                    </a:lnTo>
                    <a:lnTo>
                      <a:pt x="15609" y="11295"/>
                    </a:lnTo>
                    <a:lnTo>
                      <a:pt x="15609" y="11340"/>
                    </a:lnTo>
                    <a:lnTo>
                      <a:pt x="15607" y="11385"/>
                    </a:lnTo>
                    <a:lnTo>
                      <a:pt x="15602" y="11431"/>
                    </a:lnTo>
                    <a:lnTo>
                      <a:pt x="15596" y="11478"/>
                    </a:lnTo>
                    <a:lnTo>
                      <a:pt x="15588" y="11526"/>
                    </a:lnTo>
                    <a:lnTo>
                      <a:pt x="15576" y="11574"/>
                    </a:lnTo>
                    <a:lnTo>
                      <a:pt x="15564" y="11623"/>
                    </a:lnTo>
                    <a:lnTo>
                      <a:pt x="15549" y="11673"/>
                    </a:lnTo>
                    <a:lnTo>
                      <a:pt x="15533" y="11722"/>
                    </a:lnTo>
                    <a:lnTo>
                      <a:pt x="15514" y="11773"/>
                    </a:lnTo>
                    <a:lnTo>
                      <a:pt x="15493" y="11823"/>
                    </a:lnTo>
                    <a:lnTo>
                      <a:pt x="15471" y="11874"/>
                    </a:lnTo>
                    <a:lnTo>
                      <a:pt x="15446" y="11925"/>
                    </a:lnTo>
                    <a:lnTo>
                      <a:pt x="15420" y="11977"/>
                    </a:lnTo>
                    <a:lnTo>
                      <a:pt x="15391" y="12030"/>
                    </a:lnTo>
                    <a:lnTo>
                      <a:pt x="15361" y="12082"/>
                    </a:lnTo>
                    <a:lnTo>
                      <a:pt x="15329" y="12135"/>
                    </a:lnTo>
                    <a:lnTo>
                      <a:pt x="15296" y="12189"/>
                    </a:lnTo>
                    <a:lnTo>
                      <a:pt x="15259" y="12242"/>
                    </a:lnTo>
                    <a:lnTo>
                      <a:pt x="15223" y="12296"/>
                    </a:lnTo>
                    <a:lnTo>
                      <a:pt x="15183" y="12350"/>
                    </a:lnTo>
                    <a:lnTo>
                      <a:pt x="15142" y="12404"/>
                    </a:lnTo>
                    <a:lnTo>
                      <a:pt x="15100" y="12458"/>
                    </a:lnTo>
                    <a:lnTo>
                      <a:pt x="15073" y="12491"/>
                    </a:lnTo>
                    <a:lnTo>
                      <a:pt x="15047" y="12522"/>
                    </a:lnTo>
                    <a:lnTo>
                      <a:pt x="15019" y="12555"/>
                    </a:lnTo>
                    <a:lnTo>
                      <a:pt x="14992" y="12587"/>
                    </a:lnTo>
                    <a:lnTo>
                      <a:pt x="14963" y="12620"/>
                    </a:lnTo>
                    <a:lnTo>
                      <a:pt x="14934" y="12652"/>
                    </a:lnTo>
                    <a:lnTo>
                      <a:pt x="14904" y="12684"/>
                    </a:lnTo>
                    <a:lnTo>
                      <a:pt x="14875" y="12717"/>
                    </a:lnTo>
                    <a:lnTo>
                      <a:pt x="14904" y="12749"/>
                    </a:lnTo>
                    <a:lnTo>
                      <a:pt x="14933" y="12781"/>
                    </a:lnTo>
                    <a:lnTo>
                      <a:pt x="14961" y="12812"/>
                    </a:lnTo>
                    <a:lnTo>
                      <a:pt x="14989" y="12844"/>
                    </a:lnTo>
                    <a:lnTo>
                      <a:pt x="15016" y="12877"/>
                    </a:lnTo>
                    <a:lnTo>
                      <a:pt x="15043" y="12908"/>
                    </a:lnTo>
                    <a:lnTo>
                      <a:pt x="15069" y="12940"/>
                    </a:lnTo>
                    <a:lnTo>
                      <a:pt x="15095" y="12970"/>
                    </a:lnTo>
                    <a:lnTo>
                      <a:pt x="15135" y="13022"/>
                    </a:lnTo>
                    <a:lnTo>
                      <a:pt x="15175" y="13074"/>
                    </a:lnTo>
                    <a:lnTo>
                      <a:pt x="15212" y="13126"/>
                    </a:lnTo>
                    <a:lnTo>
                      <a:pt x="15248" y="13177"/>
                    </a:lnTo>
                    <a:lnTo>
                      <a:pt x="15283" y="13228"/>
                    </a:lnTo>
                    <a:lnTo>
                      <a:pt x="15315" y="13279"/>
                    </a:lnTo>
                    <a:lnTo>
                      <a:pt x="15347" y="13330"/>
                    </a:lnTo>
                    <a:lnTo>
                      <a:pt x="15376" y="13380"/>
                    </a:lnTo>
                    <a:lnTo>
                      <a:pt x="15404" y="13431"/>
                    </a:lnTo>
                    <a:lnTo>
                      <a:pt x="15430" y="13480"/>
                    </a:lnTo>
                    <a:lnTo>
                      <a:pt x="15454" y="13530"/>
                    </a:lnTo>
                    <a:lnTo>
                      <a:pt x="15477" y="13578"/>
                    </a:lnTo>
                    <a:lnTo>
                      <a:pt x="15497" y="13627"/>
                    </a:lnTo>
                    <a:lnTo>
                      <a:pt x="15516" y="13675"/>
                    </a:lnTo>
                    <a:lnTo>
                      <a:pt x="15534" y="13723"/>
                    </a:lnTo>
                    <a:lnTo>
                      <a:pt x="15549" y="13771"/>
                    </a:lnTo>
                    <a:lnTo>
                      <a:pt x="15562" y="13818"/>
                    </a:lnTo>
                    <a:lnTo>
                      <a:pt x="15574" y="13864"/>
                    </a:lnTo>
                    <a:lnTo>
                      <a:pt x="15584" y="13909"/>
                    </a:lnTo>
                    <a:lnTo>
                      <a:pt x="15592" y="13955"/>
                    </a:lnTo>
                    <a:lnTo>
                      <a:pt x="15598" y="14000"/>
                    </a:lnTo>
                    <a:lnTo>
                      <a:pt x="15602" y="14044"/>
                    </a:lnTo>
                    <a:lnTo>
                      <a:pt x="15604" y="14088"/>
                    </a:lnTo>
                    <a:lnTo>
                      <a:pt x="15604" y="14131"/>
                    </a:lnTo>
                    <a:lnTo>
                      <a:pt x="15602" y="14172"/>
                    </a:lnTo>
                    <a:lnTo>
                      <a:pt x="15599" y="14214"/>
                    </a:lnTo>
                    <a:lnTo>
                      <a:pt x="15593" y="14255"/>
                    </a:lnTo>
                    <a:lnTo>
                      <a:pt x="15585" y="14296"/>
                    </a:lnTo>
                    <a:lnTo>
                      <a:pt x="15574" y="14335"/>
                    </a:lnTo>
                    <a:lnTo>
                      <a:pt x="15563" y="14374"/>
                    </a:lnTo>
                    <a:lnTo>
                      <a:pt x="15549" y="14412"/>
                    </a:lnTo>
                    <a:lnTo>
                      <a:pt x="15533" y="14448"/>
                    </a:lnTo>
                    <a:lnTo>
                      <a:pt x="15533" y="14454"/>
                    </a:lnTo>
                    <a:lnTo>
                      <a:pt x="15504" y="14504"/>
                    </a:lnTo>
                    <a:lnTo>
                      <a:pt x="15482" y="14540"/>
                    </a:lnTo>
                    <a:lnTo>
                      <a:pt x="15458" y="14575"/>
                    </a:lnTo>
                    <a:lnTo>
                      <a:pt x="15431" y="14608"/>
                    </a:lnTo>
                    <a:lnTo>
                      <a:pt x="15404" y="14640"/>
                    </a:lnTo>
                    <a:lnTo>
                      <a:pt x="15373" y="14670"/>
                    </a:lnTo>
                    <a:lnTo>
                      <a:pt x="15342" y="14699"/>
                    </a:lnTo>
                    <a:lnTo>
                      <a:pt x="15308" y="14725"/>
                    </a:lnTo>
                    <a:lnTo>
                      <a:pt x="15272" y="14751"/>
                    </a:lnTo>
                    <a:lnTo>
                      <a:pt x="15235" y="14775"/>
                    </a:lnTo>
                    <a:lnTo>
                      <a:pt x="15196" y="14798"/>
                    </a:lnTo>
                    <a:lnTo>
                      <a:pt x="15156" y="14818"/>
                    </a:lnTo>
                    <a:lnTo>
                      <a:pt x="15114" y="14837"/>
                    </a:lnTo>
                    <a:lnTo>
                      <a:pt x="15070" y="14856"/>
                    </a:lnTo>
                    <a:lnTo>
                      <a:pt x="15024" y="14872"/>
                    </a:lnTo>
                    <a:lnTo>
                      <a:pt x="14978" y="14887"/>
                    </a:lnTo>
                    <a:lnTo>
                      <a:pt x="14929" y="14901"/>
                    </a:lnTo>
                    <a:lnTo>
                      <a:pt x="14879" y="14912"/>
                    </a:lnTo>
                    <a:lnTo>
                      <a:pt x="14828" y="14923"/>
                    </a:lnTo>
                    <a:lnTo>
                      <a:pt x="14775" y="14931"/>
                    </a:lnTo>
                    <a:lnTo>
                      <a:pt x="14721" y="14939"/>
                    </a:lnTo>
                    <a:lnTo>
                      <a:pt x="14666" y="14945"/>
                    </a:lnTo>
                    <a:lnTo>
                      <a:pt x="14609" y="14949"/>
                    </a:lnTo>
                    <a:lnTo>
                      <a:pt x="14551" y="14952"/>
                    </a:lnTo>
                    <a:lnTo>
                      <a:pt x="14492" y="14954"/>
                    </a:lnTo>
                    <a:lnTo>
                      <a:pt x="14432" y="14955"/>
                    </a:lnTo>
                    <a:lnTo>
                      <a:pt x="14370" y="14952"/>
                    </a:lnTo>
                    <a:lnTo>
                      <a:pt x="14307" y="14950"/>
                    </a:lnTo>
                    <a:lnTo>
                      <a:pt x="14243" y="14946"/>
                    </a:lnTo>
                    <a:lnTo>
                      <a:pt x="14178" y="14940"/>
                    </a:lnTo>
                    <a:lnTo>
                      <a:pt x="14111" y="14933"/>
                    </a:lnTo>
                    <a:lnTo>
                      <a:pt x="14044" y="14925"/>
                    </a:lnTo>
                    <a:lnTo>
                      <a:pt x="13976" y="14915"/>
                    </a:lnTo>
                    <a:lnTo>
                      <a:pt x="13936" y="14909"/>
                    </a:lnTo>
                    <a:lnTo>
                      <a:pt x="13895" y="14902"/>
                    </a:lnTo>
                    <a:lnTo>
                      <a:pt x="13854" y="14894"/>
                    </a:lnTo>
                    <a:lnTo>
                      <a:pt x="13813" y="14886"/>
                    </a:lnTo>
                    <a:lnTo>
                      <a:pt x="13771" y="14878"/>
                    </a:lnTo>
                    <a:lnTo>
                      <a:pt x="13728" y="14869"/>
                    </a:lnTo>
                    <a:lnTo>
                      <a:pt x="13685" y="14860"/>
                    </a:lnTo>
                    <a:lnTo>
                      <a:pt x="13643" y="14850"/>
                    </a:lnTo>
                    <a:lnTo>
                      <a:pt x="13630" y="14892"/>
                    </a:lnTo>
                    <a:lnTo>
                      <a:pt x="13616" y="14934"/>
                    </a:lnTo>
                    <a:lnTo>
                      <a:pt x="13603" y="14976"/>
                    </a:lnTo>
                    <a:lnTo>
                      <a:pt x="13589" y="15017"/>
                    </a:lnTo>
                    <a:lnTo>
                      <a:pt x="13576" y="15056"/>
                    </a:lnTo>
                    <a:lnTo>
                      <a:pt x="13561" y="15096"/>
                    </a:lnTo>
                    <a:lnTo>
                      <a:pt x="13546" y="15136"/>
                    </a:lnTo>
                    <a:lnTo>
                      <a:pt x="13532" y="15175"/>
                    </a:lnTo>
                    <a:lnTo>
                      <a:pt x="13507" y="15239"/>
                    </a:lnTo>
                    <a:lnTo>
                      <a:pt x="13480" y="15301"/>
                    </a:lnTo>
                    <a:lnTo>
                      <a:pt x="13453" y="15362"/>
                    </a:lnTo>
                    <a:lnTo>
                      <a:pt x="13425" y="15422"/>
                    </a:lnTo>
                    <a:lnTo>
                      <a:pt x="13397" y="15479"/>
                    </a:lnTo>
                    <a:lnTo>
                      <a:pt x="13367" y="15535"/>
                    </a:lnTo>
                    <a:lnTo>
                      <a:pt x="13338" y="15590"/>
                    </a:lnTo>
                    <a:lnTo>
                      <a:pt x="13307" y="15642"/>
                    </a:lnTo>
                    <a:lnTo>
                      <a:pt x="13277" y="15693"/>
                    </a:lnTo>
                    <a:lnTo>
                      <a:pt x="13244" y="15742"/>
                    </a:lnTo>
                    <a:lnTo>
                      <a:pt x="13213" y="15789"/>
                    </a:lnTo>
                    <a:lnTo>
                      <a:pt x="13179" y="15835"/>
                    </a:lnTo>
                    <a:lnTo>
                      <a:pt x="13146" y="15877"/>
                    </a:lnTo>
                    <a:lnTo>
                      <a:pt x="13112" y="15919"/>
                    </a:lnTo>
                    <a:lnTo>
                      <a:pt x="13077" y="15959"/>
                    </a:lnTo>
                    <a:lnTo>
                      <a:pt x="13042" y="15996"/>
                    </a:lnTo>
                    <a:lnTo>
                      <a:pt x="13006" y="16031"/>
                    </a:lnTo>
                    <a:lnTo>
                      <a:pt x="12970" y="16065"/>
                    </a:lnTo>
                    <a:lnTo>
                      <a:pt x="12933" y="16095"/>
                    </a:lnTo>
                    <a:lnTo>
                      <a:pt x="12895" y="16125"/>
                    </a:lnTo>
                    <a:lnTo>
                      <a:pt x="12858" y="16151"/>
                    </a:lnTo>
                    <a:lnTo>
                      <a:pt x="12819" y="16176"/>
                    </a:lnTo>
                    <a:lnTo>
                      <a:pt x="12781" y="16199"/>
                    </a:lnTo>
                    <a:lnTo>
                      <a:pt x="12741" y="16220"/>
                    </a:lnTo>
                    <a:lnTo>
                      <a:pt x="12701" y="16237"/>
                    </a:lnTo>
                    <a:lnTo>
                      <a:pt x="12662" y="16253"/>
                    </a:lnTo>
                    <a:lnTo>
                      <a:pt x="12621" y="16266"/>
                    </a:lnTo>
                    <a:lnTo>
                      <a:pt x="12579" y="16278"/>
                    </a:lnTo>
                    <a:lnTo>
                      <a:pt x="12539" y="16286"/>
                    </a:lnTo>
                    <a:lnTo>
                      <a:pt x="12497" y="16292"/>
                    </a:lnTo>
                    <a:lnTo>
                      <a:pt x="12454" y="16296"/>
                    </a:lnTo>
                    <a:lnTo>
                      <a:pt x="12412" y="16297"/>
                    </a:lnTo>
                    <a:lnTo>
                      <a:pt x="12369" y="16296"/>
                    </a:lnTo>
                    <a:lnTo>
                      <a:pt x="12327" y="16292"/>
                    </a:lnTo>
                    <a:lnTo>
                      <a:pt x="12285" y="16286"/>
                    </a:lnTo>
                    <a:lnTo>
                      <a:pt x="12244" y="16278"/>
                    </a:lnTo>
                    <a:lnTo>
                      <a:pt x="12202" y="16266"/>
                    </a:lnTo>
                    <a:lnTo>
                      <a:pt x="12161" y="16253"/>
                    </a:lnTo>
                    <a:lnTo>
                      <a:pt x="12122" y="16237"/>
                    </a:lnTo>
                    <a:lnTo>
                      <a:pt x="12082" y="16220"/>
                    </a:lnTo>
                    <a:lnTo>
                      <a:pt x="12043" y="16199"/>
                    </a:lnTo>
                    <a:lnTo>
                      <a:pt x="12004" y="16176"/>
                    </a:lnTo>
                    <a:lnTo>
                      <a:pt x="11965" y="16151"/>
                    </a:lnTo>
                    <a:lnTo>
                      <a:pt x="11928" y="16125"/>
                    </a:lnTo>
                    <a:lnTo>
                      <a:pt x="11890" y="16095"/>
                    </a:lnTo>
                    <a:lnTo>
                      <a:pt x="11853" y="16065"/>
                    </a:lnTo>
                    <a:lnTo>
                      <a:pt x="11817" y="16031"/>
                    </a:lnTo>
                    <a:lnTo>
                      <a:pt x="11781" y="15996"/>
                    </a:lnTo>
                    <a:lnTo>
                      <a:pt x="11747" y="15959"/>
                    </a:lnTo>
                    <a:lnTo>
                      <a:pt x="11711" y="15919"/>
                    </a:lnTo>
                    <a:lnTo>
                      <a:pt x="11678" y="15877"/>
                    </a:lnTo>
                    <a:lnTo>
                      <a:pt x="11644" y="15835"/>
                    </a:lnTo>
                    <a:lnTo>
                      <a:pt x="11611" y="15789"/>
                    </a:lnTo>
                    <a:lnTo>
                      <a:pt x="11579" y="15742"/>
                    </a:lnTo>
                    <a:lnTo>
                      <a:pt x="11547" y="15693"/>
                    </a:lnTo>
                    <a:lnTo>
                      <a:pt x="11516" y="15642"/>
                    </a:lnTo>
                    <a:lnTo>
                      <a:pt x="11485" y="15590"/>
                    </a:lnTo>
                    <a:lnTo>
                      <a:pt x="11456" y="15535"/>
                    </a:lnTo>
                    <a:lnTo>
                      <a:pt x="11426" y="15479"/>
                    </a:lnTo>
                    <a:lnTo>
                      <a:pt x="11398" y="15422"/>
                    </a:lnTo>
                    <a:lnTo>
                      <a:pt x="11370" y="15362"/>
                    </a:lnTo>
                    <a:lnTo>
                      <a:pt x="11344" y="15301"/>
                    </a:lnTo>
                    <a:lnTo>
                      <a:pt x="11318" y="15239"/>
                    </a:lnTo>
                    <a:lnTo>
                      <a:pt x="11291" y="15175"/>
                    </a:lnTo>
                    <a:lnTo>
                      <a:pt x="11277" y="15136"/>
                    </a:lnTo>
                    <a:lnTo>
                      <a:pt x="11263" y="15098"/>
                    </a:lnTo>
                    <a:lnTo>
                      <a:pt x="11248" y="15058"/>
                    </a:lnTo>
                    <a:lnTo>
                      <a:pt x="11235" y="15019"/>
                    </a:lnTo>
                    <a:lnTo>
                      <a:pt x="11221" y="14978"/>
                    </a:lnTo>
                    <a:lnTo>
                      <a:pt x="11208" y="14937"/>
                    </a:lnTo>
                    <a:lnTo>
                      <a:pt x="11195" y="14896"/>
                    </a:lnTo>
                    <a:lnTo>
                      <a:pt x="11181" y="14855"/>
                    </a:lnTo>
                    <a:lnTo>
                      <a:pt x="11162" y="14859"/>
                    </a:lnTo>
                    <a:lnTo>
                      <a:pt x="11143" y="14864"/>
                    </a:lnTo>
                    <a:lnTo>
                      <a:pt x="11122" y="14868"/>
                    </a:lnTo>
                    <a:lnTo>
                      <a:pt x="11103" y="14872"/>
                    </a:lnTo>
                    <a:lnTo>
                      <a:pt x="11084" y="14876"/>
                    </a:lnTo>
                    <a:lnTo>
                      <a:pt x="11064" y="14880"/>
                    </a:lnTo>
                    <a:lnTo>
                      <a:pt x="11045" y="14884"/>
                    </a:lnTo>
                    <a:lnTo>
                      <a:pt x="11026" y="14888"/>
                    </a:lnTo>
                    <a:lnTo>
                      <a:pt x="11021" y="14908"/>
                    </a:lnTo>
                    <a:lnTo>
                      <a:pt x="11015" y="14926"/>
                    </a:lnTo>
                    <a:lnTo>
                      <a:pt x="11009" y="14944"/>
                    </a:lnTo>
                    <a:lnTo>
                      <a:pt x="11001" y="14963"/>
                    </a:lnTo>
                    <a:lnTo>
                      <a:pt x="10993" y="14980"/>
                    </a:lnTo>
                    <a:lnTo>
                      <a:pt x="10985" y="14998"/>
                    </a:lnTo>
                    <a:lnTo>
                      <a:pt x="10977" y="15015"/>
                    </a:lnTo>
                    <a:lnTo>
                      <a:pt x="10967" y="15032"/>
                    </a:lnTo>
                    <a:lnTo>
                      <a:pt x="10958" y="15048"/>
                    </a:lnTo>
                    <a:lnTo>
                      <a:pt x="10948" y="15065"/>
                    </a:lnTo>
                    <a:lnTo>
                      <a:pt x="10936" y="15080"/>
                    </a:lnTo>
                    <a:lnTo>
                      <a:pt x="10925" y="15095"/>
                    </a:lnTo>
                    <a:lnTo>
                      <a:pt x="10913" y="15110"/>
                    </a:lnTo>
                    <a:lnTo>
                      <a:pt x="10901" y="15125"/>
                    </a:lnTo>
                    <a:lnTo>
                      <a:pt x="10888" y="15139"/>
                    </a:lnTo>
                    <a:lnTo>
                      <a:pt x="10874" y="15153"/>
                    </a:lnTo>
                    <a:lnTo>
                      <a:pt x="10855" y="15171"/>
                    </a:lnTo>
                    <a:lnTo>
                      <a:pt x="10834" y="15190"/>
                    </a:lnTo>
                    <a:lnTo>
                      <a:pt x="10812" y="15207"/>
                    </a:lnTo>
                    <a:lnTo>
                      <a:pt x="10789" y="15223"/>
                    </a:lnTo>
                    <a:lnTo>
                      <a:pt x="10766" y="15239"/>
                    </a:lnTo>
                    <a:lnTo>
                      <a:pt x="10742" y="15252"/>
                    </a:lnTo>
                    <a:lnTo>
                      <a:pt x="10717" y="15265"/>
                    </a:lnTo>
                    <a:lnTo>
                      <a:pt x="10691" y="15276"/>
                    </a:lnTo>
                    <a:lnTo>
                      <a:pt x="10665" y="15287"/>
                    </a:lnTo>
                    <a:lnTo>
                      <a:pt x="10638" y="15296"/>
                    </a:lnTo>
                    <a:lnTo>
                      <a:pt x="10611" y="15304"/>
                    </a:lnTo>
                    <a:lnTo>
                      <a:pt x="10584" y="15310"/>
                    </a:lnTo>
                    <a:lnTo>
                      <a:pt x="10555" y="15315"/>
                    </a:lnTo>
                    <a:lnTo>
                      <a:pt x="10526" y="15319"/>
                    </a:lnTo>
                    <a:lnTo>
                      <a:pt x="10497" y="15321"/>
                    </a:lnTo>
                    <a:lnTo>
                      <a:pt x="10467" y="15322"/>
                    </a:lnTo>
                    <a:lnTo>
                      <a:pt x="10437" y="15321"/>
                    </a:lnTo>
                    <a:lnTo>
                      <a:pt x="10409" y="15319"/>
                    </a:lnTo>
                    <a:lnTo>
                      <a:pt x="10379" y="15315"/>
                    </a:lnTo>
                    <a:lnTo>
                      <a:pt x="10351" y="15310"/>
                    </a:lnTo>
                    <a:lnTo>
                      <a:pt x="10323" y="15304"/>
                    </a:lnTo>
                    <a:lnTo>
                      <a:pt x="10296" y="15296"/>
                    </a:lnTo>
                    <a:lnTo>
                      <a:pt x="10269" y="15287"/>
                    </a:lnTo>
                    <a:lnTo>
                      <a:pt x="10243" y="15276"/>
                    </a:lnTo>
                    <a:lnTo>
                      <a:pt x="10218" y="15265"/>
                    </a:lnTo>
                    <a:lnTo>
                      <a:pt x="10192" y="15252"/>
                    </a:lnTo>
                    <a:lnTo>
                      <a:pt x="10168" y="15239"/>
                    </a:lnTo>
                    <a:lnTo>
                      <a:pt x="10144" y="15223"/>
                    </a:lnTo>
                    <a:lnTo>
                      <a:pt x="10122" y="15207"/>
                    </a:lnTo>
                    <a:lnTo>
                      <a:pt x="10101" y="15190"/>
                    </a:lnTo>
                    <a:lnTo>
                      <a:pt x="10079" y="15171"/>
                    </a:lnTo>
                    <a:lnTo>
                      <a:pt x="10060" y="15153"/>
                    </a:lnTo>
                    <a:lnTo>
                      <a:pt x="10048" y="15140"/>
                    </a:lnTo>
                    <a:lnTo>
                      <a:pt x="10036" y="15128"/>
                    </a:lnTo>
                    <a:lnTo>
                      <a:pt x="10024" y="15114"/>
                    </a:lnTo>
                    <a:lnTo>
                      <a:pt x="10013" y="15100"/>
                    </a:lnTo>
                    <a:lnTo>
                      <a:pt x="10003" y="15087"/>
                    </a:lnTo>
                    <a:lnTo>
                      <a:pt x="9993" y="15073"/>
                    </a:lnTo>
                    <a:lnTo>
                      <a:pt x="9983" y="15057"/>
                    </a:lnTo>
                    <a:lnTo>
                      <a:pt x="9974" y="15043"/>
                    </a:lnTo>
                    <a:lnTo>
                      <a:pt x="9964" y="15028"/>
                    </a:lnTo>
                    <a:lnTo>
                      <a:pt x="9956" y="15012"/>
                    </a:lnTo>
                    <a:lnTo>
                      <a:pt x="9948" y="14996"/>
                    </a:lnTo>
                    <a:lnTo>
                      <a:pt x="9941" y="14980"/>
                    </a:lnTo>
                    <a:lnTo>
                      <a:pt x="9934" y="14964"/>
                    </a:lnTo>
                    <a:lnTo>
                      <a:pt x="9928" y="14947"/>
                    </a:lnTo>
                    <a:lnTo>
                      <a:pt x="9922" y="14930"/>
                    </a:lnTo>
                    <a:lnTo>
                      <a:pt x="9916" y="14914"/>
                    </a:lnTo>
                    <a:lnTo>
                      <a:pt x="9865" y="14901"/>
                    </a:lnTo>
                    <a:lnTo>
                      <a:pt x="9816" y="14886"/>
                    </a:lnTo>
                    <a:lnTo>
                      <a:pt x="9792" y="14878"/>
                    </a:lnTo>
                    <a:lnTo>
                      <a:pt x="9768" y="14870"/>
                    </a:lnTo>
                    <a:lnTo>
                      <a:pt x="9745" y="14861"/>
                    </a:lnTo>
                    <a:lnTo>
                      <a:pt x="9721" y="14852"/>
                    </a:lnTo>
                    <a:lnTo>
                      <a:pt x="9699" y="14842"/>
                    </a:lnTo>
                    <a:lnTo>
                      <a:pt x="9678" y="14832"/>
                    </a:lnTo>
                    <a:lnTo>
                      <a:pt x="9656" y="14822"/>
                    </a:lnTo>
                    <a:lnTo>
                      <a:pt x="9635" y="14811"/>
                    </a:lnTo>
                    <a:lnTo>
                      <a:pt x="9614" y="14800"/>
                    </a:lnTo>
                    <a:lnTo>
                      <a:pt x="9594" y="14789"/>
                    </a:lnTo>
                    <a:lnTo>
                      <a:pt x="9574" y="14776"/>
                    </a:lnTo>
                    <a:lnTo>
                      <a:pt x="9555" y="14764"/>
                    </a:lnTo>
                    <a:lnTo>
                      <a:pt x="9536" y="14752"/>
                    </a:lnTo>
                    <a:lnTo>
                      <a:pt x="9518" y="14739"/>
                    </a:lnTo>
                    <a:lnTo>
                      <a:pt x="9500" y="14724"/>
                    </a:lnTo>
                    <a:lnTo>
                      <a:pt x="9483" y="14711"/>
                    </a:lnTo>
                    <a:lnTo>
                      <a:pt x="9465" y="14696"/>
                    </a:lnTo>
                    <a:lnTo>
                      <a:pt x="9449" y="14682"/>
                    </a:lnTo>
                    <a:lnTo>
                      <a:pt x="9433" y="14666"/>
                    </a:lnTo>
                    <a:lnTo>
                      <a:pt x="9417" y="14650"/>
                    </a:lnTo>
                    <a:lnTo>
                      <a:pt x="9403" y="14635"/>
                    </a:lnTo>
                    <a:lnTo>
                      <a:pt x="9388" y="14617"/>
                    </a:lnTo>
                    <a:lnTo>
                      <a:pt x="9375" y="14601"/>
                    </a:lnTo>
                    <a:lnTo>
                      <a:pt x="9361" y="14584"/>
                    </a:lnTo>
                    <a:lnTo>
                      <a:pt x="9348" y="14565"/>
                    </a:lnTo>
                    <a:lnTo>
                      <a:pt x="9335" y="14547"/>
                    </a:lnTo>
                    <a:lnTo>
                      <a:pt x="9324" y="14529"/>
                    </a:lnTo>
                    <a:lnTo>
                      <a:pt x="9313" y="14510"/>
                    </a:lnTo>
                    <a:lnTo>
                      <a:pt x="9313" y="14509"/>
                    </a:lnTo>
                    <a:lnTo>
                      <a:pt x="9292" y="14472"/>
                    </a:lnTo>
                    <a:lnTo>
                      <a:pt x="9274" y="14433"/>
                    </a:lnTo>
                    <a:lnTo>
                      <a:pt x="9259" y="14394"/>
                    </a:lnTo>
                    <a:lnTo>
                      <a:pt x="9246" y="14354"/>
                    </a:lnTo>
                    <a:lnTo>
                      <a:pt x="9234" y="14313"/>
                    </a:lnTo>
                    <a:lnTo>
                      <a:pt x="9225" y="14271"/>
                    </a:lnTo>
                    <a:lnTo>
                      <a:pt x="9219" y="14228"/>
                    </a:lnTo>
                    <a:lnTo>
                      <a:pt x="9215" y="14185"/>
                    </a:lnTo>
                    <a:lnTo>
                      <a:pt x="9213" y="14140"/>
                    </a:lnTo>
                    <a:lnTo>
                      <a:pt x="9213" y="14095"/>
                    </a:lnTo>
                    <a:lnTo>
                      <a:pt x="9215" y="14050"/>
                    </a:lnTo>
                    <a:lnTo>
                      <a:pt x="9219" y="14003"/>
                    </a:lnTo>
                    <a:lnTo>
                      <a:pt x="9225" y="13956"/>
                    </a:lnTo>
                    <a:lnTo>
                      <a:pt x="9234" y="13908"/>
                    </a:lnTo>
                    <a:lnTo>
                      <a:pt x="9245" y="13861"/>
                    </a:lnTo>
                    <a:lnTo>
                      <a:pt x="9258" y="13812"/>
                    </a:lnTo>
                    <a:lnTo>
                      <a:pt x="9272" y="13763"/>
                    </a:lnTo>
                    <a:lnTo>
                      <a:pt x="9288" y="13713"/>
                    </a:lnTo>
                    <a:lnTo>
                      <a:pt x="9308" y="13663"/>
                    </a:lnTo>
                    <a:lnTo>
                      <a:pt x="9328" y="13612"/>
                    </a:lnTo>
                    <a:lnTo>
                      <a:pt x="9350" y="13561"/>
                    </a:lnTo>
                    <a:lnTo>
                      <a:pt x="9375" y="13509"/>
                    </a:lnTo>
                    <a:lnTo>
                      <a:pt x="9401" y="13457"/>
                    </a:lnTo>
                    <a:lnTo>
                      <a:pt x="9430" y="13405"/>
                    </a:lnTo>
                    <a:lnTo>
                      <a:pt x="9460" y="13352"/>
                    </a:lnTo>
                    <a:lnTo>
                      <a:pt x="9492" y="13299"/>
                    </a:lnTo>
                    <a:lnTo>
                      <a:pt x="9526" y="13246"/>
                    </a:lnTo>
                    <a:lnTo>
                      <a:pt x="9562" y="13193"/>
                    </a:lnTo>
                    <a:lnTo>
                      <a:pt x="9599" y="13139"/>
                    </a:lnTo>
                    <a:lnTo>
                      <a:pt x="9638" y="13085"/>
                    </a:lnTo>
                    <a:lnTo>
                      <a:pt x="9680" y="13031"/>
                    </a:lnTo>
                    <a:lnTo>
                      <a:pt x="9721" y="12978"/>
                    </a:lnTo>
                    <a:lnTo>
                      <a:pt x="9748" y="12945"/>
                    </a:lnTo>
                    <a:lnTo>
                      <a:pt x="9775" y="12912"/>
                    </a:lnTo>
                    <a:lnTo>
                      <a:pt x="9802" y="12880"/>
                    </a:lnTo>
                    <a:lnTo>
                      <a:pt x="9830" y="12848"/>
                    </a:lnTo>
                    <a:lnTo>
                      <a:pt x="9859" y="12816"/>
                    </a:lnTo>
                    <a:lnTo>
                      <a:pt x="9888" y="12783"/>
                    </a:lnTo>
                    <a:lnTo>
                      <a:pt x="9918" y="12749"/>
                    </a:lnTo>
                    <a:lnTo>
                      <a:pt x="9948" y="12717"/>
                    </a:lnTo>
                    <a:lnTo>
                      <a:pt x="9917" y="12684"/>
                    </a:lnTo>
                    <a:lnTo>
                      <a:pt x="9886" y="12651"/>
                    </a:lnTo>
                    <a:lnTo>
                      <a:pt x="9857" y="12617"/>
                    </a:lnTo>
                    <a:lnTo>
                      <a:pt x="9828" y="12584"/>
                    </a:lnTo>
                    <a:lnTo>
                      <a:pt x="9799" y="12551"/>
                    </a:lnTo>
                    <a:lnTo>
                      <a:pt x="9771" y="12518"/>
                    </a:lnTo>
                    <a:lnTo>
                      <a:pt x="9744" y="12485"/>
                    </a:lnTo>
                    <a:lnTo>
                      <a:pt x="9717" y="12452"/>
                    </a:lnTo>
                    <a:lnTo>
                      <a:pt x="9675" y="12398"/>
                    </a:lnTo>
                    <a:lnTo>
                      <a:pt x="9634" y="12344"/>
                    </a:lnTo>
                    <a:lnTo>
                      <a:pt x="9594" y="12290"/>
                    </a:lnTo>
                    <a:lnTo>
                      <a:pt x="9557" y="12236"/>
                    </a:lnTo>
                    <a:lnTo>
                      <a:pt x="9521" y="12182"/>
                    </a:lnTo>
                    <a:lnTo>
                      <a:pt x="9488" y="12129"/>
                    </a:lnTo>
                    <a:lnTo>
                      <a:pt x="9455" y="12076"/>
                    </a:lnTo>
                    <a:lnTo>
                      <a:pt x="9426" y="12023"/>
                    </a:lnTo>
                    <a:lnTo>
                      <a:pt x="9397" y="11971"/>
                    </a:lnTo>
                    <a:lnTo>
                      <a:pt x="9371" y="11919"/>
                    </a:lnTo>
                    <a:lnTo>
                      <a:pt x="9346" y="11868"/>
                    </a:lnTo>
                    <a:lnTo>
                      <a:pt x="9323" y="11816"/>
                    </a:lnTo>
                    <a:lnTo>
                      <a:pt x="9303" y="11766"/>
                    </a:lnTo>
                    <a:lnTo>
                      <a:pt x="9284" y="11716"/>
                    </a:lnTo>
                    <a:lnTo>
                      <a:pt x="9267" y="11666"/>
                    </a:lnTo>
                    <a:lnTo>
                      <a:pt x="9253" y="11617"/>
                    </a:lnTo>
                    <a:lnTo>
                      <a:pt x="9240" y="11568"/>
                    </a:lnTo>
                    <a:lnTo>
                      <a:pt x="9229" y="11520"/>
                    </a:lnTo>
                    <a:lnTo>
                      <a:pt x="9221" y="11472"/>
                    </a:lnTo>
                    <a:lnTo>
                      <a:pt x="9214" y="11425"/>
                    </a:lnTo>
                    <a:lnTo>
                      <a:pt x="9210" y="11379"/>
                    </a:lnTo>
                    <a:lnTo>
                      <a:pt x="9208" y="11334"/>
                    </a:lnTo>
                    <a:lnTo>
                      <a:pt x="9208" y="11289"/>
                    </a:lnTo>
                    <a:lnTo>
                      <a:pt x="9210" y="11244"/>
                    </a:lnTo>
                    <a:lnTo>
                      <a:pt x="9214" y="11201"/>
                    </a:lnTo>
                    <a:lnTo>
                      <a:pt x="9221" y="11158"/>
                    </a:lnTo>
                    <a:lnTo>
                      <a:pt x="9229" y="11116"/>
                    </a:lnTo>
                    <a:lnTo>
                      <a:pt x="9241" y="11075"/>
                    </a:lnTo>
                    <a:lnTo>
                      <a:pt x="9254" y="11035"/>
                    </a:lnTo>
                    <a:lnTo>
                      <a:pt x="9270" y="10995"/>
                    </a:lnTo>
                    <a:lnTo>
                      <a:pt x="9287" y="10957"/>
                    </a:lnTo>
                    <a:lnTo>
                      <a:pt x="9308" y="10919"/>
                    </a:lnTo>
                    <a:lnTo>
                      <a:pt x="9308" y="10919"/>
                    </a:lnTo>
                    <a:lnTo>
                      <a:pt x="9330" y="10883"/>
                    </a:lnTo>
                    <a:lnTo>
                      <a:pt x="9354" y="10849"/>
                    </a:lnTo>
                    <a:lnTo>
                      <a:pt x="9381" y="10815"/>
                    </a:lnTo>
                    <a:lnTo>
                      <a:pt x="9409" y="10784"/>
                    </a:lnTo>
                    <a:lnTo>
                      <a:pt x="9440" y="10753"/>
                    </a:lnTo>
                    <a:lnTo>
                      <a:pt x="9471" y="10724"/>
                    </a:lnTo>
                    <a:lnTo>
                      <a:pt x="9505" y="10698"/>
                    </a:lnTo>
                    <a:lnTo>
                      <a:pt x="9540" y="10672"/>
                    </a:lnTo>
                    <a:lnTo>
                      <a:pt x="9578" y="10648"/>
                    </a:lnTo>
                    <a:lnTo>
                      <a:pt x="9617" y="10626"/>
                    </a:lnTo>
                    <a:lnTo>
                      <a:pt x="9657" y="10605"/>
                    </a:lnTo>
                    <a:lnTo>
                      <a:pt x="9699" y="10585"/>
                    </a:lnTo>
                    <a:lnTo>
                      <a:pt x="9743" y="10568"/>
                    </a:lnTo>
                    <a:lnTo>
                      <a:pt x="9789" y="10551"/>
                    </a:lnTo>
                    <a:lnTo>
                      <a:pt x="9835" y="10536"/>
                    </a:lnTo>
                    <a:lnTo>
                      <a:pt x="9883" y="10523"/>
                    </a:lnTo>
                    <a:lnTo>
                      <a:pt x="9933" y="10511"/>
                    </a:lnTo>
                    <a:lnTo>
                      <a:pt x="9985" y="10500"/>
                    </a:lnTo>
                    <a:lnTo>
                      <a:pt x="10038" y="10491"/>
                    </a:lnTo>
                    <a:lnTo>
                      <a:pt x="10092" y="10484"/>
                    </a:lnTo>
                    <a:lnTo>
                      <a:pt x="10146" y="10478"/>
                    </a:lnTo>
                    <a:lnTo>
                      <a:pt x="10203" y="10474"/>
                    </a:lnTo>
                    <a:lnTo>
                      <a:pt x="10261" y="10471"/>
                    </a:lnTo>
                    <a:lnTo>
                      <a:pt x="10321" y="10469"/>
                    </a:lnTo>
                    <a:lnTo>
                      <a:pt x="10381" y="10469"/>
                    </a:lnTo>
                    <a:lnTo>
                      <a:pt x="10443" y="10470"/>
                    </a:lnTo>
                    <a:lnTo>
                      <a:pt x="10506" y="10473"/>
                    </a:lnTo>
                    <a:lnTo>
                      <a:pt x="10569" y="10477"/>
                    </a:lnTo>
                    <a:lnTo>
                      <a:pt x="10634" y="10483"/>
                    </a:lnTo>
                    <a:lnTo>
                      <a:pt x="10700" y="10489"/>
                    </a:lnTo>
                    <a:lnTo>
                      <a:pt x="10768" y="10498"/>
                    </a:lnTo>
                    <a:lnTo>
                      <a:pt x="10836" y="10507"/>
                    </a:lnTo>
                    <a:lnTo>
                      <a:pt x="10877" y="10515"/>
                    </a:lnTo>
                    <a:lnTo>
                      <a:pt x="10920" y="10522"/>
                    </a:lnTo>
                    <a:lnTo>
                      <a:pt x="10962" y="10530"/>
                    </a:lnTo>
                    <a:lnTo>
                      <a:pt x="11005" y="10538"/>
                    </a:lnTo>
                    <a:lnTo>
                      <a:pt x="11048" y="10546"/>
                    </a:lnTo>
                    <a:lnTo>
                      <a:pt x="11092" y="10555"/>
                    </a:lnTo>
                    <a:lnTo>
                      <a:pt x="11136" y="10566"/>
                    </a:lnTo>
                    <a:lnTo>
                      <a:pt x="11180" y="10576"/>
                    </a:lnTo>
                    <a:lnTo>
                      <a:pt x="11193" y="10533"/>
                    </a:lnTo>
                    <a:lnTo>
                      <a:pt x="11207" y="10491"/>
                    </a:lnTo>
                    <a:lnTo>
                      <a:pt x="11220" y="10449"/>
                    </a:lnTo>
                    <a:lnTo>
                      <a:pt x="11234" y="10409"/>
                    </a:lnTo>
                    <a:lnTo>
                      <a:pt x="11248" y="10368"/>
                    </a:lnTo>
                    <a:lnTo>
                      <a:pt x="11263" y="10328"/>
                    </a:lnTo>
                    <a:lnTo>
                      <a:pt x="11277" y="10288"/>
                    </a:lnTo>
                    <a:lnTo>
                      <a:pt x="11291" y="10250"/>
                    </a:lnTo>
                    <a:lnTo>
                      <a:pt x="11318" y="10186"/>
                    </a:lnTo>
                    <a:lnTo>
                      <a:pt x="11344" y="10122"/>
                    </a:lnTo>
                    <a:lnTo>
                      <a:pt x="11370" y="10062"/>
                    </a:lnTo>
                    <a:lnTo>
                      <a:pt x="11398" y="10002"/>
                    </a:lnTo>
                    <a:lnTo>
                      <a:pt x="11426" y="9945"/>
                    </a:lnTo>
                    <a:lnTo>
                      <a:pt x="11456" y="9889"/>
                    </a:lnTo>
                    <a:lnTo>
                      <a:pt x="11485" y="9834"/>
                    </a:lnTo>
                    <a:lnTo>
                      <a:pt x="11516" y="9782"/>
                    </a:lnTo>
                    <a:lnTo>
                      <a:pt x="11547" y="9731"/>
                    </a:lnTo>
                    <a:lnTo>
                      <a:pt x="11579" y="9682"/>
                    </a:lnTo>
                    <a:lnTo>
                      <a:pt x="11611" y="9635"/>
                    </a:lnTo>
                    <a:lnTo>
                      <a:pt x="11644" y="9590"/>
                    </a:lnTo>
                    <a:lnTo>
                      <a:pt x="11678" y="9547"/>
                    </a:lnTo>
                    <a:lnTo>
                      <a:pt x="11711" y="9505"/>
                    </a:lnTo>
                    <a:lnTo>
                      <a:pt x="11747" y="9466"/>
                    </a:lnTo>
                    <a:lnTo>
                      <a:pt x="11781" y="9429"/>
                    </a:lnTo>
                    <a:lnTo>
                      <a:pt x="11817" y="9393"/>
                    </a:lnTo>
                    <a:lnTo>
                      <a:pt x="11853" y="9360"/>
                    </a:lnTo>
                    <a:lnTo>
                      <a:pt x="11890" y="9329"/>
                    </a:lnTo>
                    <a:lnTo>
                      <a:pt x="11928" y="9299"/>
                    </a:lnTo>
                    <a:lnTo>
                      <a:pt x="11965" y="9273"/>
                    </a:lnTo>
                    <a:lnTo>
                      <a:pt x="12004" y="9248"/>
                    </a:lnTo>
                    <a:lnTo>
                      <a:pt x="12043" y="9225"/>
                    </a:lnTo>
                    <a:lnTo>
                      <a:pt x="12082" y="9205"/>
                    </a:lnTo>
                    <a:lnTo>
                      <a:pt x="12122" y="9187"/>
                    </a:lnTo>
                    <a:lnTo>
                      <a:pt x="12161" y="9171"/>
                    </a:lnTo>
                    <a:lnTo>
                      <a:pt x="12202" y="9158"/>
                    </a:lnTo>
                    <a:lnTo>
                      <a:pt x="12244" y="9147"/>
                    </a:lnTo>
                    <a:lnTo>
                      <a:pt x="12285" y="9139"/>
                    </a:lnTo>
                    <a:lnTo>
                      <a:pt x="12327" y="9132"/>
                    </a:lnTo>
                    <a:lnTo>
                      <a:pt x="12369" y="9128"/>
                    </a:lnTo>
                    <a:lnTo>
                      <a:pt x="12412" y="9127"/>
                    </a:lnTo>
                    <a:close/>
                    <a:moveTo>
                      <a:pt x="13024" y="9984"/>
                    </a:moveTo>
                    <a:lnTo>
                      <a:pt x="13025" y="10000"/>
                    </a:lnTo>
                    <a:lnTo>
                      <a:pt x="13027" y="10016"/>
                    </a:lnTo>
                    <a:lnTo>
                      <a:pt x="13031" y="10031"/>
                    </a:lnTo>
                    <a:lnTo>
                      <a:pt x="13037" y="10046"/>
                    </a:lnTo>
                    <a:lnTo>
                      <a:pt x="13043" y="10060"/>
                    </a:lnTo>
                    <a:lnTo>
                      <a:pt x="13051" y="10073"/>
                    </a:lnTo>
                    <a:lnTo>
                      <a:pt x="13060" y="10086"/>
                    </a:lnTo>
                    <a:lnTo>
                      <a:pt x="13070" y="10097"/>
                    </a:lnTo>
                    <a:lnTo>
                      <a:pt x="13082" y="10107"/>
                    </a:lnTo>
                    <a:lnTo>
                      <a:pt x="13094" y="10116"/>
                    </a:lnTo>
                    <a:lnTo>
                      <a:pt x="13107" y="10123"/>
                    </a:lnTo>
                    <a:lnTo>
                      <a:pt x="13121" y="10131"/>
                    </a:lnTo>
                    <a:lnTo>
                      <a:pt x="13135" y="10136"/>
                    </a:lnTo>
                    <a:lnTo>
                      <a:pt x="13151" y="10140"/>
                    </a:lnTo>
                    <a:lnTo>
                      <a:pt x="13167" y="10143"/>
                    </a:lnTo>
                    <a:lnTo>
                      <a:pt x="13183" y="10143"/>
                    </a:lnTo>
                    <a:lnTo>
                      <a:pt x="13199" y="10143"/>
                    </a:lnTo>
                    <a:lnTo>
                      <a:pt x="13216" y="10140"/>
                    </a:lnTo>
                    <a:lnTo>
                      <a:pt x="13231" y="10136"/>
                    </a:lnTo>
                    <a:lnTo>
                      <a:pt x="13245" y="10131"/>
                    </a:lnTo>
                    <a:lnTo>
                      <a:pt x="13259" y="10123"/>
                    </a:lnTo>
                    <a:lnTo>
                      <a:pt x="13273" y="10116"/>
                    </a:lnTo>
                    <a:lnTo>
                      <a:pt x="13285" y="10107"/>
                    </a:lnTo>
                    <a:lnTo>
                      <a:pt x="13296" y="10097"/>
                    </a:lnTo>
                    <a:lnTo>
                      <a:pt x="13306" y="10086"/>
                    </a:lnTo>
                    <a:lnTo>
                      <a:pt x="13315" y="10073"/>
                    </a:lnTo>
                    <a:lnTo>
                      <a:pt x="13324" y="10060"/>
                    </a:lnTo>
                    <a:lnTo>
                      <a:pt x="13330" y="10046"/>
                    </a:lnTo>
                    <a:lnTo>
                      <a:pt x="13336" y="10031"/>
                    </a:lnTo>
                    <a:lnTo>
                      <a:pt x="13339" y="10016"/>
                    </a:lnTo>
                    <a:lnTo>
                      <a:pt x="13342" y="10000"/>
                    </a:lnTo>
                    <a:lnTo>
                      <a:pt x="13343" y="9984"/>
                    </a:lnTo>
                    <a:lnTo>
                      <a:pt x="13342" y="9968"/>
                    </a:lnTo>
                    <a:lnTo>
                      <a:pt x="13339" y="9951"/>
                    </a:lnTo>
                    <a:lnTo>
                      <a:pt x="13336" y="9936"/>
                    </a:lnTo>
                    <a:lnTo>
                      <a:pt x="13330" y="9922"/>
                    </a:lnTo>
                    <a:lnTo>
                      <a:pt x="13324" y="9908"/>
                    </a:lnTo>
                    <a:lnTo>
                      <a:pt x="13315" y="9894"/>
                    </a:lnTo>
                    <a:lnTo>
                      <a:pt x="13306" y="9882"/>
                    </a:lnTo>
                    <a:lnTo>
                      <a:pt x="13296" y="9871"/>
                    </a:lnTo>
                    <a:lnTo>
                      <a:pt x="13285" y="9861"/>
                    </a:lnTo>
                    <a:lnTo>
                      <a:pt x="13273" y="9852"/>
                    </a:lnTo>
                    <a:lnTo>
                      <a:pt x="13259" y="9843"/>
                    </a:lnTo>
                    <a:lnTo>
                      <a:pt x="13245" y="9836"/>
                    </a:lnTo>
                    <a:lnTo>
                      <a:pt x="13231" y="9831"/>
                    </a:lnTo>
                    <a:lnTo>
                      <a:pt x="13216" y="9827"/>
                    </a:lnTo>
                    <a:lnTo>
                      <a:pt x="13199" y="9825"/>
                    </a:lnTo>
                    <a:lnTo>
                      <a:pt x="13183" y="9824"/>
                    </a:lnTo>
                    <a:lnTo>
                      <a:pt x="13167" y="9825"/>
                    </a:lnTo>
                    <a:lnTo>
                      <a:pt x="13151" y="9827"/>
                    </a:lnTo>
                    <a:lnTo>
                      <a:pt x="13135" y="9831"/>
                    </a:lnTo>
                    <a:lnTo>
                      <a:pt x="13121" y="9836"/>
                    </a:lnTo>
                    <a:lnTo>
                      <a:pt x="13107" y="9843"/>
                    </a:lnTo>
                    <a:lnTo>
                      <a:pt x="13094" y="9852"/>
                    </a:lnTo>
                    <a:lnTo>
                      <a:pt x="13082" y="9861"/>
                    </a:lnTo>
                    <a:lnTo>
                      <a:pt x="13070" y="9871"/>
                    </a:lnTo>
                    <a:lnTo>
                      <a:pt x="13060" y="9882"/>
                    </a:lnTo>
                    <a:lnTo>
                      <a:pt x="13051" y="9894"/>
                    </a:lnTo>
                    <a:lnTo>
                      <a:pt x="13043" y="9908"/>
                    </a:lnTo>
                    <a:lnTo>
                      <a:pt x="13037" y="9922"/>
                    </a:lnTo>
                    <a:lnTo>
                      <a:pt x="13031" y="9936"/>
                    </a:lnTo>
                    <a:lnTo>
                      <a:pt x="13027" y="9951"/>
                    </a:lnTo>
                    <a:lnTo>
                      <a:pt x="13025" y="9968"/>
                    </a:lnTo>
                    <a:lnTo>
                      <a:pt x="13024" y="9984"/>
                    </a:lnTo>
                    <a:close/>
                    <a:moveTo>
                      <a:pt x="10580" y="14632"/>
                    </a:moveTo>
                    <a:lnTo>
                      <a:pt x="10568" y="14621"/>
                    </a:lnTo>
                    <a:lnTo>
                      <a:pt x="10556" y="14612"/>
                    </a:lnTo>
                    <a:lnTo>
                      <a:pt x="10543" y="14604"/>
                    </a:lnTo>
                    <a:lnTo>
                      <a:pt x="10529" y="14597"/>
                    </a:lnTo>
                    <a:lnTo>
                      <a:pt x="10514" y="14592"/>
                    </a:lnTo>
                    <a:lnTo>
                      <a:pt x="10499" y="14588"/>
                    </a:lnTo>
                    <a:lnTo>
                      <a:pt x="10483" y="14586"/>
                    </a:lnTo>
                    <a:lnTo>
                      <a:pt x="10467" y="14585"/>
                    </a:lnTo>
                    <a:lnTo>
                      <a:pt x="10450" y="14586"/>
                    </a:lnTo>
                    <a:lnTo>
                      <a:pt x="10435" y="14588"/>
                    </a:lnTo>
                    <a:lnTo>
                      <a:pt x="10420" y="14592"/>
                    </a:lnTo>
                    <a:lnTo>
                      <a:pt x="10405" y="14597"/>
                    </a:lnTo>
                    <a:lnTo>
                      <a:pt x="10391" y="14604"/>
                    </a:lnTo>
                    <a:lnTo>
                      <a:pt x="10378" y="14612"/>
                    </a:lnTo>
                    <a:lnTo>
                      <a:pt x="10366" y="14621"/>
                    </a:lnTo>
                    <a:lnTo>
                      <a:pt x="10355" y="14632"/>
                    </a:lnTo>
                    <a:lnTo>
                      <a:pt x="10345" y="14643"/>
                    </a:lnTo>
                    <a:lnTo>
                      <a:pt x="10336" y="14655"/>
                    </a:lnTo>
                    <a:lnTo>
                      <a:pt x="10327" y="14668"/>
                    </a:lnTo>
                    <a:lnTo>
                      <a:pt x="10320" y="14683"/>
                    </a:lnTo>
                    <a:lnTo>
                      <a:pt x="10315" y="14697"/>
                    </a:lnTo>
                    <a:lnTo>
                      <a:pt x="10311" y="14712"/>
                    </a:lnTo>
                    <a:lnTo>
                      <a:pt x="10309" y="14728"/>
                    </a:lnTo>
                    <a:lnTo>
                      <a:pt x="10308" y="14745"/>
                    </a:lnTo>
                    <a:lnTo>
                      <a:pt x="10309" y="14761"/>
                    </a:lnTo>
                    <a:lnTo>
                      <a:pt x="10311" y="14776"/>
                    </a:lnTo>
                    <a:lnTo>
                      <a:pt x="10315" y="14792"/>
                    </a:lnTo>
                    <a:lnTo>
                      <a:pt x="10320" y="14807"/>
                    </a:lnTo>
                    <a:lnTo>
                      <a:pt x="10327" y="14820"/>
                    </a:lnTo>
                    <a:lnTo>
                      <a:pt x="10336" y="14833"/>
                    </a:lnTo>
                    <a:lnTo>
                      <a:pt x="10345" y="14846"/>
                    </a:lnTo>
                    <a:lnTo>
                      <a:pt x="10355" y="14858"/>
                    </a:lnTo>
                    <a:lnTo>
                      <a:pt x="10366" y="14868"/>
                    </a:lnTo>
                    <a:lnTo>
                      <a:pt x="10378" y="14877"/>
                    </a:lnTo>
                    <a:lnTo>
                      <a:pt x="10391" y="14885"/>
                    </a:lnTo>
                    <a:lnTo>
                      <a:pt x="10405" y="14891"/>
                    </a:lnTo>
                    <a:lnTo>
                      <a:pt x="10420" y="14896"/>
                    </a:lnTo>
                    <a:lnTo>
                      <a:pt x="10435" y="14901"/>
                    </a:lnTo>
                    <a:lnTo>
                      <a:pt x="10450" y="14904"/>
                    </a:lnTo>
                    <a:lnTo>
                      <a:pt x="10467" y="14904"/>
                    </a:lnTo>
                    <a:lnTo>
                      <a:pt x="10483" y="14904"/>
                    </a:lnTo>
                    <a:lnTo>
                      <a:pt x="10499" y="14901"/>
                    </a:lnTo>
                    <a:lnTo>
                      <a:pt x="10514" y="14896"/>
                    </a:lnTo>
                    <a:lnTo>
                      <a:pt x="10529" y="14891"/>
                    </a:lnTo>
                    <a:lnTo>
                      <a:pt x="10543" y="14885"/>
                    </a:lnTo>
                    <a:lnTo>
                      <a:pt x="10556" y="14877"/>
                    </a:lnTo>
                    <a:lnTo>
                      <a:pt x="10568" y="14868"/>
                    </a:lnTo>
                    <a:lnTo>
                      <a:pt x="10580" y="14858"/>
                    </a:lnTo>
                    <a:lnTo>
                      <a:pt x="10590" y="14846"/>
                    </a:lnTo>
                    <a:lnTo>
                      <a:pt x="10599" y="14833"/>
                    </a:lnTo>
                    <a:lnTo>
                      <a:pt x="10607" y="14820"/>
                    </a:lnTo>
                    <a:lnTo>
                      <a:pt x="10614" y="14807"/>
                    </a:lnTo>
                    <a:lnTo>
                      <a:pt x="10619" y="14792"/>
                    </a:lnTo>
                    <a:lnTo>
                      <a:pt x="10623" y="14776"/>
                    </a:lnTo>
                    <a:lnTo>
                      <a:pt x="10625" y="14761"/>
                    </a:lnTo>
                    <a:lnTo>
                      <a:pt x="10626" y="14745"/>
                    </a:lnTo>
                    <a:lnTo>
                      <a:pt x="10625" y="14728"/>
                    </a:lnTo>
                    <a:lnTo>
                      <a:pt x="10623" y="14712"/>
                    </a:lnTo>
                    <a:lnTo>
                      <a:pt x="10619" y="14697"/>
                    </a:lnTo>
                    <a:lnTo>
                      <a:pt x="10614" y="14683"/>
                    </a:lnTo>
                    <a:lnTo>
                      <a:pt x="10607" y="14668"/>
                    </a:lnTo>
                    <a:lnTo>
                      <a:pt x="10599" y="14655"/>
                    </a:lnTo>
                    <a:lnTo>
                      <a:pt x="10590" y="14643"/>
                    </a:lnTo>
                    <a:lnTo>
                      <a:pt x="10580" y="14632"/>
                    </a:lnTo>
                    <a:close/>
                    <a:moveTo>
                      <a:pt x="10467" y="14167"/>
                    </a:moveTo>
                    <a:lnTo>
                      <a:pt x="10497" y="14168"/>
                    </a:lnTo>
                    <a:lnTo>
                      <a:pt x="10526" y="14170"/>
                    </a:lnTo>
                    <a:lnTo>
                      <a:pt x="10555" y="14173"/>
                    </a:lnTo>
                    <a:lnTo>
                      <a:pt x="10584" y="14178"/>
                    </a:lnTo>
                    <a:lnTo>
                      <a:pt x="10611" y="14186"/>
                    </a:lnTo>
                    <a:lnTo>
                      <a:pt x="10638" y="14193"/>
                    </a:lnTo>
                    <a:lnTo>
                      <a:pt x="10665" y="14202"/>
                    </a:lnTo>
                    <a:lnTo>
                      <a:pt x="10691" y="14212"/>
                    </a:lnTo>
                    <a:lnTo>
                      <a:pt x="10717" y="14224"/>
                    </a:lnTo>
                    <a:lnTo>
                      <a:pt x="10742" y="14236"/>
                    </a:lnTo>
                    <a:lnTo>
                      <a:pt x="10766" y="14251"/>
                    </a:lnTo>
                    <a:lnTo>
                      <a:pt x="10789" y="14266"/>
                    </a:lnTo>
                    <a:lnTo>
                      <a:pt x="10812" y="14281"/>
                    </a:lnTo>
                    <a:lnTo>
                      <a:pt x="10834" y="14299"/>
                    </a:lnTo>
                    <a:lnTo>
                      <a:pt x="10855" y="14317"/>
                    </a:lnTo>
                    <a:lnTo>
                      <a:pt x="10874" y="14336"/>
                    </a:lnTo>
                    <a:lnTo>
                      <a:pt x="10890" y="14352"/>
                    </a:lnTo>
                    <a:lnTo>
                      <a:pt x="10904" y="14367"/>
                    </a:lnTo>
                    <a:lnTo>
                      <a:pt x="10917" y="14383"/>
                    </a:lnTo>
                    <a:lnTo>
                      <a:pt x="10930" y="14400"/>
                    </a:lnTo>
                    <a:lnTo>
                      <a:pt x="10942" y="14418"/>
                    </a:lnTo>
                    <a:lnTo>
                      <a:pt x="10955" y="14436"/>
                    </a:lnTo>
                    <a:lnTo>
                      <a:pt x="10966" y="14454"/>
                    </a:lnTo>
                    <a:lnTo>
                      <a:pt x="10976" y="14473"/>
                    </a:lnTo>
                    <a:lnTo>
                      <a:pt x="11000" y="14468"/>
                    </a:lnTo>
                    <a:lnTo>
                      <a:pt x="11026" y="14463"/>
                    </a:lnTo>
                    <a:lnTo>
                      <a:pt x="11050" y="14456"/>
                    </a:lnTo>
                    <a:lnTo>
                      <a:pt x="11076" y="14451"/>
                    </a:lnTo>
                    <a:lnTo>
                      <a:pt x="11064" y="14399"/>
                    </a:lnTo>
                    <a:lnTo>
                      <a:pt x="11053" y="14347"/>
                    </a:lnTo>
                    <a:lnTo>
                      <a:pt x="11042" y="14295"/>
                    </a:lnTo>
                    <a:lnTo>
                      <a:pt x="11032" y="14242"/>
                    </a:lnTo>
                    <a:lnTo>
                      <a:pt x="11022" y="14189"/>
                    </a:lnTo>
                    <a:lnTo>
                      <a:pt x="11013" y="14135"/>
                    </a:lnTo>
                    <a:lnTo>
                      <a:pt x="11002" y="14080"/>
                    </a:lnTo>
                    <a:lnTo>
                      <a:pt x="10994" y="14025"/>
                    </a:lnTo>
                    <a:lnTo>
                      <a:pt x="10985" y="13970"/>
                    </a:lnTo>
                    <a:lnTo>
                      <a:pt x="10977" y="13914"/>
                    </a:lnTo>
                    <a:lnTo>
                      <a:pt x="10969" y="13858"/>
                    </a:lnTo>
                    <a:lnTo>
                      <a:pt x="10962" y="13801"/>
                    </a:lnTo>
                    <a:lnTo>
                      <a:pt x="10955" y="13743"/>
                    </a:lnTo>
                    <a:lnTo>
                      <a:pt x="10948" y="13685"/>
                    </a:lnTo>
                    <a:lnTo>
                      <a:pt x="10941" y="13627"/>
                    </a:lnTo>
                    <a:lnTo>
                      <a:pt x="10935" y="13569"/>
                    </a:lnTo>
                    <a:lnTo>
                      <a:pt x="10841" y="13501"/>
                    </a:lnTo>
                    <a:lnTo>
                      <a:pt x="10749" y="13432"/>
                    </a:lnTo>
                    <a:lnTo>
                      <a:pt x="10659" y="13363"/>
                    </a:lnTo>
                    <a:lnTo>
                      <a:pt x="10571" y="13292"/>
                    </a:lnTo>
                    <a:lnTo>
                      <a:pt x="10486" y="13222"/>
                    </a:lnTo>
                    <a:lnTo>
                      <a:pt x="10403" y="13152"/>
                    </a:lnTo>
                    <a:lnTo>
                      <a:pt x="10322" y="13080"/>
                    </a:lnTo>
                    <a:lnTo>
                      <a:pt x="10244" y="13010"/>
                    </a:lnTo>
                    <a:lnTo>
                      <a:pt x="10218" y="13039"/>
                    </a:lnTo>
                    <a:lnTo>
                      <a:pt x="10191" y="13067"/>
                    </a:lnTo>
                    <a:lnTo>
                      <a:pt x="10166" y="13096"/>
                    </a:lnTo>
                    <a:lnTo>
                      <a:pt x="10141" y="13125"/>
                    </a:lnTo>
                    <a:lnTo>
                      <a:pt x="10117" y="13154"/>
                    </a:lnTo>
                    <a:lnTo>
                      <a:pt x="10093" y="13182"/>
                    </a:lnTo>
                    <a:lnTo>
                      <a:pt x="10069" y="13210"/>
                    </a:lnTo>
                    <a:lnTo>
                      <a:pt x="10046" y="13238"/>
                    </a:lnTo>
                    <a:lnTo>
                      <a:pt x="10013" y="13280"/>
                    </a:lnTo>
                    <a:lnTo>
                      <a:pt x="9982" y="13321"/>
                    </a:lnTo>
                    <a:lnTo>
                      <a:pt x="9952" y="13362"/>
                    </a:lnTo>
                    <a:lnTo>
                      <a:pt x="9923" y="13401"/>
                    </a:lnTo>
                    <a:lnTo>
                      <a:pt x="9895" y="13441"/>
                    </a:lnTo>
                    <a:lnTo>
                      <a:pt x="9869" y="13481"/>
                    </a:lnTo>
                    <a:lnTo>
                      <a:pt x="9843" y="13519"/>
                    </a:lnTo>
                    <a:lnTo>
                      <a:pt x="9820" y="13558"/>
                    </a:lnTo>
                    <a:lnTo>
                      <a:pt x="9797" y="13597"/>
                    </a:lnTo>
                    <a:lnTo>
                      <a:pt x="9775" y="13634"/>
                    </a:lnTo>
                    <a:lnTo>
                      <a:pt x="9756" y="13671"/>
                    </a:lnTo>
                    <a:lnTo>
                      <a:pt x="9737" y="13708"/>
                    </a:lnTo>
                    <a:lnTo>
                      <a:pt x="9719" y="13743"/>
                    </a:lnTo>
                    <a:lnTo>
                      <a:pt x="9704" y="13779"/>
                    </a:lnTo>
                    <a:lnTo>
                      <a:pt x="9690" y="13815"/>
                    </a:lnTo>
                    <a:lnTo>
                      <a:pt x="9677" y="13848"/>
                    </a:lnTo>
                    <a:lnTo>
                      <a:pt x="9665" y="13882"/>
                    </a:lnTo>
                    <a:lnTo>
                      <a:pt x="9654" y="13916"/>
                    </a:lnTo>
                    <a:lnTo>
                      <a:pt x="9646" y="13948"/>
                    </a:lnTo>
                    <a:lnTo>
                      <a:pt x="9639" y="13980"/>
                    </a:lnTo>
                    <a:lnTo>
                      <a:pt x="9633" y="14010"/>
                    </a:lnTo>
                    <a:lnTo>
                      <a:pt x="9629" y="14041"/>
                    </a:lnTo>
                    <a:lnTo>
                      <a:pt x="9626" y="14070"/>
                    </a:lnTo>
                    <a:lnTo>
                      <a:pt x="9625" y="14100"/>
                    </a:lnTo>
                    <a:lnTo>
                      <a:pt x="9625" y="14127"/>
                    </a:lnTo>
                    <a:lnTo>
                      <a:pt x="9627" y="14155"/>
                    </a:lnTo>
                    <a:lnTo>
                      <a:pt x="9630" y="14181"/>
                    </a:lnTo>
                    <a:lnTo>
                      <a:pt x="9635" y="14207"/>
                    </a:lnTo>
                    <a:lnTo>
                      <a:pt x="9642" y="14232"/>
                    </a:lnTo>
                    <a:lnTo>
                      <a:pt x="9650" y="14256"/>
                    </a:lnTo>
                    <a:lnTo>
                      <a:pt x="9660" y="14279"/>
                    </a:lnTo>
                    <a:lnTo>
                      <a:pt x="9672" y="14302"/>
                    </a:lnTo>
                    <a:lnTo>
                      <a:pt x="9673" y="14301"/>
                    </a:lnTo>
                    <a:lnTo>
                      <a:pt x="9683" y="14318"/>
                    </a:lnTo>
                    <a:lnTo>
                      <a:pt x="9694" y="14333"/>
                    </a:lnTo>
                    <a:lnTo>
                      <a:pt x="9706" y="14348"/>
                    </a:lnTo>
                    <a:lnTo>
                      <a:pt x="9719" y="14364"/>
                    </a:lnTo>
                    <a:lnTo>
                      <a:pt x="9733" y="14378"/>
                    </a:lnTo>
                    <a:lnTo>
                      <a:pt x="9748" y="14391"/>
                    </a:lnTo>
                    <a:lnTo>
                      <a:pt x="9764" y="14405"/>
                    </a:lnTo>
                    <a:lnTo>
                      <a:pt x="9780" y="14417"/>
                    </a:lnTo>
                    <a:lnTo>
                      <a:pt x="9799" y="14429"/>
                    </a:lnTo>
                    <a:lnTo>
                      <a:pt x="9817" y="14440"/>
                    </a:lnTo>
                    <a:lnTo>
                      <a:pt x="9836" y="14450"/>
                    </a:lnTo>
                    <a:lnTo>
                      <a:pt x="9857" y="14461"/>
                    </a:lnTo>
                    <a:lnTo>
                      <a:pt x="9878" y="14471"/>
                    </a:lnTo>
                    <a:lnTo>
                      <a:pt x="9900" y="14479"/>
                    </a:lnTo>
                    <a:lnTo>
                      <a:pt x="9923" y="14488"/>
                    </a:lnTo>
                    <a:lnTo>
                      <a:pt x="9947" y="14495"/>
                    </a:lnTo>
                    <a:lnTo>
                      <a:pt x="9958" y="14474"/>
                    </a:lnTo>
                    <a:lnTo>
                      <a:pt x="9971" y="14452"/>
                    </a:lnTo>
                    <a:lnTo>
                      <a:pt x="9983" y="14431"/>
                    </a:lnTo>
                    <a:lnTo>
                      <a:pt x="9997" y="14411"/>
                    </a:lnTo>
                    <a:lnTo>
                      <a:pt x="10011" y="14391"/>
                    </a:lnTo>
                    <a:lnTo>
                      <a:pt x="10026" y="14372"/>
                    </a:lnTo>
                    <a:lnTo>
                      <a:pt x="10043" y="14354"/>
                    </a:lnTo>
                    <a:lnTo>
                      <a:pt x="10060" y="14336"/>
                    </a:lnTo>
                    <a:lnTo>
                      <a:pt x="10079" y="14317"/>
                    </a:lnTo>
                    <a:lnTo>
                      <a:pt x="10101" y="14299"/>
                    </a:lnTo>
                    <a:lnTo>
                      <a:pt x="10122" y="14281"/>
                    </a:lnTo>
                    <a:lnTo>
                      <a:pt x="10144" y="14266"/>
                    </a:lnTo>
                    <a:lnTo>
                      <a:pt x="10168" y="14251"/>
                    </a:lnTo>
                    <a:lnTo>
                      <a:pt x="10192" y="14236"/>
                    </a:lnTo>
                    <a:lnTo>
                      <a:pt x="10218" y="14224"/>
                    </a:lnTo>
                    <a:lnTo>
                      <a:pt x="10243" y="14212"/>
                    </a:lnTo>
                    <a:lnTo>
                      <a:pt x="10269" y="14202"/>
                    </a:lnTo>
                    <a:lnTo>
                      <a:pt x="10296" y="14193"/>
                    </a:lnTo>
                    <a:lnTo>
                      <a:pt x="10323" y="14186"/>
                    </a:lnTo>
                    <a:lnTo>
                      <a:pt x="10351" y="14178"/>
                    </a:lnTo>
                    <a:lnTo>
                      <a:pt x="10379" y="14173"/>
                    </a:lnTo>
                    <a:lnTo>
                      <a:pt x="10409" y="14170"/>
                    </a:lnTo>
                    <a:lnTo>
                      <a:pt x="10437" y="14168"/>
                    </a:lnTo>
                    <a:lnTo>
                      <a:pt x="10467" y="14167"/>
                    </a:lnTo>
                    <a:close/>
                    <a:moveTo>
                      <a:pt x="13202" y="10560"/>
                    </a:moveTo>
                    <a:lnTo>
                      <a:pt x="13183" y="10561"/>
                    </a:lnTo>
                    <a:lnTo>
                      <a:pt x="13154" y="10560"/>
                    </a:lnTo>
                    <a:lnTo>
                      <a:pt x="13124" y="10558"/>
                    </a:lnTo>
                    <a:lnTo>
                      <a:pt x="13096" y="10554"/>
                    </a:lnTo>
                    <a:lnTo>
                      <a:pt x="13067" y="10549"/>
                    </a:lnTo>
                    <a:lnTo>
                      <a:pt x="13039" y="10543"/>
                    </a:lnTo>
                    <a:lnTo>
                      <a:pt x="13011" y="10535"/>
                    </a:lnTo>
                    <a:lnTo>
                      <a:pt x="12985" y="10526"/>
                    </a:lnTo>
                    <a:lnTo>
                      <a:pt x="12959" y="10516"/>
                    </a:lnTo>
                    <a:lnTo>
                      <a:pt x="12933" y="10504"/>
                    </a:lnTo>
                    <a:lnTo>
                      <a:pt x="12909" y="10491"/>
                    </a:lnTo>
                    <a:lnTo>
                      <a:pt x="12884" y="10478"/>
                    </a:lnTo>
                    <a:lnTo>
                      <a:pt x="12861" y="10463"/>
                    </a:lnTo>
                    <a:lnTo>
                      <a:pt x="12839" y="10446"/>
                    </a:lnTo>
                    <a:lnTo>
                      <a:pt x="12816" y="10429"/>
                    </a:lnTo>
                    <a:lnTo>
                      <a:pt x="12796" y="10412"/>
                    </a:lnTo>
                    <a:lnTo>
                      <a:pt x="12776" y="10392"/>
                    </a:lnTo>
                    <a:lnTo>
                      <a:pt x="12756" y="10372"/>
                    </a:lnTo>
                    <a:lnTo>
                      <a:pt x="12738" y="10351"/>
                    </a:lnTo>
                    <a:lnTo>
                      <a:pt x="12722" y="10329"/>
                    </a:lnTo>
                    <a:lnTo>
                      <a:pt x="12705" y="10307"/>
                    </a:lnTo>
                    <a:lnTo>
                      <a:pt x="12690" y="10283"/>
                    </a:lnTo>
                    <a:lnTo>
                      <a:pt x="12676" y="10259"/>
                    </a:lnTo>
                    <a:lnTo>
                      <a:pt x="12664" y="10235"/>
                    </a:lnTo>
                    <a:lnTo>
                      <a:pt x="12653" y="10208"/>
                    </a:lnTo>
                    <a:lnTo>
                      <a:pt x="12641" y="10183"/>
                    </a:lnTo>
                    <a:lnTo>
                      <a:pt x="12632" y="10155"/>
                    </a:lnTo>
                    <a:lnTo>
                      <a:pt x="12625" y="10129"/>
                    </a:lnTo>
                    <a:lnTo>
                      <a:pt x="12618" y="10100"/>
                    </a:lnTo>
                    <a:lnTo>
                      <a:pt x="12614" y="10072"/>
                    </a:lnTo>
                    <a:lnTo>
                      <a:pt x="12610" y="10043"/>
                    </a:lnTo>
                    <a:lnTo>
                      <a:pt x="12608" y="10013"/>
                    </a:lnTo>
                    <a:lnTo>
                      <a:pt x="12607" y="9984"/>
                    </a:lnTo>
                    <a:lnTo>
                      <a:pt x="12607" y="9963"/>
                    </a:lnTo>
                    <a:lnTo>
                      <a:pt x="12609" y="9941"/>
                    </a:lnTo>
                    <a:lnTo>
                      <a:pt x="12610" y="9920"/>
                    </a:lnTo>
                    <a:lnTo>
                      <a:pt x="12613" y="9898"/>
                    </a:lnTo>
                    <a:lnTo>
                      <a:pt x="12617" y="9878"/>
                    </a:lnTo>
                    <a:lnTo>
                      <a:pt x="12621" y="9858"/>
                    </a:lnTo>
                    <a:lnTo>
                      <a:pt x="12625" y="9837"/>
                    </a:lnTo>
                    <a:lnTo>
                      <a:pt x="12631" y="9817"/>
                    </a:lnTo>
                    <a:lnTo>
                      <a:pt x="12637" y="9798"/>
                    </a:lnTo>
                    <a:lnTo>
                      <a:pt x="12644" y="9778"/>
                    </a:lnTo>
                    <a:lnTo>
                      <a:pt x="12651" y="9760"/>
                    </a:lnTo>
                    <a:lnTo>
                      <a:pt x="12660" y="9741"/>
                    </a:lnTo>
                    <a:lnTo>
                      <a:pt x="12669" y="9722"/>
                    </a:lnTo>
                    <a:lnTo>
                      <a:pt x="12678" y="9705"/>
                    </a:lnTo>
                    <a:lnTo>
                      <a:pt x="12688" y="9688"/>
                    </a:lnTo>
                    <a:lnTo>
                      <a:pt x="12699" y="9670"/>
                    </a:lnTo>
                    <a:lnTo>
                      <a:pt x="12682" y="9655"/>
                    </a:lnTo>
                    <a:lnTo>
                      <a:pt x="12664" y="9642"/>
                    </a:lnTo>
                    <a:lnTo>
                      <a:pt x="12646" y="9628"/>
                    </a:lnTo>
                    <a:lnTo>
                      <a:pt x="12628" y="9616"/>
                    </a:lnTo>
                    <a:lnTo>
                      <a:pt x="12611" y="9605"/>
                    </a:lnTo>
                    <a:lnTo>
                      <a:pt x="12593" y="9595"/>
                    </a:lnTo>
                    <a:lnTo>
                      <a:pt x="12575" y="9586"/>
                    </a:lnTo>
                    <a:lnTo>
                      <a:pt x="12557" y="9578"/>
                    </a:lnTo>
                    <a:lnTo>
                      <a:pt x="12539" y="9569"/>
                    </a:lnTo>
                    <a:lnTo>
                      <a:pt x="12521" y="9563"/>
                    </a:lnTo>
                    <a:lnTo>
                      <a:pt x="12503" y="9558"/>
                    </a:lnTo>
                    <a:lnTo>
                      <a:pt x="12485" y="9553"/>
                    </a:lnTo>
                    <a:lnTo>
                      <a:pt x="12466" y="9550"/>
                    </a:lnTo>
                    <a:lnTo>
                      <a:pt x="12448" y="9547"/>
                    </a:lnTo>
                    <a:lnTo>
                      <a:pt x="12430" y="9546"/>
                    </a:lnTo>
                    <a:lnTo>
                      <a:pt x="12412" y="9545"/>
                    </a:lnTo>
                    <a:lnTo>
                      <a:pt x="12387" y="9546"/>
                    </a:lnTo>
                    <a:lnTo>
                      <a:pt x="12362" y="9549"/>
                    </a:lnTo>
                    <a:lnTo>
                      <a:pt x="12337" y="9554"/>
                    </a:lnTo>
                    <a:lnTo>
                      <a:pt x="12312" y="9560"/>
                    </a:lnTo>
                    <a:lnTo>
                      <a:pt x="12288" y="9568"/>
                    </a:lnTo>
                    <a:lnTo>
                      <a:pt x="12262" y="9579"/>
                    </a:lnTo>
                    <a:lnTo>
                      <a:pt x="12238" y="9591"/>
                    </a:lnTo>
                    <a:lnTo>
                      <a:pt x="12213" y="9604"/>
                    </a:lnTo>
                    <a:lnTo>
                      <a:pt x="12189" y="9620"/>
                    </a:lnTo>
                    <a:lnTo>
                      <a:pt x="12165" y="9637"/>
                    </a:lnTo>
                    <a:lnTo>
                      <a:pt x="12141" y="9656"/>
                    </a:lnTo>
                    <a:lnTo>
                      <a:pt x="12117" y="9676"/>
                    </a:lnTo>
                    <a:lnTo>
                      <a:pt x="12093" y="9699"/>
                    </a:lnTo>
                    <a:lnTo>
                      <a:pt x="12069" y="9722"/>
                    </a:lnTo>
                    <a:lnTo>
                      <a:pt x="12046" y="9748"/>
                    </a:lnTo>
                    <a:lnTo>
                      <a:pt x="12022" y="9774"/>
                    </a:lnTo>
                    <a:lnTo>
                      <a:pt x="11999" y="9803"/>
                    </a:lnTo>
                    <a:lnTo>
                      <a:pt x="11976" y="9833"/>
                    </a:lnTo>
                    <a:lnTo>
                      <a:pt x="11953" y="9865"/>
                    </a:lnTo>
                    <a:lnTo>
                      <a:pt x="11931" y="9897"/>
                    </a:lnTo>
                    <a:lnTo>
                      <a:pt x="11908" y="9932"/>
                    </a:lnTo>
                    <a:lnTo>
                      <a:pt x="11886" y="9968"/>
                    </a:lnTo>
                    <a:lnTo>
                      <a:pt x="11865" y="10005"/>
                    </a:lnTo>
                    <a:lnTo>
                      <a:pt x="11843" y="10044"/>
                    </a:lnTo>
                    <a:lnTo>
                      <a:pt x="11822" y="10084"/>
                    </a:lnTo>
                    <a:lnTo>
                      <a:pt x="11801" y="10126"/>
                    </a:lnTo>
                    <a:lnTo>
                      <a:pt x="11779" y="10167"/>
                    </a:lnTo>
                    <a:lnTo>
                      <a:pt x="11759" y="10212"/>
                    </a:lnTo>
                    <a:lnTo>
                      <a:pt x="11739" y="10257"/>
                    </a:lnTo>
                    <a:lnTo>
                      <a:pt x="11718" y="10304"/>
                    </a:lnTo>
                    <a:lnTo>
                      <a:pt x="11699" y="10351"/>
                    </a:lnTo>
                    <a:lnTo>
                      <a:pt x="11680" y="10400"/>
                    </a:lnTo>
                    <a:lnTo>
                      <a:pt x="11666" y="10434"/>
                    </a:lnTo>
                    <a:lnTo>
                      <a:pt x="11654" y="10469"/>
                    </a:lnTo>
                    <a:lnTo>
                      <a:pt x="11641" y="10503"/>
                    </a:lnTo>
                    <a:lnTo>
                      <a:pt x="11629" y="10539"/>
                    </a:lnTo>
                    <a:lnTo>
                      <a:pt x="11617" y="10575"/>
                    </a:lnTo>
                    <a:lnTo>
                      <a:pt x="11604" y="10611"/>
                    </a:lnTo>
                    <a:lnTo>
                      <a:pt x="11593" y="10648"/>
                    </a:lnTo>
                    <a:lnTo>
                      <a:pt x="11581" y="10686"/>
                    </a:lnTo>
                    <a:lnTo>
                      <a:pt x="11632" y="10702"/>
                    </a:lnTo>
                    <a:lnTo>
                      <a:pt x="11682" y="10718"/>
                    </a:lnTo>
                    <a:lnTo>
                      <a:pt x="11732" y="10736"/>
                    </a:lnTo>
                    <a:lnTo>
                      <a:pt x="11784" y="10753"/>
                    </a:lnTo>
                    <a:lnTo>
                      <a:pt x="11835" y="10771"/>
                    </a:lnTo>
                    <a:lnTo>
                      <a:pt x="11887" y="10791"/>
                    </a:lnTo>
                    <a:lnTo>
                      <a:pt x="11939" y="10810"/>
                    </a:lnTo>
                    <a:lnTo>
                      <a:pt x="11991" y="10829"/>
                    </a:lnTo>
                    <a:lnTo>
                      <a:pt x="12044" y="10850"/>
                    </a:lnTo>
                    <a:lnTo>
                      <a:pt x="12096" y="10871"/>
                    </a:lnTo>
                    <a:lnTo>
                      <a:pt x="12148" y="10893"/>
                    </a:lnTo>
                    <a:lnTo>
                      <a:pt x="12202" y="10915"/>
                    </a:lnTo>
                    <a:lnTo>
                      <a:pt x="12255" y="10937"/>
                    </a:lnTo>
                    <a:lnTo>
                      <a:pt x="12308" y="10961"/>
                    </a:lnTo>
                    <a:lnTo>
                      <a:pt x="12362" y="10984"/>
                    </a:lnTo>
                    <a:lnTo>
                      <a:pt x="12416" y="11009"/>
                    </a:lnTo>
                    <a:lnTo>
                      <a:pt x="12468" y="10984"/>
                    </a:lnTo>
                    <a:lnTo>
                      <a:pt x="12521" y="10961"/>
                    </a:lnTo>
                    <a:lnTo>
                      <a:pt x="12574" y="10938"/>
                    </a:lnTo>
                    <a:lnTo>
                      <a:pt x="12627" y="10916"/>
                    </a:lnTo>
                    <a:lnTo>
                      <a:pt x="12680" y="10894"/>
                    </a:lnTo>
                    <a:lnTo>
                      <a:pt x="12732" y="10873"/>
                    </a:lnTo>
                    <a:lnTo>
                      <a:pt x="12785" y="10852"/>
                    </a:lnTo>
                    <a:lnTo>
                      <a:pt x="12837" y="10831"/>
                    </a:lnTo>
                    <a:lnTo>
                      <a:pt x="12888" y="10812"/>
                    </a:lnTo>
                    <a:lnTo>
                      <a:pt x="12939" y="10793"/>
                    </a:lnTo>
                    <a:lnTo>
                      <a:pt x="12991" y="10774"/>
                    </a:lnTo>
                    <a:lnTo>
                      <a:pt x="13042" y="10756"/>
                    </a:lnTo>
                    <a:lnTo>
                      <a:pt x="13093" y="10739"/>
                    </a:lnTo>
                    <a:lnTo>
                      <a:pt x="13144" y="10722"/>
                    </a:lnTo>
                    <a:lnTo>
                      <a:pt x="13193" y="10706"/>
                    </a:lnTo>
                    <a:lnTo>
                      <a:pt x="13243" y="10690"/>
                    </a:lnTo>
                    <a:lnTo>
                      <a:pt x="13233" y="10657"/>
                    </a:lnTo>
                    <a:lnTo>
                      <a:pt x="13223" y="10625"/>
                    </a:lnTo>
                    <a:lnTo>
                      <a:pt x="13213" y="10593"/>
                    </a:lnTo>
                    <a:lnTo>
                      <a:pt x="13202" y="10560"/>
                    </a:lnTo>
                    <a:close/>
                    <a:moveTo>
                      <a:pt x="14579" y="13010"/>
                    </a:moveTo>
                    <a:lnTo>
                      <a:pt x="14501" y="13081"/>
                    </a:lnTo>
                    <a:lnTo>
                      <a:pt x="14421" y="13152"/>
                    </a:lnTo>
                    <a:lnTo>
                      <a:pt x="14337" y="13223"/>
                    </a:lnTo>
                    <a:lnTo>
                      <a:pt x="14252" y="13293"/>
                    </a:lnTo>
                    <a:lnTo>
                      <a:pt x="14164" y="13363"/>
                    </a:lnTo>
                    <a:lnTo>
                      <a:pt x="14075" y="13433"/>
                    </a:lnTo>
                    <a:lnTo>
                      <a:pt x="13982" y="13502"/>
                    </a:lnTo>
                    <a:lnTo>
                      <a:pt x="13888" y="13570"/>
                    </a:lnTo>
                    <a:lnTo>
                      <a:pt x="13882" y="13628"/>
                    </a:lnTo>
                    <a:lnTo>
                      <a:pt x="13876" y="13685"/>
                    </a:lnTo>
                    <a:lnTo>
                      <a:pt x="13869" y="13743"/>
                    </a:lnTo>
                    <a:lnTo>
                      <a:pt x="13862" y="13799"/>
                    </a:lnTo>
                    <a:lnTo>
                      <a:pt x="13854" y="13857"/>
                    </a:lnTo>
                    <a:lnTo>
                      <a:pt x="13847" y="13913"/>
                    </a:lnTo>
                    <a:lnTo>
                      <a:pt x="13838" y="13968"/>
                    </a:lnTo>
                    <a:lnTo>
                      <a:pt x="13830" y="14023"/>
                    </a:lnTo>
                    <a:lnTo>
                      <a:pt x="13821" y="14078"/>
                    </a:lnTo>
                    <a:lnTo>
                      <a:pt x="13812" y="14132"/>
                    </a:lnTo>
                    <a:lnTo>
                      <a:pt x="13802" y="14186"/>
                    </a:lnTo>
                    <a:lnTo>
                      <a:pt x="13792" y="14238"/>
                    </a:lnTo>
                    <a:lnTo>
                      <a:pt x="13782" y="14291"/>
                    </a:lnTo>
                    <a:lnTo>
                      <a:pt x="13771" y="14343"/>
                    </a:lnTo>
                    <a:lnTo>
                      <a:pt x="13761" y="14395"/>
                    </a:lnTo>
                    <a:lnTo>
                      <a:pt x="13748" y="14446"/>
                    </a:lnTo>
                    <a:lnTo>
                      <a:pt x="13786" y="14454"/>
                    </a:lnTo>
                    <a:lnTo>
                      <a:pt x="13823" y="14463"/>
                    </a:lnTo>
                    <a:lnTo>
                      <a:pt x="13859" y="14470"/>
                    </a:lnTo>
                    <a:lnTo>
                      <a:pt x="13896" y="14477"/>
                    </a:lnTo>
                    <a:lnTo>
                      <a:pt x="13931" y="14484"/>
                    </a:lnTo>
                    <a:lnTo>
                      <a:pt x="13967" y="14490"/>
                    </a:lnTo>
                    <a:lnTo>
                      <a:pt x="14003" y="14496"/>
                    </a:lnTo>
                    <a:lnTo>
                      <a:pt x="14037" y="14502"/>
                    </a:lnTo>
                    <a:lnTo>
                      <a:pt x="14090" y="14509"/>
                    </a:lnTo>
                    <a:lnTo>
                      <a:pt x="14141" y="14517"/>
                    </a:lnTo>
                    <a:lnTo>
                      <a:pt x="14191" y="14523"/>
                    </a:lnTo>
                    <a:lnTo>
                      <a:pt x="14241" y="14528"/>
                    </a:lnTo>
                    <a:lnTo>
                      <a:pt x="14288" y="14532"/>
                    </a:lnTo>
                    <a:lnTo>
                      <a:pt x="14336" y="14535"/>
                    </a:lnTo>
                    <a:lnTo>
                      <a:pt x="14382" y="14537"/>
                    </a:lnTo>
                    <a:lnTo>
                      <a:pt x="14428" y="14539"/>
                    </a:lnTo>
                    <a:lnTo>
                      <a:pt x="14471" y="14539"/>
                    </a:lnTo>
                    <a:lnTo>
                      <a:pt x="14515" y="14539"/>
                    </a:lnTo>
                    <a:lnTo>
                      <a:pt x="14557" y="14538"/>
                    </a:lnTo>
                    <a:lnTo>
                      <a:pt x="14597" y="14536"/>
                    </a:lnTo>
                    <a:lnTo>
                      <a:pt x="14637" y="14533"/>
                    </a:lnTo>
                    <a:lnTo>
                      <a:pt x="14676" y="14529"/>
                    </a:lnTo>
                    <a:lnTo>
                      <a:pt x="14713" y="14524"/>
                    </a:lnTo>
                    <a:lnTo>
                      <a:pt x="14750" y="14518"/>
                    </a:lnTo>
                    <a:lnTo>
                      <a:pt x="14784" y="14511"/>
                    </a:lnTo>
                    <a:lnTo>
                      <a:pt x="14818" y="14503"/>
                    </a:lnTo>
                    <a:lnTo>
                      <a:pt x="14851" y="14495"/>
                    </a:lnTo>
                    <a:lnTo>
                      <a:pt x="14882" y="14485"/>
                    </a:lnTo>
                    <a:lnTo>
                      <a:pt x="14912" y="14475"/>
                    </a:lnTo>
                    <a:lnTo>
                      <a:pt x="14940" y="14464"/>
                    </a:lnTo>
                    <a:lnTo>
                      <a:pt x="14966" y="14451"/>
                    </a:lnTo>
                    <a:lnTo>
                      <a:pt x="14993" y="14437"/>
                    </a:lnTo>
                    <a:lnTo>
                      <a:pt x="15016" y="14424"/>
                    </a:lnTo>
                    <a:lnTo>
                      <a:pt x="15040" y="14409"/>
                    </a:lnTo>
                    <a:lnTo>
                      <a:pt x="15061" y="14392"/>
                    </a:lnTo>
                    <a:lnTo>
                      <a:pt x="15080" y="14375"/>
                    </a:lnTo>
                    <a:lnTo>
                      <a:pt x="15099" y="14357"/>
                    </a:lnTo>
                    <a:lnTo>
                      <a:pt x="15115" y="14337"/>
                    </a:lnTo>
                    <a:lnTo>
                      <a:pt x="15130" y="14318"/>
                    </a:lnTo>
                    <a:lnTo>
                      <a:pt x="15143" y="14297"/>
                    </a:lnTo>
                    <a:lnTo>
                      <a:pt x="15144" y="14295"/>
                    </a:lnTo>
                    <a:lnTo>
                      <a:pt x="15156" y="14273"/>
                    </a:lnTo>
                    <a:lnTo>
                      <a:pt x="15166" y="14250"/>
                    </a:lnTo>
                    <a:lnTo>
                      <a:pt x="15174" y="14225"/>
                    </a:lnTo>
                    <a:lnTo>
                      <a:pt x="15181" y="14201"/>
                    </a:lnTo>
                    <a:lnTo>
                      <a:pt x="15186" y="14175"/>
                    </a:lnTo>
                    <a:lnTo>
                      <a:pt x="15189" y="14149"/>
                    </a:lnTo>
                    <a:lnTo>
                      <a:pt x="15191" y="14121"/>
                    </a:lnTo>
                    <a:lnTo>
                      <a:pt x="15192" y="14094"/>
                    </a:lnTo>
                    <a:lnTo>
                      <a:pt x="15191" y="14064"/>
                    </a:lnTo>
                    <a:lnTo>
                      <a:pt x="15188" y="14035"/>
                    </a:lnTo>
                    <a:lnTo>
                      <a:pt x="15184" y="14004"/>
                    </a:lnTo>
                    <a:lnTo>
                      <a:pt x="15178" y="13974"/>
                    </a:lnTo>
                    <a:lnTo>
                      <a:pt x="15171" y="13942"/>
                    </a:lnTo>
                    <a:lnTo>
                      <a:pt x="15162" y="13909"/>
                    </a:lnTo>
                    <a:lnTo>
                      <a:pt x="15151" y="13876"/>
                    </a:lnTo>
                    <a:lnTo>
                      <a:pt x="15140" y="13842"/>
                    </a:lnTo>
                    <a:lnTo>
                      <a:pt x="15127" y="13809"/>
                    </a:lnTo>
                    <a:lnTo>
                      <a:pt x="15113" y="13773"/>
                    </a:lnTo>
                    <a:lnTo>
                      <a:pt x="15097" y="13737"/>
                    </a:lnTo>
                    <a:lnTo>
                      <a:pt x="15079" y="13702"/>
                    </a:lnTo>
                    <a:lnTo>
                      <a:pt x="15061" y="13665"/>
                    </a:lnTo>
                    <a:lnTo>
                      <a:pt x="15041" y="13628"/>
                    </a:lnTo>
                    <a:lnTo>
                      <a:pt x="15019" y="13591"/>
                    </a:lnTo>
                    <a:lnTo>
                      <a:pt x="14997" y="13552"/>
                    </a:lnTo>
                    <a:lnTo>
                      <a:pt x="14974" y="13513"/>
                    </a:lnTo>
                    <a:lnTo>
                      <a:pt x="14948" y="13475"/>
                    </a:lnTo>
                    <a:lnTo>
                      <a:pt x="14922" y="13435"/>
                    </a:lnTo>
                    <a:lnTo>
                      <a:pt x="14893" y="13395"/>
                    </a:lnTo>
                    <a:lnTo>
                      <a:pt x="14865" y="13355"/>
                    </a:lnTo>
                    <a:lnTo>
                      <a:pt x="14834" y="13315"/>
                    </a:lnTo>
                    <a:lnTo>
                      <a:pt x="14803" y="13273"/>
                    </a:lnTo>
                    <a:lnTo>
                      <a:pt x="14770" y="13232"/>
                    </a:lnTo>
                    <a:lnTo>
                      <a:pt x="14748" y="13205"/>
                    </a:lnTo>
                    <a:lnTo>
                      <a:pt x="14726" y="13177"/>
                    </a:lnTo>
                    <a:lnTo>
                      <a:pt x="14702" y="13150"/>
                    </a:lnTo>
                    <a:lnTo>
                      <a:pt x="14679" y="13122"/>
                    </a:lnTo>
                    <a:lnTo>
                      <a:pt x="14654" y="13094"/>
                    </a:lnTo>
                    <a:lnTo>
                      <a:pt x="14630" y="13066"/>
                    </a:lnTo>
                    <a:lnTo>
                      <a:pt x="14605" y="13039"/>
                    </a:lnTo>
                    <a:lnTo>
                      <a:pt x="14579" y="13010"/>
                    </a:lnTo>
                    <a:close/>
                    <a:moveTo>
                      <a:pt x="10244" y="12423"/>
                    </a:moveTo>
                    <a:lnTo>
                      <a:pt x="10322" y="12353"/>
                    </a:lnTo>
                    <a:lnTo>
                      <a:pt x="10403" y="12282"/>
                    </a:lnTo>
                    <a:lnTo>
                      <a:pt x="10486" y="12212"/>
                    </a:lnTo>
                    <a:lnTo>
                      <a:pt x="10570" y="12141"/>
                    </a:lnTo>
                    <a:lnTo>
                      <a:pt x="10659" y="12071"/>
                    </a:lnTo>
                    <a:lnTo>
                      <a:pt x="10748" y="12002"/>
                    </a:lnTo>
                    <a:lnTo>
                      <a:pt x="10840" y="11932"/>
                    </a:lnTo>
                    <a:lnTo>
                      <a:pt x="10934" y="11863"/>
                    </a:lnTo>
                    <a:lnTo>
                      <a:pt x="10940" y="11805"/>
                    </a:lnTo>
                    <a:lnTo>
                      <a:pt x="10947" y="11747"/>
                    </a:lnTo>
                    <a:lnTo>
                      <a:pt x="10954" y="11689"/>
                    </a:lnTo>
                    <a:lnTo>
                      <a:pt x="10961" y="11632"/>
                    </a:lnTo>
                    <a:lnTo>
                      <a:pt x="10968" y="11575"/>
                    </a:lnTo>
                    <a:lnTo>
                      <a:pt x="10976" y="11519"/>
                    </a:lnTo>
                    <a:lnTo>
                      <a:pt x="10984" y="11462"/>
                    </a:lnTo>
                    <a:lnTo>
                      <a:pt x="10992" y="11407"/>
                    </a:lnTo>
                    <a:lnTo>
                      <a:pt x="11001" y="11352"/>
                    </a:lnTo>
                    <a:lnTo>
                      <a:pt x="11011" y="11297"/>
                    </a:lnTo>
                    <a:lnTo>
                      <a:pt x="11021" y="11243"/>
                    </a:lnTo>
                    <a:lnTo>
                      <a:pt x="11031" y="11189"/>
                    </a:lnTo>
                    <a:lnTo>
                      <a:pt x="11041" y="11136"/>
                    </a:lnTo>
                    <a:lnTo>
                      <a:pt x="11051" y="11083"/>
                    </a:lnTo>
                    <a:lnTo>
                      <a:pt x="11062" y="11031"/>
                    </a:lnTo>
                    <a:lnTo>
                      <a:pt x="11075" y="10979"/>
                    </a:lnTo>
                    <a:lnTo>
                      <a:pt x="11036" y="10971"/>
                    </a:lnTo>
                    <a:lnTo>
                      <a:pt x="10997" y="10962"/>
                    </a:lnTo>
                    <a:lnTo>
                      <a:pt x="10960" y="10955"/>
                    </a:lnTo>
                    <a:lnTo>
                      <a:pt x="10922" y="10946"/>
                    </a:lnTo>
                    <a:lnTo>
                      <a:pt x="10885" y="10939"/>
                    </a:lnTo>
                    <a:lnTo>
                      <a:pt x="10848" y="10933"/>
                    </a:lnTo>
                    <a:lnTo>
                      <a:pt x="10810" y="10927"/>
                    </a:lnTo>
                    <a:lnTo>
                      <a:pt x="10775" y="10921"/>
                    </a:lnTo>
                    <a:lnTo>
                      <a:pt x="10722" y="10913"/>
                    </a:lnTo>
                    <a:lnTo>
                      <a:pt x="10671" y="10907"/>
                    </a:lnTo>
                    <a:lnTo>
                      <a:pt x="10621" y="10901"/>
                    </a:lnTo>
                    <a:lnTo>
                      <a:pt x="10571" y="10896"/>
                    </a:lnTo>
                    <a:lnTo>
                      <a:pt x="10523" y="10891"/>
                    </a:lnTo>
                    <a:lnTo>
                      <a:pt x="10476" y="10888"/>
                    </a:lnTo>
                    <a:lnTo>
                      <a:pt x="10429" y="10885"/>
                    </a:lnTo>
                    <a:lnTo>
                      <a:pt x="10383" y="10884"/>
                    </a:lnTo>
                    <a:lnTo>
                      <a:pt x="10340" y="10883"/>
                    </a:lnTo>
                    <a:lnTo>
                      <a:pt x="10296" y="10884"/>
                    </a:lnTo>
                    <a:lnTo>
                      <a:pt x="10254" y="10885"/>
                    </a:lnTo>
                    <a:lnTo>
                      <a:pt x="10214" y="10887"/>
                    </a:lnTo>
                    <a:lnTo>
                      <a:pt x="10173" y="10890"/>
                    </a:lnTo>
                    <a:lnTo>
                      <a:pt x="10134" y="10895"/>
                    </a:lnTo>
                    <a:lnTo>
                      <a:pt x="10097" y="10900"/>
                    </a:lnTo>
                    <a:lnTo>
                      <a:pt x="10061" y="10905"/>
                    </a:lnTo>
                    <a:lnTo>
                      <a:pt x="10025" y="10912"/>
                    </a:lnTo>
                    <a:lnTo>
                      <a:pt x="9992" y="10920"/>
                    </a:lnTo>
                    <a:lnTo>
                      <a:pt x="9959" y="10928"/>
                    </a:lnTo>
                    <a:lnTo>
                      <a:pt x="9929" y="10937"/>
                    </a:lnTo>
                    <a:lnTo>
                      <a:pt x="9898" y="10949"/>
                    </a:lnTo>
                    <a:lnTo>
                      <a:pt x="9871" y="10960"/>
                    </a:lnTo>
                    <a:lnTo>
                      <a:pt x="9843" y="10972"/>
                    </a:lnTo>
                    <a:lnTo>
                      <a:pt x="9818" y="10985"/>
                    </a:lnTo>
                    <a:lnTo>
                      <a:pt x="9794" y="10999"/>
                    </a:lnTo>
                    <a:lnTo>
                      <a:pt x="9771" y="11015"/>
                    </a:lnTo>
                    <a:lnTo>
                      <a:pt x="9750" y="11031"/>
                    </a:lnTo>
                    <a:lnTo>
                      <a:pt x="9731" y="11048"/>
                    </a:lnTo>
                    <a:lnTo>
                      <a:pt x="9712" y="11067"/>
                    </a:lnTo>
                    <a:lnTo>
                      <a:pt x="9696" y="11086"/>
                    </a:lnTo>
                    <a:lnTo>
                      <a:pt x="9681" y="11106"/>
                    </a:lnTo>
                    <a:lnTo>
                      <a:pt x="9668" y="11128"/>
                    </a:lnTo>
                    <a:lnTo>
                      <a:pt x="9668" y="11128"/>
                    </a:lnTo>
                    <a:lnTo>
                      <a:pt x="9656" y="11150"/>
                    </a:lnTo>
                    <a:lnTo>
                      <a:pt x="9646" y="11174"/>
                    </a:lnTo>
                    <a:lnTo>
                      <a:pt x="9638" y="11197"/>
                    </a:lnTo>
                    <a:lnTo>
                      <a:pt x="9631" y="11223"/>
                    </a:lnTo>
                    <a:lnTo>
                      <a:pt x="9626" y="11248"/>
                    </a:lnTo>
                    <a:lnTo>
                      <a:pt x="9623" y="11274"/>
                    </a:lnTo>
                    <a:lnTo>
                      <a:pt x="9621" y="11301"/>
                    </a:lnTo>
                    <a:lnTo>
                      <a:pt x="9620" y="11329"/>
                    </a:lnTo>
                    <a:lnTo>
                      <a:pt x="9621" y="11358"/>
                    </a:lnTo>
                    <a:lnTo>
                      <a:pt x="9624" y="11388"/>
                    </a:lnTo>
                    <a:lnTo>
                      <a:pt x="9628" y="11418"/>
                    </a:lnTo>
                    <a:lnTo>
                      <a:pt x="9634" y="11450"/>
                    </a:lnTo>
                    <a:lnTo>
                      <a:pt x="9641" y="11481"/>
                    </a:lnTo>
                    <a:lnTo>
                      <a:pt x="9650" y="11514"/>
                    </a:lnTo>
                    <a:lnTo>
                      <a:pt x="9660" y="11546"/>
                    </a:lnTo>
                    <a:lnTo>
                      <a:pt x="9672" y="11580"/>
                    </a:lnTo>
                    <a:lnTo>
                      <a:pt x="9685" y="11615"/>
                    </a:lnTo>
                    <a:lnTo>
                      <a:pt x="9699" y="11649"/>
                    </a:lnTo>
                    <a:lnTo>
                      <a:pt x="9715" y="11685"/>
                    </a:lnTo>
                    <a:lnTo>
                      <a:pt x="9733" y="11721"/>
                    </a:lnTo>
                    <a:lnTo>
                      <a:pt x="9751" y="11757"/>
                    </a:lnTo>
                    <a:lnTo>
                      <a:pt x="9771" y="11795"/>
                    </a:lnTo>
                    <a:lnTo>
                      <a:pt x="9793" y="11833"/>
                    </a:lnTo>
                    <a:lnTo>
                      <a:pt x="9815" y="11870"/>
                    </a:lnTo>
                    <a:lnTo>
                      <a:pt x="9838" y="11909"/>
                    </a:lnTo>
                    <a:lnTo>
                      <a:pt x="9864" y="11949"/>
                    </a:lnTo>
                    <a:lnTo>
                      <a:pt x="9890" y="11987"/>
                    </a:lnTo>
                    <a:lnTo>
                      <a:pt x="9919" y="12027"/>
                    </a:lnTo>
                    <a:lnTo>
                      <a:pt x="9947" y="12068"/>
                    </a:lnTo>
                    <a:lnTo>
                      <a:pt x="9978" y="12109"/>
                    </a:lnTo>
                    <a:lnTo>
                      <a:pt x="10009" y="12149"/>
                    </a:lnTo>
                    <a:lnTo>
                      <a:pt x="10042" y="12191"/>
                    </a:lnTo>
                    <a:lnTo>
                      <a:pt x="10065" y="12220"/>
                    </a:lnTo>
                    <a:lnTo>
                      <a:pt x="10088" y="12248"/>
                    </a:lnTo>
                    <a:lnTo>
                      <a:pt x="10113" y="12278"/>
                    </a:lnTo>
                    <a:lnTo>
                      <a:pt x="10138" y="12306"/>
                    </a:lnTo>
                    <a:lnTo>
                      <a:pt x="10164" y="12336"/>
                    </a:lnTo>
                    <a:lnTo>
                      <a:pt x="10190" y="12365"/>
                    </a:lnTo>
                    <a:lnTo>
                      <a:pt x="10217" y="12395"/>
                    </a:lnTo>
                    <a:lnTo>
                      <a:pt x="10244" y="12423"/>
                    </a:lnTo>
                    <a:close/>
                    <a:moveTo>
                      <a:pt x="12907" y="11251"/>
                    </a:moveTo>
                    <a:lnTo>
                      <a:pt x="12938" y="11268"/>
                    </a:lnTo>
                    <a:lnTo>
                      <a:pt x="12971" y="11286"/>
                    </a:lnTo>
                    <a:lnTo>
                      <a:pt x="13003" y="11304"/>
                    </a:lnTo>
                    <a:lnTo>
                      <a:pt x="13035" y="11321"/>
                    </a:lnTo>
                    <a:lnTo>
                      <a:pt x="13067" y="11340"/>
                    </a:lnTo>
                    <a:lnTo>
                      <a:pt x="13100" y="11358"/>
                    </a:lnTo>
                    <a:lnTo>
                      <a:pt x="13131" y="11376"/>
                    </a:lnTo>
                    <a:lnTo>
                      <a:pt x="13164" y="11395"/>
                    </a:lnTo>
                    <a:lnTo>
                      <a:pt x="13165" y="11396"/>
                    </a:lnTo>
                    <a:lnTo>
                      <a:pt x="13165" y="11395"/>
                    </a:lnTo>
                    <a:lnTo>
                      <a:pt x="13173" y="11400"/>
                    </a:lnTo>
                    <a:lnTo>
                      <a:pt x="13176" y="11401"/>
                    </a:lnTo>
                    <a:lnTo>
                      <a:pt x="13176" y="11402"/>
                    </a:lnTo>
                    <a:lnTo>
                      <a:pt x="13177" y="11402"/>
                    </a:lnTo>
                    <a:lnTo>
                      <a:pt x="13177" y="11402"/>
                    </a:lnTo>
                    <a:lnTo>
                      <a:pt x="13210" y="11420"/>
                    </a:lnTo>
                    <a:lnTo>
                      <a:pt x="13241" y="11439"/>
                    </a:lnTo>
                    <a:lnTo>
                      <a:pt x="13274" y="11459"/>
                    </a:lnTo>
                    <a:lnTo>
                      <a:pt x="13305" y="11478"/>
                    </a:lnTo>
                    <a:lnTo>
                      <a:pt x="13338" y="11498"/>
                    </a:lnTo>
                    <a:lnTo>
                      <a:pt x="13369" y="11517"/>
                    </a:lnTo>
                    <a:lnTo>
                      <a:pt x="13401" y="11536"/>
                    </a:lnTo>
                    <a:lnTo>
                      <a:pt x="13432" y="11556"/>
                    </a:lnTo>
                    <a:lnTo>
                      <a:pt x="13423" y="11495"/>
                    </a:lnTo>
                    <a:lnTo>
                      <a:pt x="13414" y="11436"/>
                    </a:lnTo>
                    <a:lnTo>
                      <a:pt x="13404" y="11377"/>
                    </a:lnTo>
                    <a:lnTo>
                      <a:pt x="13394" y="11319"/>
                    </a:lnTo>
                    <a:lnTo>
                      <a:pt x="13384" y="11262"/>
                    </a:lnTo>
                    <a:lnTo>
                      <a:pt x="13372" y="11205"/>
                    </a:lnTo>
                    <a:lnTo>
                      <a:pt x="13360" y="11149"/>
                    </a:lnTo>
                    <a:lnTo>
                      <a:pt x="13349" y="11093"/>
                    </a:lnTo>
                    <a:lnTo>
                      <a:pt x="13294" y="11110"/>
                    </a:lnTo>
                    <a:lnTo>
                      <a:pt x="13240" y="11129"/>
                    </a:lnTo>
                    <a:lnTo>
                      <a:pt x="13185" y="11147"/>
                    </a:lnTo>
                    <a:lnTo>
                      <a:pt x="13130" y="11167"/>
                    </a:lnTo>
                    <a:lnTo>
                      <a:pt x="13074" y="11187"/>
                    </a:lnTo>
                    <a:lnTo>
                      <a:pt x="13019" y="11207"/>
                    </a:lnTo>
                    <a:lnTo>
                      <a:pt x="12963" y="11230"/>
                    </a:lnTo>
                    <a:lnTo>
                      <a:pt x="12907" y="11251"/>
                    </a:lnTo>
                    <a:close/>
                    <a:moveTo>
                      <a:pt x="13889" y="11862"/>
                    </a:moveTo>
                    <a:lnTo>
                      <a:pt x="13983" y="11931"/>
                    </a:lnTo>
                    <a:lnTo>
                      <a:pt x="14075" y="12001"/>
                    </a:lnTo>
                    <a:lnTo>
                      <a:pt x="14164" y="12070"/>
                    </a:lnTo>
                    <a:lnTo>
                      <a:pt x="14253" y="12140"/>
                    </a:lnTo>
                    <a:lnTo>
                      <a:pt x="14337" y="12211"/>
                    </a:lnTo>
                    <a:lnTo>
                      <a:pt x="14421" y="12282"/>
                    </a:lnTo>
                    <a:lnTo>
                      <a:pt x="14501" y="12352"/>
                    </a:lnTo>
                    <a:lnTo>
                      <a:pt x="14579" y="12423"/>
                    </a:lnTo>
                    <a:lnTo>
                      <a:pt x="14606" y="12395"/>
                    </a:lnTo>
                    <a:lnTo>
                      <a:pt x="14631" y="12366"/>
                    </a:lnTo>
                    <a:lnTo>
                      <a:pt x="14656" y="12338"/>
                    </a:lnTo>
                    <a:lnTo>
                      <a:pt x="14681" y="12309"/>
                    </a:lnTo>
                    <a:lnTo>
                      <a:pt x="14705" y="12282"/>
                    </a:lnTo>
                    <a:lnTo>
                      <a:pt x="14730" y="12253"/>
                    </a:lnTo>
                    <a:lnTo>
                      <a:pt x="14752" y="12225"/>
                    </a:lnTo>
                    <a:lnTo>
                      <a:pt x="14775" y="12197"/>
                    </a:lnTo>
                    <a:lnTo>
                      <a:pt x="14808" y="12156"/>
                    </a:lnTo>
                    <a:lnTo>
                      <a:pt x="14839" y="12115"/>
                    </a:lnTo>
                    <a:lnTo>
                      <a:pt x="14870" y="12074"/>
                    </a:lnTo>
                    <a:lnTo>
                      <a:pt x="14898" y="12034"/>
                    </a:lnTo>
                    <a:lnTo>
                      <a:pt x="14926" y="11994"/>
                    </a:lnTo>
                    <a:lnTo>
                      <a:pt x="14952" y="11955"/>
                    </a:lnTo>
                    <a:lnTo>
                      <a:pt x="14978" y="11915"/>
                    </a:lnTo>
                    <a:lnTo>
                      <a:pt x="15002" y="11877"/>
                    </a:lnTo>
                    <a:lnTo>
                      <a:pt x="15024" y="11839"/>
                    </a:lnTo>
                    <a:lnTo>
                      <a:pt x="15046" y="11801"/>
                    </a:lnTo>
                    <a:lnTo>
                      <a:pt x="15066" y="11764"/>
                    </a:lnTo>
                    <a:lnTo>
                      <a:pt x="15084" y="11728"/>
                    </a:lnTo>
                    <a:lnTo>
                      <a:pt x="15102" y="11691"/>
                    </a:lnTo>
                    <a:lnTo>
                      <a:pt x="15117" y="11655"/>
                    </a:lnTo>
                    <a:lnTo>
                      <a:pt x="15132" y="11621"/>
                    </a:lnTo>
                    <a:lnTo>
                      <a:pt x="15144" y="11586"/>
                    </a:lnTo>
                    <a:lnTo>
                      <a:pt x="15157" y="11553"/>
                    </a:lnTo>
                    <a:lnTo>
                      <a:pt x="15167" y="11520"/>
                    </a:lnTo>
                    <a:lnTo>
                      <a:pt x="15175" y="11487"/>
                    </a:lnTo>
                    <a:lnTo>
                      <a:pt x="15183" y="11456"/>
                    </a:lnTo>
                    <a:lnTo>
                      <a:pt x="15188" y="11424"/>
                    </a:lnTo>
                    <a:lnTo>
                      <a:pt x="15192" y="11395"/>
                    </a:lnTo>
                    <a:lnTo>
                      <a:pt x="15195" y="11365"/>
                    </a:lnTo>
                    <a:lnTo>
                      <a:pt x="15196" y="11336"/>
                    </a:lnTo>
                    <a:lnTo>
                      <a:pt x="15196" y="11308"/>
                    </a:lnTo>
                    <a:lnTo>
                      <a:pt x="15194" y="11281"/>
                    </a:lnTo>
                    <a:lnTo>
                      <a:pt x="15191" y="11254"/>
                    </a:lnTo>
                    <a:lnTo>
                      <a:pt x="15186" y="11229"/>
                    </a:lnTo>
                    <a:lnTo>
                      <a:pt x="15179" y="11203"/>
                    </a:lnTo>
                    <a:lnTo>
                      <a:pt x="15171" y="11180"/>
                    </a:lnTo>
                    <a:lnTo>
                      <a:pt x="15161" y="11156"/>
                    </a:lnTo>
                    <a:lnTo>
                      <a:pt x="15149" y="11134"/>
                    </a:lnTo>
                    <a:lnTo>
                      <a:pt x="15149" y="11134"/>
                    </a:lnTo>
                    <a:lnTo>
                      <a:pt x="15135" y="11113"/>
                    </a:lnTo>
                    <a:lnTo>
                      <a:pt x="15121" y="11092"/>
                    </a:lnTo>
                    <a:lnTo>
                      <a:pt x="15105" y="11073"/>
                    </a:lnTo>
                    <a:lnTo>
                      <a:pt x="15086" y="11054"/>
                    </a:lnTo>
                    <a:lnTo>
                      <a:pt x="15066" y="11038"/>
                    </a:lnTo>
                    <a:lnTo>
                      <a:pt x="15046" y="11022"/>
                    </a:lnTo>
                    <a:lnTo>
                      <a:pt x="15022" y="11007"/>
                    </a:lnTo>
                    <a:lnTo>
                      <a:pt x="14999" y="10992"/>
                    </a:lnTo>
                    <a:lnTo>
                      <a:pt x="14974" y="10978"/>
                    </a:lnTo>
                    <a:lnTo>
                      <a:pt x="14946" y="10966"/>
                    </a:lnTo>
                    <a:lnTo>
                      <a:pt x="14918" y="10955"/>
                    </a:lnTo>
                    <a:lnTo>
                      <a:pt x="14888" y="10944"/>
                    </a:lnTo>
                    <a:lnTo>
                      <a:pt x="14857" y="10934"/>
                    </a:lnTo>
                    <a:lnTo>
                      <a:pt x="14824" y="10926"/>
                    </a:lnTo>
                    <a:lnTo>
                      <a:pt x="14791" y="10918"/>
                    </a:lnTo>
                    <a:lnTo>
                      <a:pt x="14756" y="10912"/>
                    </a:lnTo>
                    <a:lnTo>
                      <a:pt x="14719" y="10906"/>
                    </a:lnTo>
                    <a:lnTo>
                      <a:pt x="14682" y="10901"/>
                    </a:lnTo>
                    <a:lnTo>
                      <a:pt x="14643" y="10897"/>
                    </a:lnTo>
                    <a:lnTo>
                      <a:pt x="14604" y="10894"/>
                    </a:lnTo>
                    <a:lnTo>
                      <a:pt x="14563" y="10891"/>
                    </a:lnTo>
                    <a:lnTo>
                      <a:pt x="14520" y="10890"/>
                    </a:lnTo>
                    <a:lnTo>
                      <a:pt x="14477" y="10890"/>
                    </a:lnTo>
                    <a:lnTo>
                      <a:pt x="14433" y="10890"/>
                    </a:lnTo>
                    <a:lnTo>
                      <a:pt x="14387" y="10893"/>
                    </a:lnTo>
                    <a:lnTo>
                      <a:pt x="14341" y="10895"/>
                    </a:lnTo>
                    <a:lnTo>
                      <a:pt x="14293" y="10898"/>
                    </a:lnTo>
                    <a:lnTo>
                      <a:pt x="14245" y="10902"/>
                    </a:lnTo>
                    <a:lnTo>
                      <a:pt x="14196" y="10907"/>
                    </a:lnTo>
                    <a:lnTo>
                      <a:pt x="14145" y="10913"/>
                    </a:lnTo>
                    <a:lnTo>
                      <a:pt x="14094" y="10920"/>
                    </a:lnTo>
                    <a:lnTo>
                      <a:pt x="14042" y="10927"/>
                    </a:lnTo>
                    <a:lnTo>
                      <a:pt x="14007" y="10933"/>
                    </a:lnTo>
                    <a:lnTo>
                      <a:pt x="13971" y="10939"/>
                    </a:lnTo>
                    <a:lnTo>
                      <a:pt x="13935" y="10945"/>
                    </a:lnTo>
                    <a:lnTo>
                      <a:pt x="13899" y="10953"/>
                    </a:lnTo>
                    <a:lnTo>
                      <a:pt x="13862" y="10960"/>
                    </a:lnTo>
                    <a:lnTo>
                      <a:pt x="13825" y="10967"/>
                    </a:lnTo>
                    <a:lnTo>
                      <a:pt x="13788" y="10975"/>
                    </a:lnTo>
                    <a:lnTo>
                      <a:pt x="13751" y="10984"/>
                    </a:lnTo>
                    <a:lnTo>
                      <a:pt x="13762" y="11035"/>
                    </a:lnTo>
                    <a:lnTo>
                      <a:pt x="13773" y="11087"/>
                    </a:lnTo>
                    <a:lnTo>
                      <a:pt x="13783" y="11139"/>
                    </a:lnTo>
                    <a:lnTo>
                      <a:pt x="13793" y="11192"/>
                    </a:lnTo>
                    <a:lnTo>
                      <a:pt x="13803" y="11246"/>
                    </a:lnTo>
                    <a:lnTo>
                      <a:pt x="13813" y="11299"/>
                    </a:lnTo>
                    <a:lnTo>
                      <a:pt x="13822" y="11354"/>
                    </a:lnTo>
                    <a:lnTo>
                      <a:pt x="13831" y="11409"/>
                    </a:lnTo>
                    <a:lnTo>
                      <a:pt x="13839" y="11464"/>
                    </a:lnTo>
                    <a:lnTo>
                      <a:pt x="13847" y="11519"/>
                    </a:lnTo>
                    <a:lnTo>
                      <a:pt x="13855" y="11575"/>
                    </a:lnTo>
                    <a:lnTo>
                      <a:pt x="13862" y="11632"/>
                    </a:lnTo>
                    <a:lnTo>
                      <a:pt x="13869" y="11689"/>
                    </a:lnTo>
                    <a:lnTo>
                      <a:pt x="13877" y="11746"/>
                    </a:lnTo>
                    <a:lnTo>
                      <a:pt x="13883" y="11804"/>
                    </a:lnTo>
                    <a:lnTo>
                      <a:pt x="13889" y="11862"/>
                    </a:lnTo>
                    <a:close/>
                    <a:moveTo>
                      <a:pt x="13242" y="14741"/>
                    </a:moveTo>
                    <a:lnTo>
                      <a:pt x="13192" y="14724"/>
                    </a:lnTo>
                    <a:lnTo>
                      <a:pt x="13142" y="14708"/>
                    </a:lnTo>
                    <a:lnTo>
                      <a:pt x="13092" y="14691"/>
                    </a:lnTo>
                    <a:lnTo>
                      <a:pt x="13041" y="14673"/>
                    </a:lnTo>
                    <a:lnTo>
                      <a:pt x="12990" y="14656"/>
                    </a:lnTo>
                    <a:lnTo>
                      <a:pt x="12938" y="14638"/>
                    </a:lnTo>
                    <a:lnTo>
                      <a:pt x="12887" y="14618"/>
                    </a:lnTo>
                    <a:lnTo>
                      <a:pt x="12836" y="14599"/>
                    </a:lnTo>
                    <a:lnTo>
                      <a:pt x="12784" y="14579"/>
                    </a:lnTo>
                    <a:lnTo>
                      <a:pt x="12732" y="14558"/>
                    </a:lnTo>
                    <a:lnTo>
                      <a:pt x="12679" y="14537"/>
                    </a:lnTo>
                    <a:lnTo>
                      <a:pt x="12627" y="14516"/>
                    </a:lnTo>
                    <a:lnTo>
                      <a:pt x="12574" y="14493"/>
                    </a:lnTo>
                    <a:lnTo>
                      <a:pt x="12521" y="14470"/>
                    </a:lnTo>
                    <a:lnTo>
                      <a:pt x="12468" y="14447"/>
                    </a:lnTo>
                    <a:lnTo>
                      <a:pt x="12416" y="14423"/>
                    </a:lnTo>
                    <a:lnTo>
                      <a:pt x="12362" y="14447"/>
                    </a:lnTo>
                    <a:lnTo>
                      <a:pt x="12309" y="14471"/>
                    </a:lnTo>
                    <a:lnTo>
                      <a:pt x="12255" y="14494"/>
                    </a:lnTo>
                    <a:lnTo>
                      <a:pt x="12202" y="14517"/>
                    </a:lnTo>
                    <a:lnTo>
                      <a:pt x="12149" y="14538"/>
                    </a:lnTo>
                    <a:lnTo>
                      <a:pt x="12096" y="14559"/>
                    </a:lnTo>
                    <a:lnTo>
                      <a:pt x="12045" y="14581"/>
                    </a:lnTo>
                    <a:lnTo>
                      <a:pt x="11992" y="14601"/>
                    </a:lnTo>
                    <a:lnTo>
                      <a:pt x="11940" y="14620"/>
                    </a:lnTo>
                    <a:lnTo>
                      <a:pt x="11888" y="14640"/>
                    </a:lnTo>
                    <a:lnTo>
                      <a:pt x="11837" y="14659"/>
                    </a:lnTo>
                    <a:lnTo>
                      <a:pt x="11785" y="14676"/>
                    </a:lnTo>
                    <a:lnTo>
                      <a:pt x="11734" y="14695"/>
                    </a:lnTo>
                    <a:lnTo>
                      <a:pt x="11684" y="14711"/>
                    </a:lnTo>
                    <a:lnTo>
                      <a:pt x="11633" y="14728"/>
                    </a:lnTo>
                    <a:lnTo>
                      <a:pt x="11583" y="14744"/>
                    </a:lnTo>
                    <a:lnTo>
                      <a:pt x="11594" y="14780"/>
                    </a:lnTo>
                    <a:lnTo>
                      <a:pt x="11606" y="14817"/>
                    </a:lnTo>
                    <a:lnTo>
                      <a:pt x="11618" y="14853"/>
                    </a:lnTo>
                    <a:lnTo>
                      <a:pt x="11630" y="14888"/>
                    </a:lnTo>
                    <a:lnTo>
                      <a:pt x="11642" y="14923"/>
                    </a:lnTo>
                    <a:lnTo>
                      <a:pt x="11654" y="14957"/>
                    </a:lnTo>
                    <a:lnTo>
                      <a:pt x="11666" y="14991"/>
                    </a:lnTo>
                    <a:lnTo>
                      <a:pt x="11680" y="15024"/>
                    </a:lnTo>
                    <a:lnTo>
                      <a:pt x="11699" y="15073"/>
                    </a:lnTo>
                    <a:lnTo>
                      <a:pt x="11718" y="15121"/>
                    </a:lnTo>
                    <a:lnTo>
                      <a:pt x="11739" y="15167"/>
                    </a:lnTo>
                    <a:lnTo>
                      <a:pt x="11759" y="15212"/>
                    </a:lnTo>
                    <a:lnTo>
                      <a:pt x="11779" y="15257"/>
                    </a:lnTo>
                    <a:lnTo>
                      <a:pt x="11801" y="15299"/>
                    </a:lnTo>
                    <a:lnTo>
                      <a:pt x="11822" y="15341"/>
                    </a:lnTo>
                    <a:lnTo>
                      <a:pt x="11843" y="15380"/>
                    </a:lnTo>
                    <a:lnTo>
                      <a:pt x="11865" y="15419"/>
                    </a:lnTo>
                    <a:lnTo>
                      <a:pt x="11887" y="15457"/>
                    </a:lnTo>
                    <a:lnTo>
                      <a:pt x="11908" y="15492"/>
                    </a:lnTo>
                    <a:lnTo>
                      <a:pt x="11931" y="15527"/>
                    </a:lnTo>
                    <a:lnTo>
                      <a:pt x="11953" y="15560"/>
                    </a:lnTo>
                    <a:lnTo>
                      <a:pt x="11976" y="15591"/>
                    </a:lnTo>
                    <a:lnTo>
                      <a:pt x="11999" y="15622"/>
                    </a:lnTo>
                    <a:lnTo>
                      <a:pt x="12022" y="15650"/>
                    </a:lnTo>
                    <a:lnTo>
                      <a:pt x="12046" y="15677"/>
                    </a:lnTo>
                    <a:lnTo>
                      <a:pt x="12069" y="15702"/>
                    </a:lnTo>
                    <a:lnTo>
                      <a:pt x="12093" y="15726"/>
                    </a:lnTo>
                    <a:lnTo>
                      <a:pt x="12117" y="15748"/>
                    </a:lnTo>
                    <a:lnTo>
                      <a:pt x="12141" y="15768"/>
                    </a:lnTo>
                    <a:lnTo>
                      <a:pt x="12165" y="15787"/>
                    </a:lnTo>
                    <a:lnTo>
                      <a:pt x="12189" y="15804"/>
                    </a:lnTo>
                    <a:lnTo>
                      <a:pt x="12213" y="15819"/>
                    </a:lnTo>
                    <a:lnTo>
                      <a:pt x="12238" y="15834"/>
                    </a:lnTo>
                    <a:lnTo>
                      <a:pt x="12263" y="15846"/>
                    </a:lnTo>
                    <a:lnTo>
                      <a:pt x="12288" y="15856"/>
                    </a:lnTo>
                    <a:lnTo>
                      <a:pt x="12312" y="15864"/>
                    </a:lnTo>
                    <a:lnTo>
                      <a:pt x="12337" y="15870"/>
                    </a:lnTo>
                    <a:lnTo>
                      <a:pt x="12362" y="15875"/>
                    </a:lnTo>
                    <a:lnTo>
                      <a:pt x="12387" y="15878"/>
                    </a:lnTo>
                    <a:lnTo>
                      <a:pt x="12412" y="15879"/>
                    </a:lnTo>
                    <a:lnTo>
                      <a:pt x="12437" y="15878"/>
                    </a:lnTo>
                    <a:lnTo>
                      <a:pt x="12461" y="15875"/>
                    </a:lnTo>
                    <a:lnTo>
                      <a:pt x="12487" y="15870"/>
                    </a:lnTo>
                    <a:lnTo>
                      <a:pt x="12511" y="15864"/>
                    </a:lnTo>
                    <a:lnTo>
                      <a:pt x="12537" y="15856"/>
                    </a:lnTo>
                    <a:lnTo>
                      <a:pt x="12561" y="15846"/>
                    </a:lnTo>
                    <a:lnTo>
                      <a:pt x="12585" y="15834"/>
                    </a:lnTo>
                    <a:lnTo>
                      <a:pt x="12610" y="15819"/>
                    </a:lnTo>
                    <a:lnTo>
                      <a:pt x="12634" y="15804"/>
                    </a:lnTo>
                    <a:lnTo>
                      <a:pt x="12659" y="15787"/>
                    </a:lnTo>
                    <a:lnTo>
                      <a:pt x="12683" y="15768"/>
                    </a:lnTo>
                    <a:lnTo>
                      <a:pt x="12706" y="15748"/>
                    </a:lnTo>
                    <a:lnTo>
                      <a:pt x="12731" y="15726"/>
                    </a:lnTo>
                    <a:lnTo>
                      <a:pt x="12754" y="15702"/>
                    </a:lnTo>
                    <a:lnTo>
                      <a:pt x="12778" y="15677"/>
                    </a:lnTo>
                    <a:lnTo>
                      <a:pt x="12801" y="15649"/>
                    </a:lnTo>
                    <a:lnTo>
                      <a:pt x="12824" y="15621"/>
                    </a:lnTo>
                    <a:lnTo>
                      <a:pt x="12847" y="15591"/>
                    </a:lnTo>
                    <a:lnTo>
                      <a:pt x="12870" y="15560"/>
                    </a:lnTo>
                    <a:lnTo>
                      <a:pt x="12892" y="15527"/>
                    </a:lnTo>
                    <a:lnTo>
                      <a:pt x="12915" y="15492"/>
                    </a:lnTo>
                    <a:lnTo>
                      <a:pt x="12937" y="15457"/>
                    </a:lnTo>
                    <a:lnTo>
                      <a:pt x="12959" y="15419"/>
                    </a:lnTo>
                    <a:lnTo>
                      <a:pt x="12981" y="15380"/>
                    </a:lnTo>
                    <a:lnTo>
                      <a:pt x="13002" y="15341"/>
                    </a:lnTo>
                    <a:lnTo>
                      <a:pt x="13023" y="15299"/>
                    </a:lnTo>
                    <a:lnTo>
                      <a:pt x="13044" y="15256"/>
                    </a:lnTo>
                    <a:lnTo>
                      <a:pt x="13064" y="15212"/>
                    </a:lnTo>
                    <a:lnTo>
                      <a:pt x="13085" y="15167"/>
                    </a:lnTo>
                    <a:lnTo>
                      <a:pt x="13105" y="15121"/>
                    </a:lnTo>
                    <a:lnTo>
                      <a:pt x="13124" y="15073"/>
                    </a:lnTo>
                    <a:lnTo>
                      <a:pt x="13144" y="15024"/>
                    </a:lnTo>
                    <a:lnTo>
                      <a:pt x="13157" y="14990"/>
                    </a:lnTo>
                    <a:lnTo>
                      <a:pt x="13169" y="14956"/>
                    </a:lnTo>
                    <a:lnTo>
                      <a:pt x="13182" y="14921"/>
                    </a:lnTo>
                    <a:lnTo>
                      <a:pt x="13194" y="14886"/>
                    </a:lnTo>
                    <a:lnTo>
                      <a:pt x="13207" y="14851"/>
                    </a:lnTo>
                    <a:lnTo>
                      <a:pt x="13219" y="14814"/>
                    </a:lnTo>
                    <a:lnTo>
                      <a:pt x="13230" y="14777"/>
                    </a:lnTo>
                    <a:lnTo>
                      <a:pt x="13242" y="14741"/>
                    </a:lnTo>
                    <a:close/>
                    <a:moveTo>
                      <a:pt x="11924" y="14180"/>
                    </a:moveTo>
                    <a:lnTo>
                      <a:pt x="11889" y="14162"/>
                    </a:lnTo>
                    <a:lnTo>
                      <a:pt x="11854" y="14144"/>
                    </a:lnTo>
                    <a:lnTo>
                      <a:pt x="11820" y="14125"/>
                    </a:lnTo>
                    <a:lnTo>
                      <a:pt x="11786" y="14106"/>
                    </a:lnTo>
                    <a:lnTo>
                      <a:pt x="11752" y="14087"/>
                    </a:lnTo>
                    <a:lnTo>
                      <a:pt x="11717" y="14067"/>
                    </a:lnTo>
                    <a:lnTo>
                      <a:pt x="11683" y="14048"/>
                    </a:lnTo>
                    <a:lnTo>
                      <a:pt x="11648" y="14029"/>
                    </a:lnTo>
                    <a:lnTo>
                      <a:pt x="11647" y="14028"/>
                    </a:lnTo>
                    <a:lnTo>
                      <a:pt x="11647" y="14028"/>
                    </a:lnTo>
                    <a:lnTo>
                      <a:pt x="11639" y="14024"/>
                    </a:lnTo>
                    <a:lnTo>
                      <a:pt x="11636" y="14022"/>
                    </a:lnTo>
                    <a:lnTo>
                      <a:pt x="11636" y="14022"/>
                    </a:lnTo>
                    <a:lnTo>
                      <a:pt x="11636" y="14022"/>
                    </a:lnTo>
                    <a:lnTo>
                      <a:pt x="11604" y="14003"/>
                    </a:lnTo>
                    <a:lnTo>
                      <a:pt x="11574" y="13985"/>
                    </a:lnTo>
                    <a:lnTo>
                      <a:pt x="11543" y="13967"/>
                    </a:lnTo>
                    <a:lnTo>
                      <a:pt x="11513" y="13948"/>
                    </a:lnTo>
                    <a:lnTo>
                      <a:pt x="11482" y="13930"/>
                    </a:lnTo>
                    <a:lnTo>
                      <a:pt x="11452" y="13912"/>
                    </a:lnTo>
                    <a:lnTo>
                      <a:pt x="11422" y="13893"/>
                    </a:lnTo>
                    <a:lnTo>
                      <a:pt x="11392" y="13875"/>
                    </a:lnTo>
                    <a:lnTo>
                      <a:pt x="11401" y="13935"/>
                    </a:lnTo>
                    <a:lnTo>
                      <a:pt x="11411" y="13995"/>
                    </a:lnTo>
                    <a:lnTo>
                      <a:pt x="11420" y="14054"/>
                    </a:lnTo>
                    <a:lnTo>
                      <a:pt x="11431" y="14113"/>
                    </a:lnTo>
                    <a:lnTo>
                      <a:pt x="11442" y="14171"/>
                    </a:lnTo>
                    <a:lnTo>
                      <a:pt x="11453" y="14228"/>
                    </a:lnTo>
                    <a:lnTo>
                      <a:pt x="11465" y="14284"/>
                    </a:lnTo>
                    <a:lnTo>
                      <a:pt x="11477" y="14340"/>
                    </a:lnTo>
                    <a:lnTo>
                      <a:pt x="11532" y="14323"/>
                    </a:lnTo>
                    <a:lnTo>
                      <a:pt x="11587" y="14305"/>
                    </a:lnTo>
                    <a:lnTo>
                      <a:pt x="11642" y="14286"/>
                    </a:lnTo>
                    <a:lnTo>
                      <a:pt x="11698" y="14266"/>
                    </a:lnTo>
                    <a:lnTo>
                      <a:pt x="11754" y="14246"/>
                    </a:lnTo>
                    <a:lnTo>
                      <a:pt x="11810" y="14225"/>
                    </a:lnTo>
                    <a:lnTo>
                      <a:pt x="11867" y="14203"/>
                    </a:lnTo>
                    <a:lnTo>
                      <a:pt x="11924" y="14180"/>
                    </a:lnTo>
                    <a:close/>
                    <a:moveTo>
                      <a:pt x="10540" y="12717"/>
                    </a:moveTo>
                    <a:lnTo>
                      <a:pt x="10583" y="12754"/>
                    </a:lnTo>
                    <a:lnTo>
                      <a:pt x="10625" y="12793"/>
                    </a:lnTo>
                    <a:lnTo>
                      <a:pt x="10669" y="12831"/>
                    </a:lnTo>
                    <a:lnTo>
                      <a:pt x="10714" y="12870"/>
                    </a:lnTo>
                    <a:lnTo>
                      <a:pt x="10758" y="12907"/>
                    </a:lnTo>
                    <a:lnTo>
                      <a:pt x="10804" y="12945"/>
                    </a:lnTo>
                    <a:lnTo>
                      <a:pt x="10851" y="12984"/>
                    </a:lnTo>
                    <a:lnTo>
                      <a:pt x="10899" y="13021"/>
                    </a:lnTo>
                    <a:lnTo>
                      <a:pt x="10898" y="12983"/>
                    </a:lnTo>
                    <a:lnTo>
                      <a:pt x="10897" y="12944"/>
                    </a:lnTo>
                    <a:lnTo>
                      <a:pt x="10896" y="12906"/>
                    </a:lnTo>
                    <a:lnTo>
                      <a:pt x="10895" y="12868"/>
                    </a:lnTo>
                    <a:lnTo>
                      <a:pt x="10895" y="12829"/>
                    </a:lnTo>
                    <a:lnTo>
                      <a:pt x="10894" y="12790"/>
                    </a:lnTo>
                    <a:lnTo>
                      <a:pt x="10894" y="12751"/>
                    </a:lnTo>
                    <a:lnTo>
                      <a:pt x="10894" y="12713"/>
                    </a:lnTo>
                    <a:lnTo>
                      <a:pt x="10894" y="12674"/>
                    </a:lnTo>
                    <a:lnTo>
                      <a:pt x="10894" y="12636"/>
                    </a:lnTo>
                    <a:lnTo>
                      <a:pt x="10895" y="12599"/>
                    </a:lnTo>
                    <a:lnTo>
                      <a:pt x="10895" y="12561"/>
                    </a:lnTo>
                    <a:lnTo>
                      <a:pt x="10896" y="12524"/>
                    </a:lnTo>
                    <a:lnTo>
                      <a:pt x="10897" y="12487"/>
                    </a:lnTo>
                    <a:lnTo>
                      <a:pt x="10898" y="12449"/>
                    </a:lnTo>
                    <a:lnTo>
                      <a:pt x="10899" y="12412"/>
                    </a:lnTo>
                    <a:lnTo>
                      <a:pt x="10851" y="12450"/>
                    </a:lnTo>
                    <a:lnTo>
                      <a:pt x="10804" y="12488"/>
                    </a:lnTo>
                    <a:lnTo>
                      <a:pt x="10758" y="12526"/>
                    </a:lnTo>
                    <a:lnTo>
                      <a:pt x="10714" y="12564"/>
                    </a:lnTo>
                    <a:lnTo>
                      <a:pt x="10669" y="12602"/>
                    </a:lnTo>
                    <a:lnTo>
                      <a:pt x="10625" y="12640"/>
                    </a:lnTo>
                    <a:lnTo>
                      <a:pt x="10583" y="12678"/>
                    </a:lnTo>
                    <a:lnTo>
                      <a:pt x="10540" y="12717"/>
                    </a:lnTo>
                    <a:close/>
                    <a:moveTo>
                      <a:pt x="11334" y="13340"/>
                    </a:moveTo>
                    <a:lnTo>
                      <a:pt x="11396" y="13382"/>
                    </a:lnTo>
                    <a:lnTo>
                      <a:pt x="11459" y="13424"/>
                    </a:lnTo>
                    <a:lnTo>
                      <a:pt x="11523" y="13465"/>
                    </a:lnTo>
                    <a:lnTo>
                      <a:pt x="11588" y="13506"/>
                    </a:lnTo>
                    <a:lnTo>
                      <a:pt x="11654" y="13547"/>
                    </a:lnTo>
                    <a:lnTo>
                      <a:pt x="11720" y="13588"/>
                    </a:lnTo>
                    <a:lnTo>
                      <a:pt x="11787" y="13627"/>
                    </a:lnTo>
                    <a:lnTo>
                      <a:pt x="11855" y="13667"/>
                    </a:lnTo>
                    <a:lnTo>
                      <a:pt x="11867" y="13673"/>
                    </a:lnTo>
                    <a:lnTo>
                      <a:pt x="11867" y="13674"/>
                    </a:lnTo>
                    <a:lnTo>
                      <a:pt x="11867" y="13674"/>
                    </a:lnTo>
                    <a:lnTo>
                      <a:pt x="11936" y="13714"/>
                    </a:lnTo>
                    <a:lnTo>
                      <a:pt x="12005" y="13752"/>
                    </a:lnTo>
                    <a:lnTo>
                      <a:pt x="12073" y="13789"/>
                    </a:lnTo>
                    <a:lnTo>
                      <a:pt x="12142" y="13826"/>
                    </a:lnTo>
                    <a:lnTo>
                      <a:pt x="12210" y="13862"/>
                    </a:lnTo>
                    <a:lnTo>
                      <a:pt x="12278" y="13896"/>
                    </a:lnTo>
                    <a:lnTo>
                      <a:pt x="12346" y="13931"/>
                    </a:lnTo>
                    <a:lnTo>
                      <a:pt x="12415" y="13963"/>
                    </a:lnTo>
                    <a:lnTo>
                      <a:pt x="12482" y="13931"/>
                    </a:lnTo>
                    <a:lnTo>
                      <a:pt x="12548" y="13898"/>
                    </a:lnTo>
                    <a:lnTo>
                      <a:pt x="12615" y="13864"/>
                    </a:lnTo>
                    <a:lnTo>
                      <a:pt x="12681" y="13829"/>
                    </a:lnTo>
                    <a:lnTo>
                      <a:pt x="12748" y="13793"/>
                    </a:lnTo>
                    <a:lnTo>
                      <a:pt x="12815" y="13757"/>
                    </a:lnTo>
                    <a:lnTo>
                      <a:pt x="12882" y="13719"/>
                    </a:lnTo>
                    <a:lnTo>
                      <a:pt x="12949" y="13680"/>
                    </a:lnTo>
                    <a:lnTo>
                      <a:pt x="12949" y="13680"/>
                    </a:lnTo>
                    <a:lnTo>
                      <a:pt x="12949" y="13680"/>
                    </a:lnTo>
                    <a:lnTo>
                      <a:pt x="12950" y="13680"/>
                    </a:lnTo>
                    <a:lnTo>
                      <a:pt x="12963" y="13673"/>
                    </a:lnTo>
                    <a:lnTo>
                      <a:pt x="13031" y="13633"/>
                    </a:lnTo>
                    <a:lnTo>
                      <a:pt x="13099" y="13593"/>
                    </a:lnTo>
                    <a:lnTo>
                      <a:pt x="13166" y="13552"/>
                    </a:lnTo>
                    <a:lnTo>
                      <a:pt x="13232" y="13510"/>
                    </a:lnTo>
                    <a:lnTo>
                      <a:pt x="13298" y="13468"/>
                    </a:lnTo>
                    <a:lnTo>
                      <a:pt x="13363" y="13427"/>
                    </a:lnTo>
                    <a:lnTo>
                      <a:pt x="13426" y="13385"/>
                    </a:lnTo>
                    <a:lnTo>
                      <a:pt x="13489" y="13342"/>
                    </a:lnTo>
                    <a:lnTo>
                      <a:pt x="13495" y="13266"/>
                    </a:lnTo>
                    <a:lnTo>
                      <a:pt x="13499" y="13188"/>
                    </a:lnTo>
                    <a:lnTo>
                      <a:pt x="13503" y="13110"/>
                    </a:lnTo>
                    <a:lnTo>
                      <a:pt x="13507" y="13031"/>
                    </a:lnTo>
                    <a:lnTo>
                      <a:pt x="13510" y="12952"/>
                    </a:lnTo>
                    <a:lnTo>
                      <a:pt x="13512" y="12873"/>
                    </a:lnTo>
                    <a:lnTo>
                      <a:pt x="13513" y="12793"/>
                    </a:lnTo>
                    <a:lnTo>
                      <a:pt x="13513" y="12713"/>
                    </a:lnTo>
                    <a:lnTo>
                      <a:pt x="13513" y="12633"/>
                    </a:lnTo>
                    <a:lnTo>
                      <a:pt x="13512" y="12554"/>
                    </a:lnTo>
                    <a:lnTo>
                      <a:pt x="13510" y="12475"/>
                    </a:lnTo>
                    <a:lnTo>
                      <a:pt x="13507" y="12397"/>
                    </a:lnTo>
                    <a:lnTo>
                      <a:pt x="13503" y="12320"/>
                    </a:lnTo>
                    <a:lnTo>
                      <a:pt x="13500" y="12243"/>
                    </a:lnTo>
                    <a:lnTo>
                      <a:pt x="13495" y="12167"/>
                    </a:lnTo>
                    <a:lnTo>
                      <a:pt x="13490" y="12091"/>
                    </a:lnTo>
                    <a:lnTo>
                      <a:pt x="13426" y="12049"/>
                    </a:lnTo>
                    <a:lnTo>
                      <a:pt x="13362" y="12006"/>
                    </a:lnTo>
                    <a:lnTo>
                      <a:pt x="13296" y="11963"/>
                    </a:lnTo>
                    <a:lnTo>
                      <a:pt x="13230" y="11920"/>
                    </a:lnTo>
                    <a:lnTo>
                      <a:pt x="13163" y="11878"/>
                    </a:lnTo>
                    <a:lnTo>
                      <a:pt x="13095" y="11838"/>
                    </a:lnTo>
                    <a:lnTo>
                      <a:pt x="13027" y="11796"/>
                    </a:lnTo>
                    <a:lnTo>
                      <a:pt x="12956" y="11755"/>
                    </a:lnTo>
                    <a:lnTo>
                      <a:pt x="12945" y="11749"/>
                    </a:lnTo>
                    <a:lnTo>
                      <a:pt x="12945" y="11749"/>
                    </a:lnTo>
                    <a:lnTo>
                      <a:pt x="12944" y="11749"/>
                    </a:lnTo>
                    <a:lnTo>
                      <a:pt x="12945" y="11748"/>
                    </a:lnTo>
                    <a:lnTo>
                      <a:pt x="12878" y="11710"/>
                    </a:lnTo>
                    <a:lnTo>
                      <a:pt x="12812" y="11673"/>
                    </a:lnTo>
                    <a:lnTo>
                      <a:pt x="12745" y="11637"/>
                    </a:lnTo>
                    <a:lnTo>
                      <a:pt x="12679" y="11601"/>
                    </a:lnTo>
                    <a:lnTo>
                      <a:pt x="12613" y="11567"/>
                    </a:lnTo>
                    <a:lnTo>
                      <a:pt x="12547" y="11533"/>
                    </a:lnTo>
                    <a:lnTo>
                      <a:pt x="12481" y="11500"/>
                    </a:lnTo>
                    <a:lnTo>
                      <a:pt x="12415" y="11468"/>
                    </a:lnTo>
                    <a:lnTo>
                      <a:pt x="12345" y="11502"/>
                    </a:lnTo>
                    <a:lnTo>
                      <a:pt x="12277" y="11535"/>
                    </a:lnTo>
                    <a:lnTo>
                      <a:pt x="12207" y="11571"/>
                    </a:lnTo>
                    <a:lnTo>
                      <a:pt x="12138" y="11608"/>
                    </a:lnTo>
                    <a:lnTo>
                      <a:pt x="12069" y="11644"/>
                    </a:lnTo>
                    <a:lnTo>
                      <a:pt x="11999" y="11683"/>
                    </a:lnTo>
                    <a:lnTo>
                      <a:pt x="11930" y="11722"/>
                    </a:lnTo>
                    <a:lnTo>
                      <a:pt x="11860" y="11761"/>
                    </a:lnTo>
                    <a:lnTo>
                      <a:pt x="11861" y="11762"/>
                    </a:lnTo>
                    <a:lnTo>
                      <a:pt x="11791" y="11802"/>
                    </a:lnTo>
                    <a:lnTo>
                      <a:pt x="11723" y="11843"/>
                    </a:lnTo>
                    <a:lnTo>
                      <a:pt x="11656" y="11884"/>
                    </a:lnTo>
                    <a:lnTo>
                      <a:pt x="11590" y="11924"/>
                    </a:lnTo>
                    <a:lnTo>
                      <a:pt x="11524" y="11966"/>
                    </a:lnTo>
                    <a:lnTo>
                      <a:pt x="11460" y="12008"/>
                    </a:lnTo>
                    <a:lnTo>
                      <a:pt x="11396" y="12051"/>
                    </a:lnTo>
                    <a:lnTo>
                      <a:pt x="11333" y="12093"/>
                    </a:lnTo>
                    <a:lnTo>
                      <a:pt x="11328" y="12169"/>
                    </a:lnTo>
                    <a:lnTo>
                      <a:pt x="11324" y="12244"/>
                    </a:lnTo>
                    <a:lnTo>
                      <a:pt x="11320" y="12322"/>
                    </a:lnTo>
                    <a:lnTo>
                      <a:pt x="11317" y="12398"/>
                    </a:lnTo>
                    <a:lnTo>
                      <a:pt x="11314" y="12476"/>
                    </a:lnTo>
                    <a:lnTo>
                      <a:pt x="11313" y="12554"/>
                    </a:lnTo>
                    <a:lnTo>
                      <a:pt x="11311" y="12633"/>
                    </a:lnTo>
                    <a:lnTo>
                      <a:pt x="11311" y="12713"/>
                    </a:lnTo>
                    <a:lnTo>
                      <a:pt x="11312" y="12792"/>
                    </a:lnTo>
                    <a:lnTo>
                      <a:pt x="11313" y="12873"/>
                    </a:lnTo>
                    <a:lnTo>
                      <a:pt x="11314" y="12952"/>
                    </a:lnTo>
                    <a:lnTo>
                      <a:pt x="11317" y="13030"/>
                    </a:lnTo>
                    <a:lnTo>
                      <a:pt x="11320" y="13109"/>
                    </a:lnTo>
                    <a:lnTo>
                      <a:pt x="11324" y="13186"/>
                    </a:lnTo>
                    <a:lnTo>
                      <a:pt x="11328" y="13264"/>
                    </a:lnTo>
                    <a:lnTo>
                      <a:pt x="11334" y="13340"/>
                    </a:lnTo>
                    <a:close/>
                    <a:moveTo>
                      <a:pt x="12908" y="14180"/>
                    </a:moveTo>
                    <a:lnTo>
                      <a:pt x="12964" y="14202"/>
                    </a:lnTo>
                    <a:lnTo>
                      <a:pt x="13020" y="14223"/>
                    </a:lnTo>
                    <a:lnTo>
                      <a:pt x="13074" y="14244"/>
                    </a:lnTo>
                    <a:lnTo>
                      <a:pt x="13129" y="14264"/>
                    </a:lnTo>
                    <a:lnTo>
                      <a:pt x="13184" y="14283"/>
                    </a:lnTo>
                    <a:lnTo>
                      <a:pt x="13239" y="14302"/>
                    </a:lnTo>
                    <a:lnTo>
                      <a:pt x="13293" y="14319"/>
                    </a:lnTo>
                    <a:lnTo>
                      <a:pt x="13347" y="14336"/>
                    </a:lnTo>
                    <a:lnTo>
                      <a:pt x="13359" y="14281"/>
                    </a:lnTo>
                    <a:lnTo>
                      <a:pt x="13370" y="14225"/>
                    </a:lnTo>
                    <a:lnTo>
                      <a:pt x="13381" y="14169"/>
                    </a:lnTo>
                    <a:lnTo>
                      <a:pt x="13393" y="14111"/>
                    </a:lnTo>
                    <a:lnTo>
                      <a:pt x="13403" y="14054"/>
                    </a:lnTo>
                    <a:lnTo>
                      <a:pt x="13413" y="13995"/>
                    </a:lnTo>
                    <a:lnTo>
                      <a:pt x="13422" y="13936"/>
                    </a:lnTo>
                    <a:lnTo>
                      <a:pt x="13431" y="13877"/>
                    </a:lnTo>
                    <a:lnTo>
                      <a:pt x="13400" y="13895"/>
                    </a:lnTo>
                    <a:lnTo>
                      <a:pt x="13369" y="13915"/>
                    </a:lnTo>
                    <a:lnTo>
                      <a:pt x="13339" y="13934"/>
                    </a:lnTo>
                    <a:lnTo>
                      <a:pt x="13307" y="13952"/>
                    </a:lnTo>
                    <a:lnTo>
                      <a:pt x="13276" y="13972"/>
                    </a:lnTo>
                    <a:lnTo>
                      <a:pt x="13244" y="13990"/>
                    </a:lnTo>
                    <a:lnTo>
                      <a:pt x="13213" y="14008"/>
                    </a:lnTo>
                    <a:lnTo>
                      <a:pt x="13181" y="14028"/>
                    </a:lnTo>
                    <a:lnTo>
                      <a:pt x="13181" y="14028"/>
                    </a:lnTo>
                    <a:lnTo>
                      <a:pt x="13181" y="14028"/>
                    </a:lnTo>
                    <a:lnTo>
                      <a:pt x="13181" y="14028"/>
                    </a:lnTo>
                    <a:lnTo>
                      <a:pt x="13169" y="14035"/>
                    </a:lnTo>
                    <a:lnTo>
                      <a:pt x="13135" y="14053"/>
                    </a:lnTo>
                    <a:lnTo>
                      <a:pt x="13103" y="14071"/>
                    </a:lnTo>
                    <a:lnTo>
                      <a:pt x="13070" y="14091"/>
                    </a:lnTo>
                    <a:lnTo>
                      <a:pt x="13038" y="14109"/>
                    </a:lnTo>
                    <a:lnTo>
                      <a:pt x="13005" y="14126"/>
                    </a:lnTo>
                    <a:lnTo>
                      <a:pt x="12973" y="14145"/>
                    </a:lnTo>
                    <a:lnTo>
                      <a:pt x="12940" y="14162"/>
                    </a:lnTo>
                    <a:lnTo>
                      <a:pt x="12908" y="14180"/>
                    </a:lnTo>
                    <a:close/>
                    <a:moveTo>
                      <a:pt x="14283" y="12717"/>
                    </a:moveTo>
                    <a:lnTo>
                      <a:pt x="14242" y="12678"/>
                    </a:lnTo>
                    <a:lnTo>
                      <a:pt x="14198" y="12640"/>
                    </a:lnTo>
                    <a:lnTo>
                      <a:pt x="14155" y="12602"/>
                    </a:lnTo>
                    <a:lnTo>
                      <a:pt x="14110" y="12564"/>
                    </a:lnTo>
                    <a:lnTo>
                      <a:pt x="14065" y="12525"/>
                    </a:lnTo>
                    <a:lnTo>
                      <a:pt x="14019" y="12488"/>
                    </a:lnTo>
                    <a:lnTo>
                      <a:pt x="13972" y="12449"/>
                    </a:lnTo>
                    <a:lnTo>
                      <a:pt x="13925" y="12411"/>
                    </a:lnTo>
                    <a:lnTo>
                      <a:pt x="13926" y="12449"/>
                    </a:lnTo>
                    <a:lnTo>
                      <a:pt x="13927" y="12486"/>
                    </a:lnTo>
                    <a:lnTo>
                      <a:pt x="13927" y="12523"/>
                    </a:lnTo>
                    <a:lnTo>
                      <a:pt x="13928" y="12561"/>
                    </a:lnTo>
                    <a:lnTo>
                      <a:pt x="13929" y="12599"/>
                    </a:lnTo>
                    <a:lnTo>
                      <a:pt x="13929" y="12636"/>
                    </a:lnTo>
                    <a:lnTo>
                      <a:pt x="13929" y="12674"/>
                    </a:lnTo>
                    <a:lnTo>
                      <a:pt x="13929" y="12713"/>
                    </a:lnTo>
                    <a:lnTo>
                      <a:pt x="13929" y="12751"/>
                    </a:lnTo>
                    <a:lnTo>
                      <a:pt x="13929" y="12790"/>
                    </a:lnTo>
                    <a:lnTo>
                      <a:pt x="13929" y="12829"/>
                    </a:lnTo>
                    <a:lnTo>
                      <a:pt x="13928" y="12869"/>
                    </a:lnTo>
                    <a:lnTo>
                      <a:pt x="13927" y="12907"/>
                    </a:lnTo>
                    <a:lnTo>
                      <a:pt x="13926" y="12946"/>
                    </a:lnTo>
                    <a:lnTo>
                      <a:pt x="13925" y="12984"/>
                    </a:lnTo>
                    <a:lnTo>
                      <a:pt x="13924" y="13022"/>
                    </a:lnTo>
                    <a:lnTo>
                      <a:pt x="13972" y="12985"/>
                    </a:lnTo>
                    <a:lnTo>
                      <a:pt x="14019" y="12946"/>
                    </a:lnTo>
                    <a:lnTo>
                      <a:pt x="14065" y="12908"/>
                    </a:lnTo>
                    <a:lnTo>
                      <a:pt x="14110" y="12870"/>
                    </a:lnTo>
                    <a:lnTo>
                      <a:pt x="14154" y="12832"/>
                    </a:lnTo>
                    <a:lnTo>
                      <a:pt x="14198" y="12793"/>
                    </a:lnTo>
                    <a:lnTo>
                      <a:pt x="14242" y="12755"/>
                    </a:lnTo>
                    <a:lnTo>
                      <a:pt x="14283" y="12717"/>
                    </a:lnTo>
                    <a:close/>
                    <a:moveTo>
                      <a:pt x="11924" y="11250"/>
                    </a:moveTo>
                    <a:lnTo>
                      <a:pt x="11867" y="11228"/>
                    </a:lnTo>
                    <a:lnTo>
                      <a:pt x="11810" y="11206"/>
                    </a:lnTo>
                    <a:lnTo>
                      <a:pt x="11754" y="11185"/>
                    </a:lnTo>
                    <a:lnTo>
                      <a:pt x="11697" y="11164"/>
                    </a:lnTo>
                    <a:lnTo>
                      <a:pt x="11641" y="11145"/>
                    </a:lnTo>
                    <a:lnTo>
                      <a:pt x="11586" y="11126"/>
                    </a:lnTo>
                    <a:lnTo>
                      <a:pt x="11530" y="11107"/>
                    </a:lnTo>
                    <a:lnTo>
                      <a:pt x="11476" y="11090"/>
                    </a:lnTo>
                    <a:lnTo>
                      <a:pt x="11464" y="11146"/>
                    </a:lnTo>
                    <a:lnTo>
                      <a:pt x="11452" y="11203"/>
                    </a:lnTo>
                    <a:lnTo>
                      <a:pt x="11441" y="11260"/>
                    </a:lnTo>
                    <a:lnTo>
                      <a:pt x="11429" y="11318"/>
                    </a:lnTo>
                    <a:lnTo>
                      <a:pt x="11419" y="11377"/>
                    </a:lnTo>
                    <a:lnTo>
                      <a:pt x="11409" y="11437"/>
                    </a:lnTo>
                    <a:lnTo>
                      <a:pt x="11400" y="11498"/>
                    </a:lnTo>
                    <a:lnTo>
                      <a:pt x="11391" y="11558"/>
                    </a:lnTo>
                    <a:lnTo>
                      <a:pt x="11423" y="11538"/>
                    </a:lnTo>
                    <a:lnTo>
                      <a:pt x="11455" y="11518"/>
                    </a:lnTo>
                    <a:lnTo>
                      <a:pt x="11487" y="11499"/>
                    </a:lnTo>
                    <a:lnTo>
                      <a:pt x="11520" y="11479"/>
                    </a:lnTo>
                    <a:lnTo>
                      <a:pt x="11552" y="11459"/>
                    </a:lnTo>
                    <a:lnTo>
                      <a:pt x="11585" y="11439"/>
                    </a:lnTo>
                    <a:lnTo>
                      <a:pt x="11619" y="11420"/>
                    </a:lnTo>
                    <a:lnTo>
                      <a:pt x="11652" y="11401"/>
                    </a:lnTo>
                    <a:lnTo>
                      <a:pt x="11652" y="11401"/>
                    </a:lnTo>
                    <a:lnTo>
                      <a:pt x="11687" y="11381"/>
                    </a:lnTo>
                    <a:lnTo>
                      <a:pt x="11720" y="11362"/>
                    </a:lnTo>
                    <a:lnTo>
                      <a:pt x="11755" y="11343"/>
                    </a:lnTo>
                    <a:lnTo>
                      <a:pt x="11788" y="11324"/>
                    </a:lnTo>
                    <a:lnTo>
                      <a:pt x="11822" y="11305"/>
                    </a:lnTo>
                    <a:lnTo>
                      <a:pt x="11856" y="11287"/>
                    </a:lnTo>
                    <a:lnTo>
                      <a:pt x="11890" y="11268"/>
                    </a:lnTo>
                    <a:lnTo>
                      <a:pt x="11924" y="11250"/>
                    </a:lnTo>
                    <a:close/>
                    <a:moveTo>
                      <a:pt x="11490" y="9115"/>
                    </a:moveTo>
                    <a:lnTo>
                      <a:pt x="11490" y="9115"/>
                    </a:lnTo>
                    <a:lnTo>
                      <a:pt x="11490" y="9115"/>
                    </a:lnTo>
                    <a:close/>
                    <a:moveTo>
                      <a:pt x="1106" y="9112"/>
                    </a:moveTo>
                    <a:lnTo>
                      <a:pt x="1028" y="9234"/>
                    </a:lnTo>
                    <a:lnTo>
                      <a:pt x="954" y="9365"/>
                    </a:lnTo>
                    <a:lnTo>
                      <a:pt x="882" y="9501"/>
                    </a:lnTo>
                    <a:lnTo>
                      <a:pt x="815" y="9644"/>
                    </a:lnTo>
                    <a:lnTo>
                      <a:pt x="751" y="9791"/>
                    </a:lnTo>
                    <a:lnTo>
                      <a:pt x="691" y="9944"/>
                    </a:lnTo>
                    <a:lnTo>
                      <a:pt x="634" y="10101"/>
                    </a:lnTo>
                    <a:lnTo>
                      <a:pt x="580" y="10262"/>
                    </a:lnTo>
                    <a:lnTo>
                      <a:pt x="529" y="10425"/>
                    </a:lnTo>
                    <a:lnTo>
                      <a:pt x="481" y="10592"/>
                    </a:lnTo>
                    <a:lnTo>
                      <a:pt x="436" y="10760"/>
                    </a:lnTo>
                    <a:lnTo>
                      <a:pt x="394" y="10929"/>
                    </a:lnTo>
                    <a:lnTo>
                      <a:pt x="355" y="11100"/>
                    </a:lnTo>
                    <a:lnTo>
                      <a:pt x="318" y="11270"/>
                    </a:lnTo>
                    <a:lnTo>
                      <a:pt x="284" y="11440"/>
                    </a:lnTo>
                    <a:lnTo>
                      <a:pt x="252" y="11610"/>
                    </a:lnTo>
                    <a:lnTo>
                      <a:pt x="224" y="11777"/>
                    </a:lnTo>
                    <a:lnTo>
                      <a:pt x="196" y="11942"/>
                    </a:lnTo>
                    <a:lnTo>
                      <a:pt x="172" y="12104"/>
                    </a:lnTo>
                    <a:lnTo>
                      <a:pt x="148" y="12262"/>
                    </a:lnTo>
                    <a:lnTo>
                      <a:pt x="128" y="12417"/>
                    </a:lnTo>
                    <a:lnTo>
                      <a:pt x="110" y="12567"/>
                    </a:lnTo>
                    <a:lnTo>
                      <a:pt x="93" y="12713"/>
                    </a:lnTo>
                    <a:lnTo>
                      <a:pt x="77" y="12851"/>
                    </a:lnTo>
                    <a:lnTo>
                      <a:pt x="64" y="12985"/>
                    </a:lnTo>
                    <a:lnTo>
                      <a:pt x="52" y="13110"/>
                    </a:lnTo>
                    <a:lnTo>
                      <a:pt x="42" y="13229"/>
                    </a:lnTo>
                    <a:lnTo>
                      <a:pt x="33" y="13339"/>
                    </a:lnTo>
                    <a:lnTo>
                      <a:pt x="18" y="13533"/>
                    </a:lnTo>
                    <a:lnTo>
                      <a:pt x="9" y="13686"/>
                    </a:lnTo>
                    <a:lnTo>
                      <a:pt x="5" y="13756"/>
                    </a:lnTo>
                    <a:lnTo>
                      <a:pt x="0" y="13865"/>
                    </a:lnTo>
                    <a:lnTo>
                      <a:pt x="1" y="13933"/>
                    </a:lnTo>
                    <a:lnTo>
                      <a:pt x="4" y="13997"/>
                    </a:lnTo>
                    <a:lnTo>
                      <a:pt x="8" y="14058"/>
                    </a:lnTo>
                    <a:lnTo>
                      <a:pt x="14" y="14115"/>
                    </a:lnTo>
                    <a:lnTo>
                      <a:pt x="21" y="14168"/>
                    </a:lnTo>
                    <a:lnTo>
                      <a:pt x="31" y="14219"/>
                    </a:lnTo>
                    <a:lnTo>
                      <a:pt x="41" y="14266"/>
                    </a:lnTo>
                    <a:lnTo>
                      <a:pt x="52" y="14310"/>
                    </a:lnTo>
                    <a:lnTo>
                      <a:pt x="64" y="14351"/>
                    </a:lnTo>
                    <a:lnTo>
                      <a:pt x="77" y="14388"/>
                    </a:lnTo>
                    <a:lnTo>
                      <a:pt x="90" y="14423"/>
                    </a:lnTo>
                    <a:lnTo>
                      <a:pt x="105" y="14455"/>
                    </a:lnTo>
                    <a:lnTo>
                      <a:pt x="120" y="14485"/>
                    </a:lnTo>
                    <a:lnTo>
                      <a:pt x="135" y="14512"/>
                    </a:lnTo>
                    <a:lnTo>
                      <a:pt x="150" y="14537"/>
                    </a:lnTo>
                    <a:lnTo>
                      <a:pt x="166" y="14559"/>
                    </a:lnTo>
                    <a:lnTo>
                      <a:pt x="182" y="14580"/>
                    </a:lnTo>
                    <a:lnTo>
                      <a:pt x="197" y="14598"/>
                    </a:lnTo>
                    <a:lnTo>
                      <a:pt x="212" y="14613"/>
                    </a:lnTo>
                    <a:lnTo>
                      <a:pt x="227" y="14628"/>
                    </a:lnTo>
                    <a:lnTo>
                      <a:pt x="241" y="14641"/>
                    </a:lnTo>
                    <a:lnTo>
                      <a:pt x="255" y="14651"/>
                    </a:lnTo>
                    <a:lnTo>
                      <a:pt x="268" y="14660"/>
                    </a:lnTo>
                    <a:lnTo>
                      <a:pt x="281" y="14668"/>
                    </a:lnTo>
                    <a:lnTo>
                      <a:pt x="302" y="14681"/>
                    </a:lnTo>
                    <a:lnTo>
                      <a:pt x="318" y="14688"/>
                    </a:lnTo>
                    <a:lnTo>
                      <a:pt x="328" y="14692"/>
                    </a:lnTo>
                    <a:lnTo>
                      <a:pt x="332" y="14693"/>
                    </a:lnTo>
                    <a:lnTo>
                      <a:pt x="590" y="14803"/>
                    </a:lnTo>
                    <a:lnTo>
                      <a:pt x="853" y="14909"/>
                    </a:lnTo>
                    <a:lnTo>
                      <a:pt x="1120" y="15009"/>
                    </a:lnTo>
                    <a:lnTo>
                      <a:pt x="1394" y="15103"/>
                    </a:lnTo>
                    <a:lnTo>
                      <a:pt x="1671" y="15192"/>
                    </a:lnTo>
                    <a:lnTo>
                      <a:pt x="1954" y="15275"/>
                    </a:lnTo>
                    <a:lnTo>
                      <a:pt x="2240" y="15354"/>
                    </a:lnTo>
                    <a:lnTo>
                      <a:pt x="2531" y="15426"/>
                    </a:lnTo>
                    <a:lnTo>
                      <a:pt x="2823" y="15493"/>
                    </a:lnTo>
                    <a:lnTo>
                      <a:pt x="3121" y="15555"/>
                    </a:lnTo>
                    <a:lnTo>
                      <a:pt x="3421" y="15612"/>
                    </a:lnTo>
                    <a:lnTo>
                      <a:pt x="3723" y="15662"/>
                    </a:lnTo>
                    <a:lnTo>
                      <a:pt x="4028" y="15708"/>
                    </a:lnTo>
                    <a:lnTo>
                      <a:pt x="4336" y="15748"/>
                    </a:lnTo>
                    <a:lnTo>
                      <a:pt x="4645" y="15783"/>
                    </a:lnTo>
                    <a:lnTo>
                      <a:pt x="4956" y="15811"/>
                    </a:lnTo>
                    <a:lnTo>
                      <a:pt x="5268" y="15835"/>
                    </a:lnTo>
                    <a:lnTo>
                      <a:pt x="5582" y="15853"/>
                    </a:lnTo>
                    <a:lnTo>
                      <a:pt x="5895" y="15866"/>
                    </a:lnTo>
                    <a:lnTo>
                      <a:pt x="6210" y="15873"/>
                    </a:lnTo>
                    <a:lnTo>
                      <a:pt x="6524" y="15875"/>
                    </a:lnTo>
                    <a:lnTo>
                      <a:pt x="6839" y="15871"/>
                    </a:lnTo>
                    <a:lnTo>
                      <a:pt x="7153" y="15862"/>
                    </a:lnTo>
                    <a:lnTo>
                      <a:pt x="7467" y="15848"/>
                    </a:lnTo>
                    <a:lnTo>
                      <a:pt x="7780" y="15827"/>
                    </a:lnTo>
                    <a:lnTo>
                      <a:pt x="8092" y="15802"/>
                    </a:lnTo>
                    <a:lnTo>
                      <a:pt x="8402" y="15771"/>
                    </a:lnTo>
                    <a:lnTo>
                      <a:pt x="8711" y="15735"/>
                    </a:lnTo>
                    <a:lnTo>
                      <a:pt x="9017" y="15693"/>
                    </a:lnTo>
                    <a:lnTo>
                      <a:pt x="9322" y="15646"/>
                    </a:lnTo>
                    <a:lnTo>
                      <a:pt x="9623" y="15593"/>
                    </a:lnTo>
                    <a:lnTo>
                      <a:pt x="9922" y="15535"/>
                    </a:lnTo>
                    <a:lnTo>
                      <a:pt x="9611" y="15267"/>
                    </a:lnTo>
                    <a:lnTo>
                      <a:pt x="9591" y="15257"/>
                    </a:lnTo>
                    <a:lnTo>
                      <a:pt x="9553" y="15239"/>
                    </a:lnTo>
                    <a:lnTo>
                      <a:pt x="9526" y="15226"/>
                    </a:lnTo>
                    <a:lnTo>
                      <a:pt x="9497" y="15212"/>
                    </a:lnTo>
                    <a:lnTo>
                      <a:pt x="9464" y="15195"/>
                    </a:lnTo>
                    <a:lnTo>
                      <a:pt x="9428" y="15176"/>
                    </a:lnTo>
                    <a:lnTo>
                      <a:pt x="9390" y="15154"/>
                    </a:lnTo>
                    <a:lnTo>
                      <a:pt x="9349" y="15130"/>
                    </a:lnTo>
                    <a:lnTo>
                      <a:pt x="9308" y="15102"/>
                    </a:lnTo>
                    <a:lnTo>
                      <a:pt x="9265" y="15072"/>
                    </a:lnTo>
                    <a:lnTo>
                      <a:pt x="9221" y="15039"/>
                    </a:lnTo>
                    <a:lnTo>
                      <a:pt x="9178" y="15002"/>
                    </a:lnTo>
                    <a:lnTo>
                      <a:pt x="9134" y="14964"/>
                    </a:lnTo>
                    <a:lnTo>
                      <a:pt x="9091" y="14921"/>
                    </a:lnTo>
                    <a:lnTo>
                      <a:pt x="9049" y="14875"/>
                    </a:lnTo>
                    <a:lnTo>
                      <a:pt x="9009" y="14825"/>
                    </a:lnTo>
                    <a:lnTo>
                      <a:pt x="8970" y="14772"/>
                    </a:lnTo>
                    <a:lnTo>
                      <a:pt x="8935" y="14716"/>
                    </a:lnTo>
                    <a:lnTo>
                      <a:pt x="8901" y="14656"/>
                    </a:lnTo>
                    <a:lnTo>
                      <a:pt x="8870" y="14592"/>
                    </a:lnTo>
                    <a:lnTo>
                      <a:pt x="8844" y="14524"/>
                    </a:lnTo>
                    <a:lnTo>
                      <a:pt x="8822" y="14451"/>
                    </a:lnTo>
                    <a:lnTo>
                      <a:pt x="8803" y="14375"/>
                    </a:lnTo>
                    <a:lnTo>
                      <a:pt x="8791" y="14295"/>
                    </a:lnTo>
                    <a:lnTo>
                      <a:pt x="8783" y="14210"/>
                    </a:lnTo>
                    <a:lnTo>
                      <a:pt x="8781" y="14120"/>
                    </a:lnTo>
                    <a:lnTo>
                      <a:pt x="8786" y="14027"/>
                    </a:lnTo>
                    <a:lnTo>
                      <a:pt x="8797" y="13928"/>
                    </a:lnTo>
                    <a:lnTo>
                      <a:pt x="8815" y="13825"/>
                    </a:lnTo>
                    <a:lnTo>
                      <a:pt x="8841" y="13716"/>
                    </a:lnTo>
                    <a:lnTo>
                      <a:pt x="8849" y="13686"/>
                    </a:lnTo>
                    <a:lnTo>
                      <a:pt x="8858" y="13656"/>
                    </a:lnTo>
                    <a:lnTo>
                      <a:pt x="8867" y="13626"/>
                    </a:lnTo>
                    <a:lnTo>
                      <a:pt x="8878" y="13596"/>
                    </a:lnTo>
                    <a:lnTo>
                      <a:pt x="8899" y="13535"/>
                    </a:lnTo>
                    <a:lnTo>
                      <a:pt x="8923" y="13474"/>
                    </a:lnTo>
                    <a:lnTo>
                      <a:pt x="8950" y="13411"/>
                    </a:lnTo>
                    <a:lnTo>
                      <a:pt x="8978" y="13349"/>
                    </a:lnTo>
                    <a:lnTo>
                      <a:pt x="9010" y="13287"/>
                    </a:lnTo>
                    <a:lnTo>
                      <a:pt x="9042" y="13224"/>
                    </a:lnTo>
                    <a:lnTo>
                      <a:pt x="9078" y="13161"/>
                    </a:lnTo>
                    <a:lnTo>
                      <a:pt x="9116" y="13099"/>
                    </a:lnTo>
                    <a:lnTo>
                      <a:pt x="9154" y="13035"/>
                    </a:lnTo>
                    <a:lnTo>
                      <a:pt x="9196" y="12971"/>
                    </a:lnTo>
                    <a:lnTo>
                      <a:pt x="9240" y="12908"/>
                    </a:lnTo>
                    <a:lnTo>
                      <a:pt x="9285" y="12845"/>
                    </a:lnTo>
                    <a:lnTo>
                      <a:pt x="9333" y="12781"/>
                    </a:lnTo>
                    <a:lnTo>
                      <a:pt x="9383" y="12718"/>
                    </a:lnTo>
                    <a:lnTo>
                      <a:pt x="9339" y="12662"/>
                    </a:lnTo>
                    <a:lnTo>
                      <a:pt x="9296" y="12605"/>
                    </a:lnTo>
                    <a:lnTo>
                      <a:pt x="9254" y="12548"/>
                    </a:lnTo>
                    <a:lnTo>
                      <a:pt x="9213" y="12489"/>
                    </a:lnTo>
                    <a:lnTo>
                      <a:pt x="9173" y="12430"/>
                    </a:lnTo>
                    <a:lnTo>
                      <a:pt x="9135" y="12369"/>
                    </a:lnTo>
                    <a:lnTo>
                      <a:pt x="9097" y="12308"/>
                    </a:lnTo>
                    <a:lnTo>
                      <a:pt x="9062" y="12247"/>
                    </a:lnTo>
                    <a:lnTo>
                      <a:pt x="9027" y="12185"/>
                    </a:lnTo>
                    <a:lnTo>
                      <a:pt x="8996" y="12122"/>
                    </a:lnTo>
                    <a:lnTo>
                      <a:pt x="8965" y="12059"/>
                    </a:lnTo>
                    <a:lnTo>
                      <a:pt x="8936" y="11996"/>
                    </a:lnTo>
                    <a:lnTo>
                      <a:pt x="8909" y="11931"/>
                    </a:lnTo>
                    <a:lnTo>
                      <a:pt x="8885" y="11867"/>
                    </a:lnTo>
                    <a:lnTo>
                      <a:pt x="8862" y="11802"/>
                    </a:lnTo>
                    <a:lnTo>
                      <a:pt x="8843" y="11738"/>
                    </a:lnTo>
                    <a:lnTo>
                      <a:pt x="8826" y="11673"/>
                    </a:lnTo>
                    <a:lnTo>
                      <a:pt x="8810" y="11608"/>
                    </a:lnTo>
                    <a:lnTo>
                      <a:pt x="8799" y="11541"/>
                    </a:lnTo>
                    <a:lnTo>
                      <a:pt x="8790" y="11476"/>
                    </a:lnTo>
                    <a:lnTo>
                      <a:pt x="8783" y="11411"/>
                    </a:lnTo>
                    <a:lnTo>
                      <a:pt x="8780" y="11346"/>
                    </a:lnTo>
                    <a:lnTo>
                      <a:pt x="8780" y="11281"/>
                    </a:lnTo>
                    <a:lnTo>
                      <a:pt x="8783" y="11215"/>
                    </a:lnTo>
                    <a:lnTo>
                      <a:pt x="8790" y="11150"/>
                    </a:lnTo>
                    <a:lnTo>
                      <a:pt x="8799" y="11085"/>
                    </a:lnTo>
                    <a:lnTo>
                      <a:pt x="8814" y="11021"/>
                    </a:lnTo>
                    <a:lnTo>
                      <a:pt x="8831" y="10957"/>
                    </a:lnTo>
                    <a:lnTo>
                      <a:pt x="8851" y="10894"/>
                    </a:lnTo>
                    <a:lnTo>
                      <a:pt x="8877" y="10830"/>
                    </a:lnTo>
                    <a:lnTo>
                      <a:pt x="8906" y="10767"/>
                    </a:lnTo>
                    <a:lnTo>
                      <a:pt x="8939" y="10705"/>
                    </a:lnTo>
                    <a:lnTo>
                      <a:pt x="8975" y="10646"/>
                    </a:lnTo>
                    <a:lnTo>
                      <a:pt x="9015" y="10589"/>
                    </a:lnTo>
                    <a:lnTo>
                      <a:pt x="9057" y="10536"/>
                    </a:lnTo>
                    <a:lnTo>
                      <a:pt x="9101" y="10486"/>
                    </a:lnTo>
                    <a:lnTo>
                      <a:pt x="9148" y="10439"/>
                    </a:lnTo>
                    <a:lnTo>
                      <a:pt x="9197" y="10395"/>
                    </a:lnTo>
                    <a:lnTo>
                      <a:pt x="9248" y="10355"/>
                    </a:lnTo>
                    <a:lnTo>
                      <a:pt x="9301" y="10317"/>
                    </a:lnTo>
                    <a:lnTo>
                      <a:pt x="9355" y="10281"/>
                    </a:lnTo>
                    <a:lnTo>
                      <a:pt x="9411" y="10249"/>
                    </a:lnTo>
                    <a:lnTo>
                      <a:pt x="9470" y="10219"/>
                    </a:lnTo>
                    <a:lnTo>
                      <a:pt x="9529" y="10192"/>
                    </a:lnTo>
                    <a:lnTo>
                      <a:pt x="9591" y="10167"/>
                    </a:lnTo>
                    <a:lnTo>
                      <a:pt x="9653" y="10145"/>
                    </a:lnTo>
                    <a:lnTo>
                      <a:pt x="9717" y="10125"/>
                    </a:lnTo>
                    <a:lnTo>
                      <a:pt x="9783" y="10107"/>
                    </a:lnTo>
                    <a:lnTo>
                      <a:pt x="9850" y="10092"/>
                    </a:lnTo>
                    <a:lnTo>
                      <a:pt x="9917" y="10079"/>
                    </a:lnTo>
                    <a:lnTo>
                      <a:pt x="9985" y="10067"/>
                    </a:lnTo>
                    <a:lnTo>
                      <a:pt x="10053" y="10058"/>
                    </a:lnTo>
                    <a:lnTo>
                      <a:pt x="10123" y="10051"/>
                    </a:lnTo>
                    <a:lnTo>
                      <a:pt x="10192" y="10046"/>
                    </a:lnTo>
                    <a:lnTo>
                      <a:pt x="10263" y="10043"/>
                    </a:lnTo>
                    <a:lnTo>
                      <a:pt x="10333" y="10041"/>
                    </a:lnTo>
                    <a:lnTo>
                      <a:pt x="10405" y="10042"/>
                    </a:lnTo>
                    <a:lnTo>
                      <a:pt x="10476" y="10043"/>
                    </a:lnTo>
                    <a:lnTo>
                      <a:pt x="10547" y="10047"/>
                    </a:lnTo>
                    <a:lnTo>
                      <a:pt x="10618" y="10051"/>
                    </a:lnTo>
                    <a:lnTo>
                      <a:pt x="10688" y="10057"/>
                    </a:lnTo>
                    <a:lnTo>
                      <a:pt x="10759" y="10065"/>
                    </a:lnTo>
                    <a:lnTo>
                      <a:pt x="10829" y="10075"/>
                    </a:lnTo>
                    <a:lnTo>
                      <a:pt x="10899" y="10084"/>
                    </a:lnTo>
                    <a:lnTo>
                      <a:pt x="11489" y="9114"/>
                    </a:lnTo>
                    <a:lnTo>
                      <a:pt x="11513" y="9092"/>
                    </a:lnTo>
                    <a:lnTo>
                      <a:pt x="11537" y="9069"/>
                    </a:lnTo>
                    <a:lnTo>
                      <a:pt x="11561" y="9047"/>
                    </a:lnTo>
                    <a:lnTo>
                      <a:pt x="11585" y="9025"/>
                    </a:lnTo>
                    <a:lnTo>
                      <a:pt x="11609" y="9005"/>
                    </a:lnTo>
                    <a:lnTo>
                      <a:pt x="11634" y="8985"/>
                    </a:lnTo>
                    <a:lnTo>
                      <a:pt x="11658" y="8965"/>
                    </a:lnTo>
                    <a:lnTo>
                      <a:pt x="11684" y="8947"/>
                    </a:lnTo>
                    <a:lnTo>
                      <a:pt x="11604" y="8880"/>
                    </a:lnTo>
                    <a:lnTo>
                      <a:pt x="11518" y="8816"/>
                    </a:lnTo>
                    <a:lnTo>
                      <a:pt x="11424" y="8754"/>
                    </a:lnTo>
                    <a:lnTo>
                      <a:pt x="11325" y="8693"/>
                    </a:lnTo>
                    <a:lnTo>
                      <a:pt x="11219" y="8634"/>
                    </a:lnTo>
                    <a:lnTo>
                      <a:pt x="11108" y="8577"/>
                    </a:lnTo>
                    <a:lnTo>
                      <a:pt x="10992" y="8522"/>
                    </a:lnTo>
                    <a:lnTo>
                      <a:pt x="10873" y="8468"/>
                    </a:lnTo>
                    <a:lnTo>
                      <a:pt x="10750" y="8416"/>
                    </a:lnTo>
                    <a:lnTo>
                      <a:pt x="10625" y="8364"/>
                    </a:lnTo>
                    <a:lnTo>
                      <a:pt x="10497" y="8314"/>
                    </a:lnTo>
                    <a:lnTo>
                      <a:pt x="10369" y="8265"/>
                    </a:lnTo>
                    <a:lnTo>
                      <a:pt x="10109" y="8166"/>
                    </a:lnTo>
                    <a:lnTo>
                      <a:pt x="9852" y="8070"/>
                    </a:lnTo>
                    <a:lnTo>
                      <a:pt x="9724" y="8021"/>
                    </a:lnTo>
                    <a:lnTo>
                      <a:pt x="9599" y="7973"/>
                    </a:lnTo>
                    <a:lnTo>
                      <a:pt x="9477" y="7924"/>
                    </a:lnTo>
                    <a:lnTo>
                      <a:pt x="9360" y="7876"/>
                    </a:lnTo>
                    <a:lnTo>
                      <a:pt x="9246" y="7827"/>
                    </a:lnTo>
                    <a:lnTo>
                      <a:pt x="9136" y="7776"/>
                    </a:lnTo>
                    <a:lnTo>
                      <a:pt x="9032" y="7725"/>
                    </a:lnTo>
                    <a:lnTo>
                      <a:pt x="8934" y="7672"/>
                    </a:lnTo>
                    <a:lnTo>
                      <a:pt x="8842" y="7619"/>
                    </a:lnTo>
                    <a:lnTo>
                      <a:pt x="8758" y="7564"/>
                    </a:lnTo>
                    <a:lnTo>
                      <a:pt x="8681" y="7508"/>
                    </a:lnTo>
                    <a:lnTo>
                      <a:pt x="8613" y="7450"/>
                    </a:lnTo>
                    <a:lnTo>
                      <a:pt x="8554" y="7390"/>
                    </a:lnTo>
                    <a:lnTo>
                      <a:pt x="8504" y="7328"/>
                    </a:lnTo>
                    <a:lnTo>
                      <a:pt x="8466" y="7263"/>
                    </a:lnTo>
                    <a:lnTo>
                      <a:pt x="8437" y="7197"/>
                    </a:lnTo>
                    <a:lnTo>
                      <a:pt x="8436" y="7202"/>
                    </a:lnTo>
                    <a:lnTo>
                      <a:pt x="8432" y="7192"/>
                    </a:lnTo>
                    <a:lnTo>
                      <a:pt x="6470" y="11277"/>
                    </a:lnTo>
                    <a:lnTo>
                      <a:pt x="4507" y="7192"/>
                    </a:lnTo>
                    <a:lnTo>
                      <a:pt x="4503" y="7202"/>
                    </a:lnTo>
                    <a:lnTo>
                      <a:pt x="4502" y="7197"/>
                    </a:lnTo>
                    <a:lnTo>
                      <a:pt x="4492" y="7224"/>
                    </a:lnTo>
                    <a:lnTo>
                      <a:pt x="4478" y="7251"/>
                    </a:lnTo>
                    <a:lnTo>
                      <a:pt x="4462" y="7279"/>
                    </a:lnTo>
                    <a:lnTo>
                      <a:pt x="4444" y="7306"/>
                    </a:lnTo>
                    <a:lnTo>
                      <a:pt x="4422" y="7334"/>
                    </a:lnTo>
                    <a:lnTo>
                      <a:pt x="4398" y="7361"/>
                    </a:lnTo>
                    <a:lnTo>
                      <a:pt x="4372" y="7389"/>
                    </a:lnTo>
                    <a:lnTo>
                      <a:pt x="4344" y="7417"/>
                    </a:lnTo>
                    <a:lnTo>
                      <a:pt x="4314" y="7445"/>
                    </a:lnTo>
                    <a:lnTo>
                      <a:pt x="4281" y="7472"/>
                    </a:lnTo>
                    <a:lnTo>
                      <a:pt x="4248" y="7500"/>
                    </a:lnTo>
                    <a:lnTo>
                      <a:pt x="4212" y="7527"/>
                    </a:lnTo>
                    <a:lnTo>
                      <a:pt x="4175" y="7554"/>
                    </a:lnTo>
                    <a:lnTo>
                      <a:pt x="4137" y="7581"/>
                    </a:lnTo>
                    <a:lnTo>
                      <a:pt x="4097" y="7608"/>
                    </a:lnTo>
                    <a:lnTo>
                      <a:pt x="4057" y="7633"/>
                    </a:lnTo>
                    <a:lnTo>
                      <a:pt x="4015" y="7660"/>
                    </a:lnTo>
                    <a:lnTo>
                      <a:pt x="3972" y="7685"/>
                    </a:lnTo>
                    <a:lnTo>
                      <a:pt x="3929" y="7709"/>
                    </a:lnTo>
                    <a:lnTo>
                      <a:pt x="3886" y="7734"/>
                    </a:lnTo>
                    <a:lnTo>
                      <a:pt x="3841" y="7757"/>
                    </a:lnTo>
                    <a:lnTo>
                      <a:pt x="3797" y="7781"/>
                    </a:lnTo>
                    <a:lnTo>
                      <a:pt x="3753" y="7803"/>
                    </a:lnTo>
                    <a:lnTo>
                      <a:pt x="3708" y="7825"/>
                    </a:lnTo>
                    <a:lnTo>
                      <a:pt x="3663" y="7846"/>
                    </a:lnTo>
                    <a:lnTo>
                      <a:pt x="3618" y="7865"/>
                    </a:lnTo>
                    <a:lnTo>
                      <a:pt x="3575" y="7885"/>
                    </a:lnTo>
                    <a:lnTo>
                      <a:pt x="3531" y="7903"/>
                    </a:lnTo>
                    <a:lnTo>
                      <a:pt x="3488" y="7921"/>
                    </a:lnTo>
                    <a:lnTo>
                      <a:pt x="3446" y="7938"/>
                    </a:lnTo>
                    <a:lnTo>
                      <a:pt x="3405" y="7953"/>
                    </a:lnTo>
                    <a:lnTo>
                      <a:pt x="3364" y="7967"/>
                    </a:lnTo>
                    <a:lnTo>
                      <a:pt x="2063" y="8469"/>
                    </a:lnTo>
                    <a:lnTo>
                      <a:pt x="2020" y="8481"/>
                    </a:lnTo>
                    <a:lnTo>
                      <a:pt x="1977" y="8494"/>
                    </a:lnTo>
                    <a:lnTo>
                      <a:pt x="1936" y="8509"/>
                    </a:lnTo>
                    <a:lnTo>
                      <a:pt x="1893" y="8526"/>
                    </a:lnTo>
                    <a:lnTo>
                      <a:pt x="1850" y="8545"/>
                    </a:lnTo>
                    <a:lnTo>
                      <a:pt x="1809" y="8565"/>
                    </a:lnTo>
                    <a:lnTo>
                      <a:pt x="1767" y="8588"/>
                    </a:lnTo>
                    <a:lnTo>
                      <a:pt x="1726" y="8610"/>
                    </a:lnTo>
                    <a:lnTo>
                      <a:pt x="1686" y="8634"/>
                    </a:lnTo>
                    <a:lnTo>
                      <a:pt x="1645" y="8659"/>
                    </a:lnTo>
                    <a:lnTo>
                      <a:pt x="1606" y="8684"/>
                    </a:lnTo>
                    <a:lnTo>
                      <a:pt x="1568" y="8711"/>
                    </a:lnTo>
                    <a:lnTo>
                      <a:pt x="1530" y="8737"/>
                    </a:lnTo>
                    <a:lnTo>
                      <a:pt x="1493" y="8764"/>
                    </a:lnTo>
                    <a:lnTo>
                      <a:pt x="1458" y="8791"/>
                    </a:lnTo>
                    <a:lnTo>
                      <a:pt x="1423" y="8818"/>
                    </a:lnTo>
                    <a:lnTo>
                      <a:pt x="1391" y="8844"/>
                    </a:lnTo>
                    <a:lnTo>
                      <a:pt x="1359" y="8871"/>
                    </a:lnTo>
                    <a:lnTo>
                      <a:pt x="1329" y="8896"/>
                    </a:lnTo>
                    <a:lnTo>
                      <a:pt x="1300" y="8922"/>
                    </a:lnTo>
                    <a:lnTo>
                      <a:pt x="1247" y="8969"/>
                    </a:lnTo>
                    <a:lnTo>
                      <a:pt x="1202" y="9012"/>
                    </a:lnTo>
                    <a:lnTo>
                      <a:pt x="1164" y="9049"/>
                    </a:lnTo>
                    <a:lnTo>
                      <a:pt x="1136" y="9079"/>
                    </a:lnTo>
                    <a:lnTo>
                      <a:pt x="1115" y="9101"/>
                    </a:lnTo>
                    <a:lnTo>
                      <a:pt x="1106" y="9112"/>
                    </a:lnTo>
                    <a:close/>
                    <a:moveTo>
                      <a:pt x="5230" y="2816"/>
                    </a:moveTo>
                    <a:lnTo>
                      <a:pt x="5262" y="2816"/>
                    </a:lnTo>
                    <a:lnTo>
                      <a:pt x="5295" y="2818"/>
                    </a:lnTo>
                    <a:lnTo>
                      <a:pt x="5327" y="2821"/>
                    </a:lnTo>
                    <a:lnTo>
                      <a:pt x="5359" y="2825"/>
                    </a:lnTo>
                    <a:lnTo>
                      <a:pt x="5390" y="2831"/>
                    </a:lnTo>
                    <a:lnTo>
                      <a:pt x="5422" y="2837"/>
                    </a:lnTo>
                    <a:lnTo>
                      <a:pt x="5452" y="2844"/>
                    </a:lnTo>
                    <a:lnTo>
                      <a:pt x="5484" y="2852"/>
                    </a:lnTo>
                    <a:lnTo>
                      <a:pt x="5513" y="2861"/>
                    </a:lnTo>
                    <a:lnTo>
                      <a:pt x="5544" y="2871"/>
                    </a:lnTo>
                    <a:lnTo>
                      <a:pt x="5573" y="2883"/>
                    </a:lnTo>
                    <a:lnTo>
                      <a:pt x="5602" y="2895"/>
                    </a:lnTo>
                    <a:lnTo>
                      <a:pt x="5630" y="2907"/>
                    </a:lnTo>
                    <a:lnTo>
                      <a:pt x="5659" y="2921"/>
                    </a:lnTo>
                    <a:lnTo>
                      <a:pt x="5687" y="2935"/>
                    </a:lnTo>
                    <a:lnTo>
                      <a:pt x="5714" y="2950"/>
                    </a:lnTo>
                    <a:lnTo>
                      <a:pt x="5741" y="2966"/>
                    </a:lnTo>
                    <a:lnTo>
                      <a:pt x="5768" y="2982"/>
                    </a:lnTo>
                    <a:lnTo>
                      <a:pt x="5793" y="3000"/>
                    </a:lnTo>
                    <a:lnTo>
                      <a:pt x="5818" y="3017"/>
                    </a:lnTo>
                    <a:lnTo>
                      <a:pt x="5843" y="3035"/>
                    </a:lnTo>
                    <a:lnTo>
                      <a:pt x="5867" y="3054"/>
                    </a:lnTo>
                    <a:lnTo>
                      <a:pt x="5891" y="3073"/>
                    </a:lnTo>
                    <a:lnTo>
                      <a:pt x="5914" y="3093"/>
                    </a:lnTo>
                    <a:lnTo>
                      <a:pt x="5936" y="3113"/>
                    </a:lnTo>
                    <a:lnTo>
                      <a:pt x="5958" y="3134"/>
                    </a:lnTo>
                    <a:lnTo>
                      <a:pt x="5979" y="3154"/>
                    </a:lnTo>
                    <a:lnTo>
                      <a:pt x="5999" y="3176"/>
                    </a:lnTo>
                    <a:lnTo>
                      <a:pt x="6019" y="3197"/>
                    </a:lnTo>
                    <a:lnTo>
                      <a:pt x="6038" y="3220"/>
                    </a:lnTo>
                    <a:lnTo>
                      <a:pt x="6056" y="3241"/>
                    </a:lnTo>
                    <a:lnTo>
                      <a:pt x="6074" y="3263"/>
                    </a:lnTo>
                    <a:lnTo>
                      <a:pt x="6916" y="3263"/>
                    </a:lnTo>
                    <a:lnTo>
                      <a:pt x="6934" y="3241"/>
                    </a:lnTo>
                    <a:lnTo>
                      <a:pt x="6952" y="3220"/>
                    </a:lnTo>
                    <a:lnTo>
                      <a:pt x="6971" y="3197"/>
                    </a:lnTo>
                    <a:lnTo>
                      <a:pt x="6992" y="3176"/>
                    </a:lnTo>
                    <a:lnTo>
                      <a:pt x="7012" y="3154"/>
                    </a:lnTo>
                    <a:lnTo>
                      <a:pt x="7033" y="3134"/>
                    </a:lnTo>
                    <a:lnTo>
                      <a:pt x="7055" y="3113"/>
                    </a:lnTo>
                    <a:lnTo>
                      <a:pt x="7077" y="3093"/>
                    </a:lnTo>
                    <a:lnTo>
                      <a:pt x="7100" y="3073"/>
                    </a:lnTo>
                    <a:lnTo>
                      <a:pt x="7124" y="3054"/>
                    </a:lnTo>
                    <a:lnTo>
                      <a:pt x="7147" y="3035"/>
                    </a:lnTo>
                    <a:lnTo>
                      <a:pt x="7173" y="3017"/>
                    </a:lnTo>
                    <a:lnTo>
                      <a:pt x="7198" y="3000"/>
                    </a:lnTo>
                    <a:lnTo>
                      <a:pt x="7223" y="2982"/>
                    </a:lnTo>
                    <a:lnTo>
                      <a:pt x="7250" y="2966"/>
                    </a:lnTo>
                    <a:lnTo>
                      <a:pt x="7276" y="2950"/>
                    </a:lnTo>
                    <a:lnTo>
                      <a:pt x="7304" y="2935"/>
                    </a:lnTo>
                    <a:lnTo>
                      <a:pt x="7331" y="2921"/>
                    </a:lnTo>
                    <a:lnTo>
                      <a:pt x="7360" y="2907"/>
                    </a:lnTo>
                    <a:lnTo>
                      <a:pt x="7388" y="2895"/>
                    </a:lnTo>
                    <a:lnTo>
                      <a:pt x="7418" y="2883"/>
                    </a:lnTo>
                    <a:lnTo>
                      <a:pt x="7447" y="2871"/>
                    </a:lnTo>
                    <a:lnTo>
                      <a:pt x="7477" y="2861"/>
                    </a:lnTo>
                    <a:lnTo>
                      <a:pt x="7507" y="2852"/>
                    </a:lnTo>
                    <a:lnTo>
                      <a:pt x="7538" y="2844"/>
                    </a:lnTo>
                    <a:lnTo>
                      <a:pt x="7569" y="2837"/>
                    </a:lnTo>
                    <a:lnTo>
                      <a:pt x="7600" y="2831"/>
                    </a:lnTo>
                    <a:lnTo>
                      <a:pt x="7631" y="2825"/>
                    </a:lnTo>
                    <a:lnTo>
                      <a:pt x="7664" y="2821"/>
                    </a:lnTo>
                    <a:lnTo>
                      <a:pt x="7695" y="2818"/>
                    </a:lnTo>
                    <a:lnTo>
                      <a:pt x="7728" y="2816"/>
                    </a:lnTo>
                    <a:lnTo>
                      <a:pt x="7761" y="2816"/>
                    </a:lnTo>
                    <a:lnTo>
                      <a:pt x="7794" y="2816"/>
                    </a:lnTo>
                    <a:lnTo>
                      <a:pt x="7826" y="2818"/>
                    </a:lnTo>
                    <a:lnTo>
                      <a:pt x="7858" y="2821"/>
                    </a:lnTo>
                    <a:lnTo>
                      <a:pt x="7890" y="2825"/>
                    </a:lnTo>
                    <a:lnTo>
                      <a:pt x="7922" y="2831"/>
                    </a:lnTo>
                    <a:lnTo>
                      <a:pt x="7953" y="2837"/>
                    </a:lnTo>
                    <a:lnTo>
                      <a:pt x="7984" y="2844"/>
                    </a:lnTo>
                    <a:lnTo>
                      <a:pt x="8014" y="2852"/>
                    </a:lnTo>
                    <a:lnTo>
                      <a:pt x="8045" y="2861"/>
                    </a:lnTo>
                    <a:lnTo>
                      <a:pt x="8075" y="2871"/>
                    </a:lnTo>
                    <a:lnTo>
                      <a:pt x="8105" y="2883"/>
                    </a:lnTo>
                    <a:lnTo>
                      <a:pt x="8133" y="2895"/>
                    </a:lnTo>
                    <a:lnTo>
                      <a:pt x="8162" y="2907"/>
                    </a:lnTo>
                    <a:lnTo>
                      <a:pt x="8190" y="2921"/>
                    </a:lnTo>
                    <a:lnTo>
                      <a:pt x="8218" y="2935"/>
                    </a:lnTo>
                    <a:lnTo>
                      <a:pt x="8245" y="2950"/>
                    </a:lnTo>
                    <a:lnTo>
                      <a:pt x="8273" y="2966"/>
                    </a:lnTo>
                    <a:lnTo>
                      <a:pt x="8299" y="2982"/>
                    </a:lnTo>
                    <a:lnTo>
                      <a:pt x="8325" y="3000"/>
                    </a:lnTo>
                    <a:lnTo>
                      <a:pt x="8350" y="3017"/>
                    </a:lnTo>
                    <a:lnTo>
                      <a:pt x="8374" y="3035"/>
                    </a:lnTo>
                    <a:lnTo>
                      <a:pt x="8399" y="3054"/>
                    </a:lnTo>
                    <a:lnTo>
                      <a:pt x="8422" y="3073"/>
                    </a:lnTo>
                    <a:lnTo>
                      <a:pt x="8446" y="3093"/>
                    </a:lnTo>
                    <a:lnTo>
                      <a:pt x="8468" y="3113"/>
                    </a:lnTo>
                    <a:lnTo>
                      <a:pt x="8489" y="3134"/>
                    </a:lnTo>
                    <a:lnTo>
                      <a:pt x="8511" y="3154"/>
                    </a:lnTo>
                    <a:lnTo>
                      <a:pt x="8531" y="3176"/>
                    </a:lnTo>
                    <a:lnTo>
                      <a:pt x="8550" y="3197"/>
                    </a:lnTo>
                    <a:lnTo>
                      <a:pt x="8570" y="3220"/>
                    </a:lnTo>
                    <a:lnTo>
                      <a:pt x="8588" y="3241"/>
                    </a:lnTo>
                    <a:lnTo>
                      <a:pt x="8605" y="3263"/>
                    </a:lnTo>
                    <a:lnTo>
                      <a:pt x="8921" y="3263"/>
                    </a:lnTo>
                    <a:lnTo>
                      <a:pt x="8935" y="3264"/>
                    </a:lnTo>
                    <a:lnTo>
                      <a:pt x="8948" y="3267"/>
                    </a:lnTo>
                    <a:lnTo>
                      <a:pt x="8961" y="3270"/>
                    </a:lnTo>
                    <a:lnTo>
                      <a:pt x="8974" y="3274"/>
                    </a:lnTo>
                    <a:lnTo>
                      <a:pt x="8986" y="3279"/>
                    </a:lnTo>
                    <a:lnTo>
                      <a:pt x="8998" y="3285"/>
                    </a:lnTo>
                    <a:lnTo>
                      <a:pt x="9010" y="3292"/>
                    </a:lnTo>
                    <a:lnTo>
                      <a:pt x="9020" y="3300"/>
                    </a:lnTo>
                    <a:lnTo>
                      <a:pt x="9031" y="3309"/>
                    </a:lnTo>
                    <a:lnTo>
                      <a:pt x="9040" y="3318"/>
                    </a:lnTo>
                    <a:lnTo>
                      <a:pt x="9049" y="3329"/>
                    </a:lnTo>
                    <a:lnTo>
                      <a:pt x="9059" y="3340"/>
                    </a:lnTo>
                    <a:lnTo>
                      <a:pt x="9066" y="3351"/>
                    </a:lnTo>
                    <a:lnTo>
                      <a:pt x="9073" y="3363"/>
                    </a:lnTo>
                    <a:lnTo>
                      <a:pt x="9079" y="3376"/>
                    </a:lnTo>
                    <a:lnTo>
                      <a:pt x="9085" y="3389"/>
                    </a:lnTo>
                    <a:lnTo>
                      <a:pt x="9096" y="3346"/>
                    </a:lnTo>
                    <a:lnTo>
                      <a:pt x="9107" y="3302"/>
                    </a:lnTo>
                    <a:lnTo>
                      <a:pt x="9118" y="3259"/>
                    </a:lnTo>
                    <a:lnTo>
                      <a:pt x="9127" y="3216"/>
                    </a:lnTo>
                    <a:lnTo>
                      <a:pt x="9136" y="3172"/>
                    </a:lnTo>
                    <a:lnTo>
                      <a:pt x="9143" y="3127"/>
                    </a:lnTo>
                    <a:lnTo>
                      <a:pt x="9151" y="3083"/>
                    </a:lnTo>
                    <a:lnTo>
                      <a:pt x="9157" y="3038"/>
                    </a:lnTo>
                    <a:lnTo>
                      <a:pt x="9163" y="2994"/>
                    </a:lnTo>
                    <a:lnTo>
                      <a:pt x="9168" y="2948"/>
                    </a:lnTo>
                    <a:lnTo>
                      <a:pt x="9172" y="2903"/>
                    </a:lnTo>
                    <a:lnTo>
                      <a:pt x="9175" y="2857"/>
                    </a:lnTo>
                    <a:lnTo>
                      <a:pt x="9179" y="2811"/>
                    </a:lnTo>
                    <a:lnTo>
                      <a:pt x="9181" y="2765"/>
                    </a:lnTo>
                    <a:lnTo>
                      <a:pt x="9182" y="2720"/>
                    </a:lnTo>
                    <a:lnTo>
                      <a:pt x="9182" y="2673"/>
                    </a:lnTo>
                    <a:lnTo>
                      <a:pt x="9182" y="2621"/>
                    </a:lnTo>
                    <a:lnTo>
                      <a:pt x="9180" y="2570"/>
                    </a:lnTo>
                    <a:lnTo>
                      <a:pt x="9178" y="2519"/>
                    </a:lnTo>
                    <a:lnTo>
                      <a:pt x="9174" y="2468"/>
                    </a:lnTo>
                    <a:lnTo>
                      <a:pt x="9170" y="2417"/>
                    </a:lnTo>
                    <a:lnTo>
                      <a:pt x="9164" y="2366"/>
                    </a:lnTo>
                    <a:lnTo>
                      <a:pt x="9158" y="2316"/>
                    </a:lnTo>
                    <a:lnTo>
                      <a:pt x="9151" y="2266"/>
                    </a:lnTo>
                    <a:lnTo>
                      <a:pt x="9143" y="2217"/>
                    </a:lnTo>
                    <a:lnTo>
                      <a:pt x="9135" y="2169"/>
                    </a:lnTo>
                    <a:lnTo>
                      <a:pt x="9125" y="2120"/>
                    </a:lnTo>
                    <a:lnTo>
                      <a:pt x="9114" y="2071"/>
                    </a:lnTo>
                    <a:lnTo>
                      <a:pt x="9102" y="2023"/>
                    </a:lnTo>
                    <a:lnTo>
                      <a:pt x="9090" y="1975"/>
                    </a:lnTo>
                    <a:lnTo>
                      <a:pt x="9077" y="1927"/>
                    </a:lnTo>
                    <a:lnTo>
                      <a:pt x="9063" y="1880"/>
                    </a:lnTo>
                    <a:lnTo>
                      <a:pt x="9053" y="1824"/>
                    </a:lnTo>
                    <a:lnTo>
                      <a:pt x="9044" y="1768"/>
                    </a:lnTo>
                    <a:lnTo>
                      <a:pt x="9034" y="1711"/>
                    </a:lnTo>
                    <a:lnTo>
                      <a:pt x="9023" y="1654"/>
                    </a:lnTo>
                    <a:lnTo>
                      <a:pt x="9011" y="1597"/>
                    </a:lnTo>
                    <a:lnTo>
                      <a:pt x="8999" y="1540"/>
                    </a:lnTo>
                    <a:lnTo>
                      <a:pt x="8984" y="1483"/>
                    </a:lnTo>
                    <a:lnTo>
                      <a:pt x="8970" y="1426"/>
                    </a:lnTo>
                    <a:lnTo>
                      <a:pt x="8955" y="1369"/>
                    </a:lnTo>
                    <a:lnTo>
                      <a:pt x="8939" y="1313"/>
                    </a:lnTo>
                    <a:lnTo>
                      <a:pt x="8922" y="1258"/>
                    </a:lnTo>
                    <a:lnTo>
                      <a:pt x="8904" y="1203"/>
                    </a:lnTo>
                    <a:lnTo>
                      <a:pt x="8885" y="1149"/>
                    </a:lnTo>
                    <a:lnTo>
                      <a:pt x="8864" y="1096"/>
                    </a:lnTo>
                    <a:lnTo>
                      <a:pt x="8844" y="1044"/>
                    </a:lnTo>
                    <a:lnTo>
                      <a:pt x="8822" y="994"/>
                    </a:lnTo>
                    <a:lnTo>
                      <a:pt x="8798" y="945"/>
                    </a:lnTo>
                    <a:lnTo>
                      <a:pt x="8774" y="897"/>
                    </a:lnTo>
                    <a:lnTo>
                      <a:pt x="8748" y="853"/>
                    </a:lnTo>
                    <a:lnTo>
                      <a:pt x="8721" y="809"/>
                    </a:lnTo>
                    <a:lnTo>
                      <a:pt x="8694" y="767"/>
                    </a:lnTo>
                    <a:lnTo>
                      <a:pt x="8664" y="727"/>
                    </a:lnTo>
                    <a:lnTo>
                      <a:pt x="8634" y="691"/>
                    </a:lnTo>
                    <a:lnTo>
                      <a:pt x="8602" y="656"/>
                    </a:lnTo>
                    <a:lnTo>
                      <a:pt x="8569" y="623"/>
                    </a:lnTo>
                    <a:lnTo>
                      <a:pt x="8534" y="594"/>
                    </a:lnTo>
                    <a:lnTo>
                      <a:pt x="8498" y="567"/>
                    </a:lnTo>
                    <a:lnTo>
                      <a:pt x="8462" y="544"/>
                    </a:lnTo>
                    <a:lnTo>
                      <a:pt x="8423" y="524"/>
                    </a:lnTo>
                    <a:lnTo>
                      <a:pt x="8382" y="506"/>
                    </a:lnTo>
                    <a:lnTo>
                      <a:pt x="8341" y="492"/>
                    </a:lnTo>
                    <a:lnTo>
                      <a:pt x="8298" y="482"/>
                    </a:lnTo>
                    <a:lnTo>
                      <a:pt x="8259" y="476"/>
                    </a:lnTo>
                    <a:lnTo>
                      <a:pt x="8221" y="470"/>
                    </a:lnTo>
                    <a:lnTo>
                      <a:pt x="8184" y="465"/>
                    </a:lnTo>
                    <a:lnTo>
                      <a:pt x="8148" y="462"/>
                    </a:lnTo>
                    <a:lnTo>
                      <a:pt x="8113" y="460"/>
                    </a:lnTo>
                    <a:lnTo>
                      <a:pt x="8080" y="460"/>
                    </a:lnTo>
                    <a:lnTo>
                      <a:pt x="8046" y="461"/>
                    </a:lnTo>
                    <a:lnTo>
                      <a:pt x="8014" y="462"/>
                    </a:lnTo>
                    <a:lnTo>
                      <a:pt x="7974" y="436"/>
                    </a:lnTo>
                    <a:lnTo>
                      <a:pt x="7933" y="409"/>
                    </a:lnTo>
                    <a:lnTo>
                      <a:pt x="7892" y="384"/>
                    </a:lnTo>
                    <a:lnTo>
                      <a:pt x="7850" y="359"/>
                    </a:lnTo>
                    <a:lnTo>
                      <a:pt x="7808" y="335"/>
                    </a:lnTo>
                    <a:lnTo>
                      <a:pt x="7765" y="312"/>
                    </a:lnTo>
                    <a:lnTo>
                      <a:pt x="7722" y="289"/>
                    </a:lnTo>
                    <a:lnTo>
                      <a:pt x="7678" y="267"/>
                    </a:lnTo>
                    <a:lnTo>
                      <a:pt x="7634" y="246"/>
                    </a:lnTo>
                    <a:lnTo>
                      <a:pt x="7589" y="226"/>
                    </a:lnTo>
                    <a:lnTo>
                      <a:pt x="7544" y="207"/>
                    </a:lnTo>
                    <a:lnTo>
                      <a:pt x="7499" y="188"/>
                    </a:lnTo>
                    <a:lnTo>
                      <a:pt x="7453" y="170"/>
                    </a:lnTo>
                    <a:lnTo>
                      <a:pt x="7406" y="153"/>
                    </a:lnTo>
                    <a:lnTo>
                      <a:pt x="7360" y="138"/>
                    </a:lnTo>
                    <a:lnTo>
                      <a:pt x="7313" y="122"/>
                    </a:lnTo>
                    <a:lnTo>
                      <a:pt x="7265" y="107"/>
                    </a:lnTo>
                    <a:lnTo>
                      <a:pt x="7217" y="94"/>
                    </a:lnTo>
                    <a:lnTo>
                      <a:pt x="7170" y="81"/>
                    </a:lnTo>
                    <a:lnTo>
                      <a:pt x="7121" y="69"/>
                    </a:lnTo>
                    <a:lnTo>
                      <a:pt x="7072" y="58"/>
                    </a:lnTo>
                    <a:lnTo>
                      <a:pt x="7022" y="49"/>
                    </a:lnTo>
                    <a:lnTo>
                      <a:pt x="6973" y="40"/>
                    </a:lnTo>
                    <a:lnTo>
                      <a:pt x="6924" y="32"/>
                    </a:lnTo>
                    <a:lnTo>
                      <a:pt x="6873" y="24"/>
                    </a:lnTo>
                    <a:lnTo>
                      <a:pt x="6823" y="17"/>
                    </a:lnTo>
                    <a:lnTo>
                      <a:pt x="6772" y="12"/>
                    </a:lnTo>
                    <a:lnTo>
                      <a:pt x="6721" y="8"/>
                    </a:lnTo>
                    <a:lnTo>
                      <a:pt x="6669" y="4"/>
                    </a:lnTo>
                    <a:lnTo>
                      <a:pt x="6618" y="2"/>
                    </a:lnTo>
                    <a:lnTo>
                      <a:pt x="6567" y="0"/>
                    </a:lnTo>
                    <a:lnTo>
                      <a:pt x="6514" y="0"/>
                    </a:lnTo>
                    <a:lnTo>
                      <a:pt x="6461" y="0"/>
                    </a:lnTo>
                    <a:lnTo>
                      <a:pt x="6408" y="2"/>
                    </a:lnTo>
                    <a:lnTo>
                      <a:pt x="6355" y="4"/>
                    </a:lnTo>
                    <a:lnTo>
                      <a:pt x="6302" y="8"/>
                    </a:lnTo>
                    <a:lnTo>
                      <a:pt x="6251" y="12"/>
                    </a:lnTo>
                    <a:lnTo>
                      <a:pt x="6199" y="17"/>
                    </a:lnTo>
                    <a:lnTo>
                      <a:pt x="6147" y="24"/>
                    </a:lnTo>
                    <a:lnTo>
                      <a:pt x="6096" y="32"/>
                    </a:lnTo>
                    <a:lnTo>
                      <a:pt x="6045" y="40"/>
                    </a:lnTo>
                    <a:lnTo>
                      <a:pt x="5994" y="49"/>
                    </a:lnTo>
                    <a:lnTo>
                      <a:pt x="5944" y="59"/>
                    </a:lnTo>
                    <a:lnTo>
                      <a:pt x="5895" y="69"/>
                    </a:lnTo>
                    <a:lnTo>
                      <a:pt x="5846" y="81"/>
                    </a:lnTo>
                    <a:lnTo>
                      <a:pt x="5797" y="95"/>
                    </a:lnTo>
                    <a:lnTo>
                      <a:pt x="5748" y="108"/>
                    </a:lnTo>
                    <a:lnTo>
                      <a:pt x="5699" y="122"/>
                    </a:lnTo>
                    <a:lnTo>
                      <a:pt x="5653" y="138"/>
                    </a:lnTo>
                    <a:lnTo>
                      <a:pt x="5605" y="154"/>
                    </a:lnTo>
                    <a:lnTo>
                      <a:pt x="5558" y="171"/>
                    </a:lnTo>
                    <a:lnTo>
                      <a:pt x="5511" y="188"/>
                    </a:lnTo>
                    <a:lnTo>
                      <a:pt x="5466" y="208"/>
                    </a:lnTo>
                    <a:lnTo>
                      <a:pt x="5420" y="227"/>
                    </a:lnTo>
                    <a:lnTo>
                      <a:pt x="5375" y="248"/>
                    </a:lnTo>
                    <a:lnTo>
                      <a:pt x="5330" y="269"/>
                    </a:lnTo>
                    <a:lnTo>
                      <a:pt x="5287" y="290"/>
                    </a:lnTo>
                    <a:lnTo>
                      <a:pt x="5243" y="313"/>
                    </a:lnTo>
                    <a:lnTo>
                      <a:pt x="5200" y="337"/>
                    </a:lnTo>
                    <a:lnTo>
                      <a:pt x="5158" y="361"/>
                    </a:lnTo>
                    <a:lnTo>
                      <a:pt x="5115" y="386"/>
                    </a:lnTo>
                    <a:lnTo>
                      <a:pt x="5073" y="411"/>
                    </a:lnTo>
                    <a:lnTo>
                      <a:pt x="5033" y="438"/>
                    </a:lnTo>
                    <a:lnTo>
                      <a:pt x="4992" y="465"/>
                    </a:lnTo>
                    <a:lnTo>
                      <a:pt x="4957" y="462"/>
                    </a:lnTo>
                    <a:lnTo>
                      <a:pt x="4922" y="460"/>
                    </a:lnTo>
                    <a:lnTo>
                      <a:pt x="4884" y="460"/>
                    </a:lnTo>
                    <a:lnTo>
                      <a:pt x="4845" y="461"/>
                    </a:lnTo>
                    <a:lnTo>
                      <a:pt x="4805" y="464"/>
                    </a:lnTo>
                    <a:lnTo>
                      <a:pt x="4763" y="469"/>
                    </a:lnTo>
                    <a:lnTo>
                      <a:pt x="4720" y="475"/>
                    </a:lnTo>
                    <a:lnTo>
                      <a:pt x="4677" y="482"/>
                    </a:lnTo>
                    <a:lnTo>
                      <a:pt x="4620" y="497"/>
                    </a:lnTo>
                    <a:lnTo>
                      <a:pt x="4565" y="517"/>
                    </a:lnTo>
                    <a:lnTo>
                      <a:pt x="4513" y="544"/>
                    </a:lnTo>
                    <a:lnTo>
                      <a:pt x="4463" y="577"/>
                    </a:lnTo>
                    <a:lnTo>
                      <a:pt x="4416" y="614"/>
                    </a:lnTo>
                    <a:lnTo>
                      <a:pt x="4372" y="657"/>
                    </a:lnTo>
                    <a:lnTo>
                      <a:pt x="4329" y="705"/>
                    </a:lnTo>
                    <a:lnTo>
                      <a:pt x="4289" y="756"/>
                    </a:lnTo>
                    <a:lnTo>
                      <a:pt x="4252" y="812"/>
                    </a:lnTo>
                    <a:lnTo>
                      <a:pt x="4216" y="871"/>
                    </a:lnTo>
                    <a:lnTo>
                      <a:pt x="4183" y="933"/>
                    </a:lnTo>
                    <a:lnTo>
                      <a:pt x="4151" y="998"/>
                    </a:lnTo>
                    <a:lnTo>
                      <a:pt x="4122" y="1066"/>
                    </a:lnTo>
                    <a:lnTo>
                      <a:pt x="4094" y="1137"/>
                    </a:lnTo>
                    <a:lnTo>
                      <a:pt x="4069" y="1209"/>
                    </a:lnTo>
                    <a:lnTo>
                      <a:pt x="4045" y="1282"/>
                    </a:lnTo>
                    <a:lnTo>
                      <a:pt x="4023" y="1358"/>
                    </a:lnTo>
                    <a:lnTo>
                      <a:pt x="4003" y="1434"/>
                    </a:lnTo>
                    <a:lnTo>
                      <a:pt x="3983" y="1511"/>
                    </a:lnTo>
                    <a:lnTo>
                      <a:pt x="3966" y="1587"/>
                    </a:lnTo>
                    <a:lnTo>
                      <a:pt x="3950" y="1664"/>
                    </a:lnTo>
                    <a:lnTo>
                      <a:pt x="3936" y="1741"/>
                    </a:lnTo>
                    <a:lnTo>
                      <a:pt x="3922" y="1816"/>
                    </a:lnTo>
                    <a:lnTo>
                      <a:pt x="3910" y="1890"/>
                    </a:lnTo>
                    <a:lnTo>
                      <a:pt x="3900" y="1963"/>
                    </a:lnTo>
                    <a:lnTo>
                      <a:pt x="3891" y="2034"/>
                    </a:lnTo>
                    <a:lnTo>
                      <a:pt x="3882" y="2103"/>
                    </a:lnTo>
                    <a:lnTo>
                      <a:pt x="3875" y="2170"/>
                    </a:lnTo>
                    <a:lnTo>
                      <a:pt x="3868" y="2234"/>
                    </a:lnTo>
                    <a:lnTo>
                      <a:pt x="3862" y="2295"/>
                    </a:lnTo>
                    <a:lnTo>
                      <a:pt x="3857" y="2352"/>
                    </a:lnTo>
                    <a:lnTo>
                      <a:pt x="3853" y="2405"/>
                    </a:lnTo>
                    <a:lnTo>
                      <a:pt x="3869" y="2311"/>
                    </a:lnTo>
                    <a:lnTo>
                      <a:pt x="3864" y="2355"/>
                    </a:lnTo>
                    <a:lnTo>
                      <a:pt x="3859" y="2400"/>
                    </a:lnTo>
                    <a:lnTo>
                      <a:pt x="3855" y="2445"/>
                    </a:lnTo>
                    <a:lnTo>
                      <a:pt x="3852" y="2490"/>
                    </a:lnTo>
                    <a:lnTo>
                      <a:pt x="3850" y="2535"/>
                    </a:lnTo>
                    <a:lnTo>
                      <a:pt x="3848" y="2581"/>
                    </a:lnTo>
                    <a:lnTo>
                      <a:pt x="3847" y="2627"/>
                    </a:lnTo>
                    <a:lnTo>
                      <a:pt x="3846" y="2673"/>
                    </a:lnTo>
                    <a:lnTo>
                      <a:pt x="3847" y="2712"/>
                    </a:lnTo>
                    <a:lnTo>
                      <a:pt x="3847" y="2752"/>
                    </a:lnTo>
                    <a:lnTo>
                      <a:pt x="3849" y="2791"/>
                    </a:lnTo>
                    <a:lnTo>
                      <a:pt x="3851" y="2831"/>
                    </a:lnTo>
                    <a:lnTo>
                      <a:pt x="3853" y="2869"/>
                    </a:lnTo>
                    <a:lnTo>
                      <a:pt x="3856" y="2908"/>
                    </a:lnTo>
                    <a:lnTo>
                      <a:pt x="3860" y="2947"/>
                    </a:lnTo>
                    <a:lnTo>
                      <a:pt x="3864" y="2985"/>
                    </a:lnTo>
                    <a:lnTo>
                      <a:pt x="3869" y="3024"/>
                    </a:lnTo>
                    <a:lnTo>
                      <a:pt x="3875" y="3062"/>
                    </a:lnTo>
                    <a:lnTo>
                      <a:pt x="3881" y="3101"/>
                    </a:lnTo>
                    <a:lnTo>
                      <a:pt x="3887" y="3138"/>
                    </a:lnTo>
                    <a:lnTo>
                      <a:pt x="3894" y="3176"/>
                    </a:lnTo>
                    <a:lnTo>
                      <a:pt x="3901" y="3214"/>
                    </a:lnTo>
                    <a:lnTo>
                      <a:pt x="3909" y="3250"/>
                    </a:lnTo>
                    <a:lnTo>
                      <a:pt x="3917" y="3288"/>
                    </a:lnTo>
                    <a:lnTo>
                      <a:pt x="3926" y="3282"/>
                    </a:lnTo>
                    <a:lnTo>
                      <a:pt x="3937" y="3278"/>
                    </a:lnTo>
                    <a:lnTo>
                      <a:pt x="3946" y="3274"/>
                    </a:lnTo>
                    <a:lnTo>
                      <a:pt x="3956" y="3270"/>
                    </a:lnTo>
                    <a:lnTo>
                      <a:pt x="3966" y="3268"/>
                    </a:lnTo>
                    <a:lnTo>
                      <a:pt x="3977" y="3266"/>
                    </a:lnTo>
                    <a:lnTo>
                      <a:pt x="3987" y="3264"/>
                    </a:lnTo>
                    <a:lnTo>
                      <a:pt x="3999" y="3263"/>
                    </a:lnTo>
                    <a:lnTo>
                      <a:pt x="4385" y="3263"/>
                    </a:lnTo>
                    <a:lnTo>
                      <a:pt x="4402" y="3241"/>
                    </a:lnTo>
                    <a:lnTo>
                      <a:pt x="4422" y="3220"/>
                    </a:lnTo>
                    <a:lnTo>
                      <a:pt x="4440" y="3197"/>
                    </a:lnTo>
                    <a:lnTo>
                      <a:pt x="4460" y="3176"/>
                    </a:lnTo>
                    <a:lnTo>
                      <a:pt x="4480" y="3154"/>
                    </a:lnTo>
                    <a:lnTo>
                      <a:pt x="4502" y="3134"/>
                    </a:lnTo>
                    <a:lnTo>
                      <a:pt x="4523" y="3113"/>
                    </a:lnTo>
                    <a:lnTo>
                      <a:pt x="4546" y="3093"/>
                    </a:lnTo>
                    <a:lnTo>
                      <a:pt x="4568" y="3073"/>
                    </a:lnTo>
                    <a:lnTo>
                      <a:pt x="4592" y="3054"/>
                    </a:lnTo>
                    <a:lnTo>
                      <a:pt x="4616" y="3035"/>
                    </a:lnTo>
                    <a:lnTo>
                      <a:pt x="4641" y="3017"/>
                    </a:lnTo>
                    <a:lnTo>
                      <a:pt x="4667" y="3000"/>
                    </a:lnTo>
                    <a:lnTo>
                      <a:pt x="4692" y="2982"/>
                    </a:lnTo>
                    <a:lnTo>
                      <a:pt x="4718" y="2966"/>
                    </a:lnTo>
                    <a:lnTo>
                      <a:pt x="4745" y="2950"/>
                    </a:lnTo>
                    <a:lnTo>
                      <a:pt x="4772" y="2935"/>
                    </a:lnTo>
                    <a:lnTo>
                      <a:pt x="4800" y="2921"/>
                    </a:lnTo>
                    <a:lnTo>
                      <a:pt x="4828" y="2907"/>
                    </a:lnTo>
                    <a:lnTo>
                      <a:pt x="4857" y="2895"/>
                    </a:lnTo>
                    <a:lnTo>
                      <a:pt x="4886" y="2883"/>
                    </a:lnTo>
                    <a:lnTo>
                      <a:pt x="4916" y="2871"/>
                    </a:lnTo>
                    <a:lnTo>
                      <a:pt x="4945" y="2861"/>
                    </a:lnTo>
                    <a:lnTo>
                      <a:pt x="4976" y="2852"/>
                    </a:lnTo>
                    <a:lnTo>
                      <a:pt x="5006" y="2844"/>
                    </a:lnTo>
                    <a:lnTo>
                      <a:pt x="5038" y="2837"/>
                    </a:lnTo>
                    <a:lnTo>
                      <a:pt x="5069" y="2831"/>
                    </a:lnTo>
                    <a:lnTo>
                      <a:pt x="5101" y="2825"/>
                    </a:lnTo>
                    <a:lnTo>
                      <a:pt x="5132" y="2821"/>
                    </a:lnTo>
                    <a:lnTo>
                      <a:pt x="5165" y="2818"/>
                    </a:lnTo>
                    <a:lnTo>
                      <a:pt x="5197" y="2816"/>
                    </a:lnTo>
                    <a:lnTo>
                      <a:pt x="5230" y="281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3C3C3C"/>
                  </a:solidFill>
                </a:endParaRPr>
              </a:p>
            </p:txBody>
          </p:sp>
          <p:sp>
            <p:nvSpPr>
              <p:cNvPr id="53" name="TextBox 52"/>
              <p:cNvSpPr txBox="1"/>
              <p:nvPr/>
            </p:nvSpPr>
            <p:spPr>
              <a:xfrm>
                <a:off x="7776356" y="3663525"/>
                <a:ext cx="965842" cy="453970"/>
              </a:xfrm>
              <a:prstGeom prst="rect">
                <a:avLst/>
              </a:prstGeom>
              <a:noFill/>
            </p:spPr>
            <p:txBody>
              <a:bodyPr wrap="square" lIns="0" rIns="0" rtlCol="0">
                <a:spAutoFit/>
              </a:bodyPr>
              <a:lstStyle>
                <a:defPPr>
                  <a:defRPr lang="ru-RU"/>
                </a:defPPr>
                <a:lvl1pPr algn="ctr">
                  <a:lnSpc>
                    <a:spcPts val="1000"/>
                  </a:lnSpc>
                  <a:defRPr sz="1000" b="1">
                    <a:solidFill>
                      <a:schemeClr val="accent3"/>
                    </a:solidFill>
                    <a:latin typeface="Arial Narrow" panose="020B0606020202030204" pitchFamily="34" charset="0"/>
                  </a:defRPr>
                </a:lvl1pPr>
              </a:lstStyle>
              <a:p>
                <a:r>
                  <a:rPr lang="ru-RU" dirty="0" smtClean="0">
                    <a:solidFill>
                      <a:srgbClr val="000000"/>
                    </a:solidFill>
                  </a:rPr>
                  <a:t>Международные профильные организации         и партнёры</a:t>
                </a:r>
                <a:endParaRPr lang="ru-RU" dirty="0">
                  <a:solidFill>
                    <a:srgbClr val="000000"/>
                  </a:solidFill>
                </a:endParaRPr>
              </a:p>
            </p:txBody>
          </p:sp>
        </p:grpSp>
        <p:cxnSp>
          <p:nvCxnSpPr>
            <p:cNvPr id="54" name="Соединительная линия уступом 53"/>
            <p:cNvCxnSpPr/>
            <p:nvPr/>
          </p:nvCxnSpPr>
          <p:spPr>
            <a:xfrm rot="10800000" flipV="1">
              <a:off x="6351342" y="1732121"/>
              <a:ext cx="1497024" cy="495198"/>
            </a:xfrm>
            <a:prstGeom prst="bentConnector3">
              <a:avLst>
                <a:gd name="adj1" fmla="val 50000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Соединительная линия уступом 55"/>
            <p:cNvCxnSpPr/>
            <p:nvPr/>
          </p:nvCxnSpPr>
          <p:spPr>
            <a:xfrm rot="10800000" flipV="1">
              <a:off x="6300197" y="3207327"/>
              <a:ext cx="1387077" cy="137732"/>
            </a:xfrm>
            <a:prstGeom prst="bentConnector3">
              <a:avLst>
                <a:gd name="adj1" fmla="val 17588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Соединительная линия уступом 56"/>
            <p:cNvCxnSpPr/>
            <p:nvPr/>
          </p:nvCxnSpPr>
          <p:spPr>
            <a:xfrm rot="10800000">
              <a:off x="6300194" y="3488352"/>
              <a:ext cx="1512066" cy="532419"/>
            </a:xfrm>
            <a:prstGeom prst="bentConnector3">
              <a:avLst>
                <a:gd name="adj1" fmla="val 23795"/>
              </a:avLst>
            </a:prstGeom>
            <a:ln w="12700">
              <a:solidFill>
                <a:srgbClr val="C00000"/>
              </a:solidFill>
              <a:prstDash val="solid"/>
              <a:headEnd type="non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57"/>
            <p:cNvSpPr txBox="1"/>
            <p:nvPr/>
          </p:nvSpPr>
          <p:spPr>
            <a:xfrm>
              <a:off x="6351342" y="2295195"/>
              <a:ext cx="1260116" cy="896399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Межотраслевые исследования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Стандартизация и НМД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Обмен опытом</a:t>
              </a:r>
            </a:p>
            <a:p>
              <a:pPr algn="ctr">
                <a:lnSpc>
                  <a:spcPts val="1100"/>
                </a:lnSpc>
                <a:spcBef>
                  <a:spcPts val="300"/>
                </a:spcBef>
              </a:pPr>
              <a:r>
                <a:rPr lang="ru-RU" sz="1100" b="1" dirty="0" smtClean="0">
                  <a:solidFill>
                    <a:schemeClr val="bg2"/>
                  </a:solidFill>
                </a:rPr>
                <a:t>Конференции      и семинары</a:t>
              </a: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2159732" y="3948662"/>
              <a:ext cx="5184576" cy="1604980"/>
            </a:xfrm>
            <a:prstGeom prst="rect">
              <a:avLst/>
            </a:prstGeom>
            <a:noFill/>
          </p:spPr>
          <p:txBody>
            <a:bodyPr wrap="square" lIns="0" rIns="0" rtlCol="0">
              <a:spAutoFit/>
            </a:bodyPr>
            <a:lstStyle/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Формирование высокопрофессиональной среды</a:t>
              </a:r>
              <a:endParaRPr lang="ru-RU" sz="1200" dirty="0">
                <a:solidFill>
                  <a:srgbClr val="3C3C3C"/>
                </a:solidFill>
              </a:endParaRP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Интеграция отраслевого научно-исследовательского потенциала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Комплексное взаимодействие </a:t>
              </a:r>
              <a:r>
                <a:rPr lang="ru-RU" sz="1200" dirty="0" smtClean="0">
                  <a:solidFill>
                    <a:srgbClr val="3C3C3C"/>
                  </a:solidFill>
                </a:rPr>
                <a:t>Общества с участниками рынка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Концентрация лучших </a:t>
              </a:r>
              <a:r>
                <a:rPr lang="ru-RU" sz="1200" dirty="0">
                  <a:solidFill>
                    <a:srgbClr val="3C3C3C"/>
                  </a:solidFill>
                </a:rPr>
                <a:t>межотраслевых методик и практик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Активное участие </a:t>
              </a:r>
              <a:r>
                <a:rPr lang="ru-RU" sz="1200" dirty="0">
                  <a:solidFill>
                    <a:srgbClr val="3C3C3C"/>
                  </a:solidFill>
                </a:rPr>
                <a:t>в создании государственных </a:t>
              </a:r>
              <a:r>
                <a:rPr lang="ru-RU" sz="1200" b="1" dirty="0" smtClean="0">
                  <a:solidFill>
                    <a:srgbClr val="F7A600"/>
                  </a:solidFill>
                </a:rPr>
                <a:t>стандартов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 smtClean="0">
                  <a:solidFill>
                    <a:srgbClr val="F7A600"/>
                  </a:solidFill>
                </a:rPr>
                <a:t>Повышение квалификации специалистов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endParaRPr lang="ru-RU" sz="1200" b="1" dirty="0" smtClean="0">
                <a:solidFill>
                  <a:srgbClr val="F7A600"/>
                </a:solidFill>
              </a:endParaRP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>
                  <a:solidFill>
                    <a:schemeClr val="accent1"/>
                  </a:solidFill>
                </a:rPr>
                <a:t>Аккредитация лабораторий в НСА</a:t>
              </a: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r>
                <a:rPr lang="ru-RU" sz="1200" b="1" dirty="0">
                  <a:solidFill>
                    <a:schemeClr val="accent1"/>
                  </a:solidFill>
                </a:rPr>
                <a:t>Проведение испытаний в испытательной лаборатории для подтверждения их соответствия требованиям безопасности, установленным в техническом </a:t>
              </a:r>
              <a:r>
                <a:rPr lang="ru-RU" sz="1200" b="1" dirty="0" smtClean="0">
                  <a:solidFill>
                    <a:schemeClr val="accent1"/>
                  </a:solidFill>
                </a:rPr>
                <a:t>регламенте</a:t>
              </a:r>
              <a:endParaRPr lang="ru-RU" sz="1200" b="1" dirty="0">
                <a:solidFill>
                  <a:schemeClr val="accent1"/>
                </a:solidFill>
              </a:endParaRPr>
            </a:p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Font typeface="Wingdings" panose="05000000000000000000" pitchFamily="2" charset="2"/>
                <a:buChar char="ü"/>
              </a:pPr>
              <a:endParaRPr lang="ru-RU" sz="1200" b="1" dirty="0" smtClean="0">
                <a:solidFill>
                  <a:srgbClr val="F7A600"/>
                </a:solidFill>
              </a:endParaRPr>
            </a:p>
          </p:txBody>
        </p:sp>
        <p:sp>
          <p:nvSpPr>
            <p:cNvPr id="78" name="Прямоугольник 77"/>
            <p:cNvSpPr/>
            <p:nvPr/>
          </p:nvSpPr>
          <p:spPr>
            <a:xfrm>
              <a:off x="350775" y="981419"/>
              <a:ext cx="8505888" cy="3462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Bef>
                  <a:spcPts val="600"/>
                </a:spcBef>
              </a:pPr>
              <a:r>
                <a:rPr lang="ru-RU" sz="1200" dirty="0">
                  <a:solidFill>
                    <a:srgbClr val="000000"/>
                  </a:solidFill>
                </a:rPr>
                <a:t/>
              </a:r>
              <a:br>
                <a:rPr lang="ru-RU" sz="1200" dirty="0">
                  <a:solidFill>
                    <a:srgbClr val="000000"/>
                  </a:solidFill>
                </a:rPr>
              </a:b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64" name="Freeform 41"/>
          <p:cNvSpPr>
            <a:spLocks noEditPoints="1"/>
          </p:cNvSpPr>
          <p:nvPr/>
        </p:nvSpPr>
        <p:spPr bwMode="auto">
          <a:xfrm>
            <a:off x="8164641" y="3061967"/>
            <a:ext cx="103187" cy="175683"/>
          </a:xfrm>
          <a:custGeom>
            <a:avLst/>
            <a:gdLst>
              <a:gd name="T0" fmla="*/ 2596 w 2938"/>
              <a:gd name="T1" fmla="*/ 2050 h 3723"/>
              <a:gd name="T2" fmla="*/ 2462 w 2938"/>
              <a:gd name="T3" fmla="*/ 1977 h 3723"/>
              <a:gd name="T4" fmla="*/ 2448 w 2938"/>
              <a:gd name="T5" fmla="*/ 1971 h 3723"/>
              <a:gd name="T6" fmla="*/ 2412 w 2938"/>
              <a:gd name="T7" fmla="*/ 1960 h 3723"/>
              <a:gd name="T8" fmla="*/ 2145 w 2938"/>
              <a:gd name="T9" fmla="*/ 1855 h 3723"/>
              <a:gd name="T10" fmla="*/ 1993 w 2938"/>
              <a:gd name="T11" fmla="*/ 1785 h 3723"/>
              <a:gd name="T12" fmla="*/ 1884 w 2938"/>
              <a:gd name="T13" fmla="*/ 1699 h 3723"/>
              <a:gd name="T14" fmla="*/ 1839 w 2938"/>
              <a:gd name="T15" fmla="*/ 1709 h 3723"/>
              <a:gd name="T16" fmla="*/ 1659 w 2938"/>
              <a:gd name="T17" fmla="*/ 1846 h 3723"/>
              <a:gd name="T18" fmla="*/ 1436 w 2938"/>
              <a:gd name="T19" fmla="*/ 1904 h 3723"/>
              <a:gd name="T20" fmla="*/ 1202 w 2938"/>
              <a:gd name="T21" fmla="*/ 1871 h 3723"/>
              <a:gd name="T22" fmla="*/ 1008 w 2938"/>
              <a:gd name="T23" fmla="*/ 1755 h 3723"/>
              <a:gd name="T24" fmla="*/ 929 w 2938"/>
              <a:gd name="T25" fmla="*/ 1680 h 3723"/>
              <a:gd name="T26" fmla="*/ 866 w 2938"/>
              <a:gd name="T27" fmla="*/ 1747 h 3723"/>
              <a:gd name="T28" fmla="*/ 683 w 2938"/>
              <a:gd name="T29" fmla="*/ 1845 h 3723"/>
              <a:gd name="T30" fmla="*/ 491 w 2938"/>
              <a:gd name="T31" fmla="*/ 1915 h 3723"/>
              <a:gd name="T32" fmla="*/ 354 w 2938"/>
              <a:gd name="T33" fmla="*/ 1971 h 3723"/>
              <a:gd name="T34" fmla="*/ 354 w 2938"/>
              <a:gd name="T35" fmla="*/ 1971 h 3723"/>
              <a:gd name="T36" fmla="*/ 312 w 2938"/>
              <a:gd name="T37" fmla="*/ 1988 h 3723"/>
              <a:gd name="T38" fmla="*/ 176 w 2938"/>
              <a:gd name="T39" fmla="*/ 2073 h 3723"/>
              <a:gd name="T40" fmla="*/ 73 w 2938"/>
              <a:gd name="T41" fmla="*/ 2216 h 3723"/>
              <a:gd name="T42" fmla="*/ 18 w 2938"/>
              <a:gd name="T43" fmla="*/ 2424 h 3723"/>
              <a:gd name="T44" fmla="*/ 141 w 2938"/>
              <a:gd name="T45" fmla="*/ 2662 h 3723"/>
              <a:gd name="T46" fmla="*/ 247 w 2938"/>
              <a:gd name="T47" fmla="*/ 2997 h 3723"/>
              <a:gd name="T48" fmla="*/ 315 w 2938"/>
              <a:gd name="T49" fmla="*/ 3353 h 3723"/>
              <a:gd name="T50" fmla="*/ 494 w 2938"/>
              <a:gd name="T51" fmla="*/ 3624 h 3723"/>
              <a:gd name="T52" fmla="*/ 1054 w 2938"/>
              <a:gd name="T53" fmla="*/ 3709 h 3723"/>
              <a:gd name="T54" fmla="*/ 1633 w 2938"/>
              <a:gd name="T55" fmla="*/ 3717 h 3723"/>
              <a:gd name="T56" fmla="*/ 2199 w 2938"/>
              <a:gd name="T57" fmla="*/ 3647 h 3723"/>
              <a:gd name="T58" fmla="*/ 2722 w 2938"/>
              <a:gd name="T59" fmla="*/ 3500 h 3723"/>
              <a:gd name="T60" fmla="*/ 2890 w 2938"/>
              <a:gd name="T61" fmla="*/ 3422 h 3723"/>
              <a:gd name="T62" fmla="*/ 2934 w 2938"/>
              <a:gd name="T63" fmla="*/ 3308 h 3723"/>
              <a:gd name="T64" fmla="*/ 2938 w 2938"/>
              <a:gd name="T65" fmla="*/ 3240 h 3723"/>
              <a:gd name="T66" fmla="*/ 2936 w 2938"/>
              <a:gd name="T67" fmla="*/ 3214 h 3723"/>
              <a:gd name="T68" fmla="*/ 2920 w 2938"/>
              <a:gd name="T69" fmla="*/ 3008 h 3723"/>
              <a:gd name="T70" fmla="*/ 2853 w 2938"/>
              <a:gd name="T71" fmla="*/ 2594 h 3723"/>
              <a:gd name="T72" fmla="*/ 2774 w 2938"/>
              <a:gd name="T73" fmla="*/ 2320 h 3723"/>
              <a:gd name="T74" fmla="*/ 1379 w 2938"/>
              <a:gd name="T75" fmla="*/ 1725 h 3723"/>
              <a:gd name="T76" fmla="*/ 1705 w 2938"/>
              <a:gd name="T77" fmla="*/ 1580 h 3723"/>
              <a:gd name="T78" fmla="*/ 1927 w 2938"/>
              <a:gd name="T79" fmla="*/ 1229 h 3723"/>
              <a:gd name="T80" fmla="*/ 2033 w 2938"/>
              <a:gd name="T81" fmla="*/ 797 h 3723"/>
              <a:gd name="T82" fmla="*/ 2007 w 2938"/>
              <a:gd name="T83" fmla="*/ 410 h 3723"/>
              <a:gd name="T84" fmla="*/ 1894 w 2938"/>
              <a:gd name="T85" fmla="*/ 220 h 3723"/>
              <a:gd name="T86" fmla="*/ 1766 w 2938"/>
              <a:gd name="T87" fmla="*/ 131 h 3723"/>
              <a:gd name="T88" fmla="*/ 1463 w 2938"/>
              <a:gd name="T89" fmla="*/ 27 h 3723"/>
              <a:gd name="T90" fmla="*/ 1313 w 2938"/>
              <a:gd name="T91" fmla="*/ 0 h 3723"/>
              <a:gd name="T92" fmla="*/ 1240 w 2938"/>
              <a:gd name="T93" fmla="*/ 6 h 3723"/>
              <a:gd name="T94" fmla="*/ 1098 w 2938"/>
              <a:gd name="T95" fmla="*/ 59 h 3723"/>
              <a:gd name="T96" fmla="*/ 952 w 2938"/>
              <a:gd name="T97" fmla="*/ 166 h 3723"/>
              <a:gd name="T98" fmla="*/ 851 w 2938"/>
              <a:gd name="T99" fmla="*/ 286 h 3723"/>
              <a:gd name="T100" fmla="*/ 776 w 2938"/>
              <a:gd name="T101" fmla="*/ 468 h 3723"/>
              <a:gd name="T102" fmla="*/ 764 w 2938"/>
              <a:gd name="T103" fmla="*/ 804 h 3723"/>
              <a:gd name="T104" fmla="*/ 851 w 2938"/>
              <a:gd name="T105" fmla="*/ 1191 h 3723"/>
              <a:gd name="T106" fmla="*/ 1028 w 2938"/>
              <a:gd name="T107" fmla="*/ 1528 h 3723"/>
              <a:gd name="T108" fmla="*/ 1291 w 2938"/>
              <a:gd name="T109" fmla="*/ 1713 h 37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938" h="3723">
                <a:moveTo>
                  <a:pt x="2676" y="2124"/>
                </a:moveTo>
                <a:lnTo>
                  <a:pt x="2673" y="2120"/>
                </a:lnTo>
                <a:lnTo>
                  <a:pt x="2663" y="2109"/>
                </a:lnTo>
                <a:lnTo>
                  <a:pt x="2647" y="2093"/>
                </a:lnTo>
                <a:lnTo>
                  <a:pt x="2626" y="2073"/>
                </a:lnTo>
                <a:lnTo>
                  <a:pt x="2611" y="2062"/>
                </a:lnTo>
                <a:lnTo>
                  <a:pt x="2596" y="2050"/>
                </a:lnTo>
                <a:lnTo>
                  <a:pt x="2579" y="2038"/>
                </a:lnTo>
                <a:lnTo>
                  <a:pt x="2559" y="2026"/>
                </a:lnTo>
                <a:lnTo>
                  <a:pt x="2538" y="2013"/>
                </a:lnTo>
                <a:lnTo>
                  <a:pt x="2515" y="2000"/>
                </a:lnTo>
                <a:lnTo>
                  <a:pt x="2490" y="1988"/>
                </a:lnTo>
                <a:lnTo>
                  <a:pt x="2462" y="1977"/>
                </a:lnTo>
                <a:lnTo>
                  <a:pt x="2462" y="1977"/>
                </a:lnTo>
                <a:lnTo>
                  <a:pt x="2455" y="1974"/>
                </a:lnTo>
                <a:lnTo>
                  <a:pt x="2455" y="1974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8" y="1971"/>
                </a:lnTo>
                <a:lnTo>
                  <a:pt x="2447" y="1971"/>
                </a:lnTo>
                <a:lnTo>
                  <a:pt x="2447" y="1971"/>
                </a:lnTo>
                <a:lnTo>
                  <a:pt x="2412" y="1960"/>
                </a:lnTo>
                <a:lnTo>
                  <a:pt x="2360" y="1936"/>
                </a:lnTo>
                <a:lnTo>
                  <a:pt x="2310" y="1915"/>
                </a:lnTo>
                <a:lnTo>
                  <a:pt x="2264" y="1897"/>
                </a:lnTo>
                <a:lnTo>
                  <a:pt x="2222" y="1881"/>
                </a:lnTo>
                <a:lnTo>
                  <a:pt x="2188" y="1869"/>
                </a:lnTo>
                <a:lnTo>
                  <a:pt x="2161" y="1860"/>
                </a:lnTo>
                <a:lnTo>
                  <a:pt x="2145" y="1855"/>
                </a:lnTo>
                <a:lnTo>
                  <a:pt x="2139" y="1853"/>
                </a:lnTo>
                <a:lnTo>
                  <a:pt x="2117" y="1845"/>
                </a:lnTo>
                <a:lnTo>
                  <a:pt x="2098" y="1837"/>
                </a:lnTo>
                <a:lnTo>
                  <a:pt x="2079" y="1828"/>
                </a:lnTo>
                <a:lnTo>
                  <a:pt x="2061" y="1821"/>
                </a:lnTo>
                <a:lnTo>
                  <a:pt x="2025" y="1803"/>
                </a:lnTo>
                <a:lnTo>
                  <a:pt x="1993" y="1785"/>
                </a:lnTo>
                <a:lnTo>
                  <a:pt x="1962" y="1765"/>
                </a:lnTo>
                <a:lnTo>
                  <a:pt x="1935" y="1747"/>
                </a:lnTo>
                <a:lnTo>
                  <a:pt x="1922" y="1737"/>
                </a:lnTo>
                <a:lnTo>
                  <a:pt x="1911" y="1728"/>
                </a:lnTo>
                <a:lnTo>
                  <a:pt x="1901" y="1717"/>
                </a:lnTo>
                <a:lnTo>
                  <a:pt x="1892" y="1708"/>
                </a:lnTo>
                <a:lnTo>
                  <a:pt x="1884" y="1699"/>
                </a:lnTo>
                <a:lnTo>
                  <a:pt x="1877" y="1689"/>
                </a:lnTo>
                <a:lnTo>
                  <a:pt x="1872" y="1680"/>
                </a:lnTo>
                <a:lnTo>
                  <a:pt x="1868" y="1671"/>
                </a:lnTo>
                <a:lnTo>
                  <a:pt x="1868" y="1672"/>
                </a:lnTo>
                <a:lnTo>
                  <a:pt x="1867" y="1670"/>
                </a:lnTo>
                <a:lnTo>
                  <a:pt x="1859" y="1685"/>
                </a:lnTo>
                <a:lnTo>
                  <a:pt x="1839" y="1709"/>
                </a:lnTo>
                <a:lnTo>
                  <a:pt x="1816" y="1733"/>
                </a:lnTo>
                <a:lnTo>
                  <a:pt x="1793" y="1755"/>
                </a:lnTo>
                <a:lnTo>
                  <a:pt x="1768" y="1775"/>
                </a:lnTo>
                <a:lnTo>
                  <a:pt x="1743" y="1796"/>
                </a:lnTo>
                <a:lnTo>
                  <a:pt x="1716" y="1813"/>
                </a:lnTo>
                <a:lnTo>
                  <a:pt x="1689" y="1830"/>
                </a:lnTo>
                <a:lnTo>
                  <a:pt x="1659" y="1846"/>
                </a:lnTo>
                <a:lnTo>
                  <a:pt x="1629" y="1859"/>
                </a:lnTo>
                <a:lnTo>
                  <a:pt x="1599" y="1871"/>
                </a:lnTo>
                <a:lnTo>
                  <a:pt x="1568" y="1881"/>
                </a:lnTo>
                <a:lnTo>
                  <a:pt x="1536" y="1889"/>
                </a:lnTo>
                <a:lnTo>
                  <a:pt x="1503" y="1897"/>
                </a:lnTo>
                <a:lnTo>
                  <a:pt x="1469" y="1901"/>
                </a:lnTo>
                <a:lnTo>
                  <a:pt x="1436" y="1904"/>
                </a:lnTo>
                <a:lnTo>
                  <a:pt x="1401" y="1905"/>
                </a:lnTo>
                <a:lnTo>
                  <a:pt x="1366" y="1904"/>
                </a:lnTo>
                <a:lnTo>
                  <a:pt x="1332" y="1901"/>
                </a:lnTo>
                <a:lnTo>
                  <a:pt x="1299" y="1897"/>
                </a:lnTo>
                <a:lnTo>
                  <a:pt x="1266" y="1889"/>
                </a:lnTo>
                <a:lnTo>
                  <a:pt x="1233" y="1881"/>
                </a:lnTo>
                <a:lnTo>
                  <a:pt x="1202" y="1871"/>
                </a:lnTo>
                <a:lnTo>
                  <a:pt x="1171" y="1859"/>
                </a:lnTo>
                <a:lnTo>
                  <a:pt x="1142" y="1846"/>
                </a:lnTo>
                <a:lnTo>
                  <a:pt x="1113" y="1830"/>
                </a:lnTo>
                <a:lnTo>
                  <a:pt x="1085" y="1813"/>
                </a:lnTo>
                <a:lnTo>
                  <a:pt x="1059" y="1796"/>
                </a:lnTo>
                <a:lnTo>
                  <a:pt x="1032" y="1775"/>
                </a:lnTo>
                <a:lnTo>
                  <a:pt x="1008" y="1755"/>
                </a:lnTo>
                <a:lnTo>
                  <a:pt x="984" y="1733"/>
                </a:lnTo>
                <a:lnTo>
                  <a:pt x="963" y="1709"/>
                </a:lnTo>
                <a:lnTo>
                  <a:pt x="941" y="1685"/>
                </a:lnTo>
                <a:lnTo>
                  <a:pt x="934" y="1670"/>
                </a:lnTo>
                <a:lnTo>
                  <a:pt x="933" y="1672"/>
                </a:lnTo>
                <a:lnTo>
                  <a:pt x="933" y="1671"/>
                </a:lnTo>
                <a:lnTo>
                  <a:pt x="929" y="1680"/>
                </a:lnTo>
                <a:lnTo>
                  <a:pt x="924" y="1689"/>
                </a:lnTo>
                <a:lnTo>
                  <a:pt x="917" y="1699"/>
                </a:lnTo>
                <a:lnTo>
                  <a:pt x="909" y="1708"/>
                </a:lnTo>
                <a:lnTo>
                  <a:pt x="901" y="1717"/>
                </a:lnTo>
                <a:lnTo>
                  <a:pt x="889" y="1728"/>
                </a:lnTo>
                <a:lnTo>
                  <a:pt x="878" y="1737"/>
                </a:lnTo>
                <a:lnTo>
                  <a:pt x="866" y="1747"/>
                </a:lnTo>
                <a:lnTo>
                  <a:pt x="839" y="1765"/>
                </a:lnTo>
                <a:lnTo>
                  <a:pt x="809" y="1785"/>
                </a:lnTo>
                <a:lnTo>
                  <a:pt x="775" y="1803"/>
                </a:lnTo>
                <a:lnTo>
                  <a:pt x="740" y="1821"/>
                </a:lnTo>
                <a:lnTo>
                  <a:pt x="723" y="1828"/>
                </a:lnTo>
                <a:lnTo>
                  <a:pt x="704" y="1837"/>
                </a:lnTo>
                <a:lnTo>
                  <a:pt x="683" y="1845"/>
                </a:lnTo>
                <a:lnTo>
                  <a:pt x="663" y="1853"/>
                </a:lnTo>
                <a:lnTo>
                  <a:pt x="657" y="1855"/>
                </a:lnTo>
                <a:lnTo>
                  <a:pt x="639" y="1860"/>
                </a:lnTo>
                <a:lnTo>
                  <a:pt x="613" y="1869"/>
                </a:lnTo>
                <a:lnTo>
                  <a:pt x="578" y="1881"/>
                </a:lnTo>
                <a:lnTo>
                  <a:pt x="537" y="1897"/>
                </a:lnTo>
                <a:lnTo>
                  <a:pt x="491" y="1915"/>
                </a:lnTo>
                <a:lnTo>
                  <a:pt x="441" y="1936"/>
                </a:lnTo>
                <a:lnTo>
                  <a:pt x="389" y="1960"/>
                </a:lnTo>
                <a:lnTo>
                  <a:pt x="376" y="1964"/>
                </a:lnTo>
                <a:lnTo>
                  <a:pt x="366" y="1968"/>
                </a:lnTo>
                <a:lnTo>
                  <a:pt x="358" y="1970"/>
                </a:lnTo>
                <a:lnTo>
                  <a:pt x="355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54" y="1971"/>
                </a:lnTo>
                <a:lnTo>
                  <a:pt x="345" y="1974"/>
                </a:lnTo>
                <a:lnTo>
                  <a:pt x="345" y="1974"/>
                </a:lnTo>
                <a:lnTo>
                  <a:pt x="338" y="1977"/>
                </a:lnTo>
                <a:lnTo>
                  <a:pt x="338" y="1977"/>
                </a:lnTo>
                <a:lnTo>
                  <a:pt x="312" y="1988"/>
                </a:lnTo>
                <a:lnTo>
                  <a:pt x="286" y="2000"/>
                </a:lnTo>
                <a:lnTo>
                  <a:pt x="263" y="2013"/>
                </a:lnTo>
                <a:lnTo>
                  <a:pt x="242" y="2026"/>
                </a:lnTo>
                <a:lnTo>
                  <a:pt x="223" y="2038"/>
                </a:lnTo>
                <a:lnTo>
                  <a:pt x="206" y="2050"/>
                </a:lnTo>
                <a:lnTo>
                  <a:pt x="190" y="2062"/>
                </a:lnTo>
                <a:lnTo>
                  <a:pt x="176" y="2073"/>
                </a:lnTo>
                <a:lnTo>
                  <a:pt x="153" y="2093"/>
                </a:lnTo>
                <a:lnTo>
                  <a:pt x="138" y="2109"/>
                </a:lnTo>
                <a:lnTo>
                  <a:pt x="129" y="2120"/>
                </a:lnTo>
                <a:lnTo>
                  <a:pt x="126" y="2124"/>
                </a:lnTo>
                <a:lnTo>
                  <a:pt x="108" y="2153"/>
                </a:lnTo>
                <a:lnTo>
                  <a:pt x="89" y="2184"/>
                </a:lnTo>
                <a:lnTo>
                  <a:pt x="73" y="2216"/>
                </a:lnTo>
                <a:lnTo>
                  <a:pt x="57" y="2251"/>
                </a:lnTo>
                <a:lnTo>
                  <a:pt x="41" y="2287"/>
                </a:lnTo>
                <a:lnTo>
                  <a:pt x="27" y="2323"/>
                </a:lnTo>
                <a:lnTo>
                  <a:pt x="13" y="2361"/>
                </a:lnTo>
                <a:lnTo>
                  <a:pt x="0" y="2399"/>
                </a:lnTo>
                <a:lnTo>
                  <a:pt x="10" y="2412"/>
                </a:lnTo>
                <a:lnTo>
                  <a:pt x="18" y="2424"/>
                </a:lnTo>
                <a:lnTo>
                  <a:pt x="26" y="2436"/>
                </a:lnTo>
                <a:lnTo>
                  <a:pt x="33" y="2449"/>
                </a:lnTo>
                <a:lnTo>
                  <a:pt x="58" y="2489"/>
                </a:lnTo>
                <a:lnTo>
                  <a:pt x="80" y="2531"/>
                </a:lnTo>
                <a:lnTo>
                  <a:pt x="101" y="2574"/>
                </a:lnTo>
                <a:lnTo>
                  <a:pt x="122" y="2617"/>
                </a:lnTo>
                <a:lnTo>
                  <a:pt x="141" y="2662"/>
                </a:lnTo>
                <a:lnTo>
                  <a:pt x="160" y="2709"/>
                </a:lnTo>
                <a:lnTo>
                  <a:pt x="176" y="2756"/>
                </a:lnTo>
                <a:lnTo>
                  <a:pt x="192" y="2803"/>
                </a:lnTo>
                <a:lnTo>
                  <a:pt x="208" y="2851"/>
                </a:lnTo>
                <a:lnTo>
                  <a:pt x="222" y="2899"/>
                </a:lnTo>
                <a:lnTo>
                  <a:pt x="235" y="2948"/>
                </a:lnTo>
                <a:lnTo>
                  <a:pt x="247" y="2997"/>
                </a:lnTo>
                <a:lnTo>
                  <a:pt x="259" y="3045"/>
                </a:lnTo>
                <a:lnTo>
                  <a:pt x="269" y="3094"/>
                </a:lnTo>
                <a:lnTo>
                  <a:pt x="279" y="3142"/>
                </a:lnTo>
                <a:lnTo>
                  <a:pt x="288" y="3190"/>
                </a:lnTo>
                <a:lnTo>
                  <a:pt x="297" y="3246"/>
                </a:lnTo>
                <a:lnTo>
                  <a:pt x="307" y="3300"/>
                </a:lnTo>
                <a:lnTo>
                  <a:pt x="315" y="3353"/>
                </a:lnTo>
                <a:lnTo>
                  <a:pt x="322" y="3403"/>
                </a:lnTo>
                <a:lnTo>
                  <a:pt x="328" y="3453"/>
                </a:lnTo>
                <a:lnTo>
                  <a:pt x="333" y="3500"/>
                </a:lnTo>
                <a:lnTo>
                  <a:pt x="337" y="3544"/>
                </a:lnTo>
                <a:lnTo>
                  <a:pt x="341" y="3586"/>
                </a:lnTo>
                <a:lnTo>
                  <a:pt x="417" y="3605"/>
                </a:lnTo>
                <a:lnTo>
                  <a:pt x="494" y="3624"/>
                </a:lnTo>
                <a:lnTo>
                  <a:pt x="572" y="3641"/>
                </a:lnTo>
                <a:lnTo>
                  <a:pt x="651" y="3656"/>
                </a:lnTo>
                <a:lnTo>
                  <a:pt x="730" y="3670"/>
                </a:lnTo>
                <a:lnTo>
                  <a:pt x="810" y="3682"/>
                </a:lnTo>
                <a:lnTo>
                  <a:pt x="890" y="3693"/>
                </a:lnTo>
                <a:lnTo>
                  <a:pt x="972" y="3702"/>
                </a:lnTo>
                <a:lnTo>
                  <a:pt x="1054" y="3709"/>
                </a:lnTo>
                <a:lnTo>
                  <a:pt x="1136" y="3715"/>
                </a:lnTo>
                <a:lnTo>
                  <a:pt x="1219" y="3719"/>
                </a:lnTo>
                <a:lnTo>
                  <a:pt x="1302" y="3722"/>
                </a:lnTo>
                <a:lnTo>
                  <a:pt x="1384" y="3723"/>
                </a:lnTo>
                <a:lnTo>
                  <a:pt x="1467" y="3723"/>
                </a:lnTo>
                <a:lnTo>
                  <a:pt x="1550" y="3721"/>
                </a:lnTo>
                <a:lnTo>
                  <a:pt x="1633" y="3717"/>
                </a:lnTo>
                <a:lnTo>
                  <a:pt x="1715" y="3712"/>
                </a:lnTo>
                <a:lnTo>
                  <a:pt x="1797" y="3705"/>
                </a:lnTo>
                <a:lnTo>
                  <a:pt x="1879" y="3697"/>
                </a:lnTo>
                <a:lnTo>
                  <a:pt x="1959" y="3686"/>
                </a:lnTo>
                <a:lnTo>
                  <a:pt x="2040" y="3675"/>
                </a:lnTo>
                <a:lnTo>
                  <a:pt x="2119" y="3662"/>
                </a:lnTo>
                <a:lnTo>
                  <a:pt x="2199" y="3647"/>
                </a:lnTo>
                <a:lnTo>
                  <a:pt x="2277" y="3630"/>
                </a:lnTo>
                <a:lnTo>
                  <a:pt x="2354" y="3613"/>
                </a:lnTo>
                <a:lnTo>
                  <a:pt x="2430" y="3594"/>
                </a:lnTo>
                <a:lnTo>
                  <a:pt x="2505" y="3572"/>
                </a:lnTo>
                <a:lnTo>
                  <a:pt x="2579" y="3550"/>
                </a:lnTo>
                <a:lnTo>
                  <a:pt x="2651" y="3526"/>
                </a:lnTo>
                <a:lnTo>
                  <a:pt x="2722" y="3500"/>
                </a:lnTo>
                <a:lnTo>
                  <a:pt x="2791" y="3473"/>
                </a:lnTo>
                <a:lnTo>
                  <a:pt x="2859" y="3443"/>
                </a:lnTo>
                <a:lnTo>
                  <a:pt x="2862" y="3442"/>
                </a:lnTo>
                <a:lnTo>
                  <a:pt x="2871" y="3438"/>
                </a:lnTo>
                <a:lnTo>
                  <a:pt x="2877" y="3434"/>
                </a:lnTo>
                <a:lnTo>
                  <a:pt x="2884" y="3429"/>
                </a:lnTo>
                <a:lnTo>
                  <a:pt x="2890" y="3422"/>
                </a:lnTo>
                <a:lnTo>
                  <a:pt x="2898" y="3413"/>
                </a:lnTo>
                <a:lnTo>
                  <a:pt x="2905" y="3401"/>
                </a:lnTo>
                <a:lnTo>
                  <a:pt x="2912" y="3388"/>
                </a:lnTo>
                <a:lnTo>
                  <a:pt x="2919" y="3372"/>
                </a:lnTo>
                <a:lnTo>
                  <a:pt x="2925" y="3354"/>
                </a:lnTo>
                <a:lnTo>
                  <a:pt x="2930" y="3332"/>
                </a:lnTo>
                <a:lnTo>
                  <a:pt x="2934" y="3308"/>
                </a:lnTo>
                <a:lnTo>
                  <a:pt x="2937" y="3279"/>
                </a:lnTo>
                <a:lnTo>
                  <a:pt x="2938" y="3248"/>
                </a:lnTo>
                <a:lnTo>
                  <a:pt x="2938" y="3248"/>
                </a:lnTo>
                <a:lnTo>
                  <a:pt x="2938" y="3248"/>
                </a:lnTo>
                <a:lnTo>
                  <a:pt x="2938" y="3246"/>
                </a:lnTo>
                <a:lnTo>
                  <a:pt x="2938" y="3244"/>
                </a:lnTo>
                <a:lnTo>
                  <a:pt x="2938" y="3240"/>
                </a:lnTo>
                <a:lnTo>
                  <a:pt x="2937" y="3234"/>
                </a:lnTo>
                <a:lnTo>
                  <a:pt x="2937" y="3234"/>
                </a:lnTo>
                <a:lnTo>
                  <a:pt x="2937" y="3228"/>
                </a:lnTo>
                <a:lnTo>
                  <a:pt x="2937" y="3228"/>
                </a:lnTo>
                <a:lnTo>
                  <a:pt x="2937" y="3222"/>
                </a:lnTo>
                <a:lnTo>
                  <a:pt x="2937" y="3222"/>
                </a:lnTo>
                <a:lnTo>
                  <a:pt x="2936" y="3214"/>
                </a:lnTo>
                <a:lnTo>
                  <a:pt x="2936" y="3214"/>
                </a:lnTo>
                <a:lnTo>
                  <a:pt x="2936" y="3205"/>
                </a:lnTo>
                <a:lnTo>
                  <a:pt x="2936" y="3205"/>
                </a:lnTo>
                <a:lnTo>
                  <a:pt x="2934" y="3169"/>
                </a:lnTo>
                <a:lnTo>
                  <a:pt x="2930" y="3123"/>
                </a:lnTo>
                <a:lnTo>
                  <a:pt x="2926" y="3069"/>
                </a:lnTo>
                <a:lnTo>
                  <a:pt x="2920" y="3008"/>
                </a:lnTo>
                <a:lnTo>
                  <a:pt x="2912" y="2941"/>
                </a:lnTo>
                <a:lnTo>
                  <a:pt x="2902" y="2869"/>
                </a:lnTo>
                <a:lnTo>
                  <a:pt x="2891" y="2793"/>
                </a:lnTo>
                <a:lnTo>
                  <a:pt x="2878" y="2714"/>
                </a:lnTo>
                <a:lnTo>
                  <a:pt x="2871" y="2674"/>
                </a:lnTo>
                <a:lnTo>
                  <a:pt x="2862" y="2634"/>
                </a:lnTo>
                <a:lnTo>
                  <a:pt x="2853" y="2594"/>
                </a:lnTo>
                <a:lnTo>
                  <a:pt x="2844" y="2553"/>
                </a:lnTo>
                <a:lnTo>
                  <a:pt x="2834" y="2514"/>
                </a:lnTo>
                <a:lnTo>
                  <a:pt x="2824" y="2474"/>
                </a:lnTo>
                <a:lnTo>
                  <a:pt x="2812" y="2434"/>
                </a:lnTo>
                <a:lnTo>
                  <a:pt x="2800" y="2395"/>
                </a:lnTo>
                <a:lnTo>
                  <a:pt x="2787" y="2358"/>
                </a:lnTo>
                <a:lnTo>
                  <a:pt x="2774" y="2320"/>
                </a:lnTo>
                <a:lnTo>
                  <a:pt x="2759" y="2285"/>
                </a:lnTo>
                <a:lnTo>
                  <a:pt x="2744" y="2249"/>
                </a:lnTo>
                <a:lnTo>
                  <a:pt x="2729" y="2215"/>
                </a:lnTo>
                <a:lnTo>
                  <a:pt x="2711" y="2184"/>
                </a:lnTo>
                <a:lnTo>
                  <a:pt x="2694" y="2152"/>
                </a:lnTo>
                <a:lnTo>
                  <a:pt x="2676" y="2124"/>
                </a:lnTo>
                <a:close/>
                <a:moveTo>
                  <a:pt x="1379" y="1725"/>
                </a:moveTo>
                <a:lnTo>
                  <a:pt x="1432" y="1721"/>
                </a:lnTo>
                <a:lnTo>
                  <a:pt x="1482" y="1712"/>
                </a:lnTo>
                <a:lnTo>
                  <a:pt x="1531" y="1696"/>
                </a:lnTo>
                <a:lnTo>
                  <a:pt x="1577" y="1675"/>
                </a:lnTo>
                <a:lnTo>
                  <a:pt x="1622" y="1648"/>
                </a:lnTo>
                <a:lnTo>
                  <a:pt x="1665" y="1617"/>
                </a:lnTo>
                <a:lnTo>
                  <a:pt x="1705" y="1580"/>
                </a:lnTo>
                <a:lnTo>
                  <a:pt x="1744" y="1539"/>
                </a:lnTo>
                <a:lnTo>
                  <a:pt x="1781" y="1495"/>
                </a:lnTo>
                <a:lnTo>
                  <a:pt x="1814" y="1448"/>
                </a:lnTo>
                <a:lnTo>
                  <a:pt x="1846" y="1397"/>
                </a:lnTo>
                <a:lnTo>
                  <a:pt x="1875" y="1343"/>
                </a:lnTo>
                <a:lnTo>
                  <a:pt x="1903" y="1287"/>
                </a:lnTo>
                <a:lnTo>
                  <a:pt x="1927" y="1229"/>
                </a:lnTo>
                <a:lnTo>
                  <a:pt x="1950" y="1170"/>
                </a:lnTo>
                <a:lnTo>
                  <a:pt x="1970" y="1109"/>
                </a:lnTo>
                <a:lnTo>
                  <a:pt x="1988" y="1046"/>
                </a:lnTo>
                <a:lnTo>
                  <a:pt x="2003" y="984"/>
                </a:lnTo>
                <a:lnTo>
                  <a:pt x="2015" y="921"/>
                </a:lnTo>
                <a:lnTo>
                  <a:pt x="2025" y="859"/>
                </a:lnTo>
                <a:lnTo>
                  <a:pt x="2033" y="797"/>
                </a:lnTo>
                <a:lnTo>
                  <a:pt x="2038" y="736"/>
                </a:lnTo>
                <a:lnTo>
                  <a:pt x="2040" y="676"/>
                </a:lnTo>
                <a:lnTo>
                  <a:pt x="2039" y="618"/>
                </a:lnTo>
                <a:lnTo>
                  <a:pt x="2035" y="562"/>
                </a:lnTo>
                <a:lnTo>
                  <a:pt x="2029" y="509"/>
                </a:lnTo>
                <a:lnTo>
                  <a:pt x="2019" y="458"/>
                </a:lnTo>
                <a:lnTo>
                  <a:pt x="2007" y="410"/>
                </a:lnTo>
                <a:lnTo>
                  <a:pt x="1992" y="365"/>
                </a:lnTo>
                <a:lnTo>
                  <a:pt x="1973" y="325"/>
                </a:lnTo>
                <a:lnTo>
                  <a:pt x="1953" y="288"/>
                </a:lnTo>
                <a:lnTo>
                  <a:pt x="1929" y="256"/>
                </a:lnTo>
                <a:lnTo>
                  <a:pt x="1920" y="246"/>
                </a:lnTo>
                <a:lnTo>
                  <a:pt x="1905" y="230"/>
                </a:lnTo>
                <a:lnTo>
                  <a:pt x="1894" y="220"/>
                </a:lnTo>
                <a:lnTo>
                  <a:pt x="1882" y="209"/>
                </a:lnTo>
                <a:lnTo>
                  <a:pt x="1867" y="196"/>
                </a:lnTo>
                <a:lnTo>
                  <a:pt x="1851" y="184"/>
                </a:lnTo>
                <a:lnTo>
                  <a:pt x="1834" y="171"/>
                </a:lnTo>
                <a:lnTo>
                  <a:pt x="1813" y="158"/>
                </a:lnTo>
                <a:lnTo>
                  <a:pt x="1791" y="144"/>
                </a:lnTo>
                <a:lnTo>
                  <a:pt x="1766" y="131"/>
                </a:lnTo>
                <a:lnTo>
                  <a:pt x="1740" y="119"/>
                </a:lnTo>
                <a:lnTo>
                  <a:pt x="1711" y="107"/>
                </a:lnTo>
                <a:lnTo>
                  <a:pt x="1680" y="95"/>
                </a:lnTo>
                <a:lnTo>
                  <a:pt x="1648" y="84"/>
                </a:lnTo>
                <a:lnTo>
                  <a:pt x="1560" y="55"/>
                </a:lnTo>
                <a:lnTo>
                  <a:pt x="1509" y="40"/>
                </a:lnTo>
                <a:lnTo>
                  <a:pt x="1463" y="27"/>
                </a:lnTo>
                <a:lnTo>
                  <a:pt x="1423" y="18"/>
                </a:lnTo>
                <a:lnTo>
                  <a:pt x="1390" y="11"/>
                </a:lnTo>
                <a:lnTo>
                  <a:pt x="1362" y="6"/>
                </a:lnTo>
                <a:lnTo>
                  <a:pt x="1342" y="3"/>
                </a:lnTo>
                <a:lnTo>
                  <a:pt x="1328" y="1"/>
                </a:lnTo>
                <a:lnTo>
                  <a:pt x="1322" y="0"/>
                </a:lnTo>
                <a:lnTo>
                  <a:pt x="1313" y="0"/>
                </a:lnTo>
                <a:lnTo>
                  <a:pt x="1303" y="2"/>
                </a:lnTo>
                <a:lnTo>
                  <a:pt x="1297" y="4"/>
                </a:lnTo>
                <a:lnTo>
                  <a:pt x="1289" y="5"/>
                </a:lnTo>
                <a:lnTo>
                  <a:pt x="1278" y="6"/>
                </a:lnTo>
                <a:lnTo>
                  <a:pt x="1268" y="6"/>
                </a:lnTo>
                <a:lnTo>
                  <a:pt x="1254" y="5"/>
                </a:lnTo>
                <a:lnTo>
                  <a:pt x="1240" y="6"/>
                </a:lnTo>
                <a:lnTo>
                  <a:pt x="1225" y="8"/>
                </a:lnTo>
                <a:lnTo>
                  <a:pt x="1211" y="11"/>
                </a:lnTo>
                <a:lnTo>
                  <a:pt x="1187" y="17"/>
                </a:lnTo>
                <a:lnTo>
                  <a:pt x="1173" y="22"/>
                </a:lnTo>
                <a:lnTo>
                  <a:pt x="1157" y="29"/>
                </a:lnTo>
                <a:lnTo>
                  <a:pt x="1121" y="46"/>
                </a:lnTo>
                <a:lnTo>
                  <a:pt x="1098" y="59"/>
                </a:lnTo>
                <a:lnTo>
                  <a:pt x="1072" y="74"/>
                </a:lnTo>
                <a:lnTo>
                  <a:pt x="1044" y="92"/>
                </a:lnTo>
                <a:lnTo>
                  <a:pt x="1013" y="114"/>
                </a:lnTo>
                <a:lnTo>
                  <a:pt x="998" y="125"/>
                </a:lnTo>
                <a:lnTo>
                  <a:pt x="982" y="138"/>
                </a:lnTo>
                <a:lnTo>
                  <a:pt x="967" y="152"/>
                </a:lnTo>
                <a:lnTo>
                  <a:pt x="952" y="166"/>
                </a:lnTo>
                <a:lnTo>
                  <a:pt x="935" y="180"/>
                </a:lnTo>
                <a:lnTo>
                  <a:pt x="921" y="195"/>
                </a:lnTo>
                <a:lnTo>
                  <a:pt x="906" y="212"/>
                </a:lnTo>
                <a:lnTo>
                  <a:pt x="891" y="229"/>
                </a:lnTo>
                <a:lnTo>
                  <a:pt x="877" y="247"/>
                </a:lnTo>
                <a:lnTo>
                  <a:pt x="864" y="266"/>
                </a:lnTo>
                <a:lnTo>
                  <a:pt x="851" y="286"/>
                </a:lnTo>
                <a:lnTo>
                  <a:pt x="838" y="306"/>
                </a:lnTo>
                <a:lnTo>
                  <a:pt x="827" y="328"/>
                </a:lnTo>
                <a:lnTo>
                  <a:pt x="817" y="349"/>
                </a:lnTo>
                <a:lnTo>
                  <a:pt x="808" y="372"/>
                </a:lnTo>
                <a:lnTo>
                  <a:pt x="800" y="396"/>
                </a:lnTo>
                <a:lnTo>
                  <a:pt x="786" y="431"/>
                </a:lnTo>
                <a:lnTo>
                  <a:pt x="776" y="468"/>
                </a:lnTo>
                <a:lnTo>
                  <a:pt x="768" y="509"/>
                </a:lnTo>
                <a:lnTo>
                  <a:pt x="762" y="553"/>
                </a:lnTo>
                <a:lnTo>
                  <a:pt x="758" y="600"/>
                </a:lnTo>
                <a:lnTo>
                  <a:pt x="757" y="648"/>
                </a:lnTo>
                <a:lnTo>
                  <a:pt x="757" y="698"/>
                </a:lnTo>
                <a:lnTo>
                  <a:pt x="759" y="750"/>
                </a:lnTo>
                <a:lnTo>
                  <a:pt x="764" y="804"/>
                </a:lnTo>
                <a:lnTo>
                  <a:pt x="770" y="858"/>
                </a:lnTo>
                <a:lnTo>
                  <a:pt x="778" y="914"/>
                </a:lnTo>
                <a:lnTo>
                  <a:pt x="788" y="969"/>
                </a:lnTo>
                <a:lnTo>
                  <a:pt x="802" y="1025"/>
                </a:lnTo>
                <a:lnTo>
                  <a:pt x="816" y="1081"/>
                </a:lnTo>
                <a:lnTo>
                  <a:pt x="832" y="1136"/>
                </a:lnTo>
                <a:lnTo>
                  <a:pt x="851" y="1191"/>
                </a:lnTo>
                <a:lnTo>
                  <a:pt x="870" y="1245"/>
                </a:lnTo>
                <a:lnTo>
                  <a:pt x="892" y="1297"/>
                </a:lnTo>
                <a:lnTo>
                  <a:pt x="916" y="1348"/>
                </a:lnTo>
                <a:lnTo>
                  <a:pt x="941" y="1397"/>
                </a:lnTo>
                <a:lnTo>
                  <a:pt x="969" y="1443"/>
                </a:lnTo>
                <a:lnTo>
                  <a:pt x="998" y="1486"/>
                </a:lnTo>
                <a:lnTo>
                  <a:pt x="1028" y="1528"/>
                </a:lnTo>
                <a:lnTo>
                  <a:pt x="1061" y="1566"/>
                </a:lnTo>
                <a:lnTo>
                  <a:pt x="1096" y="1601"/>
                </a:lnTo>
                <a:lnTo>
                  <a:pt x="1131" y="1632"/>
                </a:lnTo>
                <a:lnTo>
                  <a:pt x="1168" y="1659"/>
                </a:lnTo>
                <a:lnTo>
                  <a:pt x="1208" y="1682"/>
                </a:lnTo>
                <a:lnTo>
                  <a:pt x="1249" y="1700"/>
                </a:lnTo>
                <a:lnTo>
                  <a:pt x="1291" y="1713"/>
                </a:lnTo>
                <a:lnTo>
                  <a:pt x="1334" y="1723"/>
                </a:lnTo>
                <a:lnTo>
                  <a:pt x="1379" y="1725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4983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7" y="260350"/>
            <a:ext cx="8569326" cy="607021"/>
          </a:xfrm>
        </p:spPr>
        <p:txBody>
          <a:bodyPr/>
          <a:lstStyle/>
          <a:p>
            <a:r>
              <a:rPr lang="ru-RU" sz="2400" dirty="0"/>
              <a:t/>
            </a:r>
            <a:br>
              <a:rPr lang="ru-RU" sz="2400" dirty="0"/>
            </a:br>
            <a:r>
              <a:rPr lang="ru-RU" sz="2400" dirty="0" smtClean="0"/>
              <a:t>Общество </a:t>
            </a:r>
            <a:r>
              <a:rPr lang="ru-RU" sz="2400" dirty="0"/>
              <a:t>производит и реализует комплексный ассортимент современных битумных </a:t>
            </a:r>
            <a:r>
              <a:rPr lang="ru-RU" sz="2400" dirty="0" smtClean="0"/>
              <a:t>материалов</a:t>
            </a:r>
            <a:endParaRPr lang="ru-RU" sz="24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1333731079"/>
              </p:ext>
            </p:extLst>
          </p:nvPr>
        </p:nvGraphicFramePr>
        <p:xfrm>
          <a:off x="394239" y="1052736"/>
          <a:ext cx="8318221" cy="458587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89116"/>
                <a:gridCol w="1078990"/>
                <a:gridCol w="1017041"/>
                <a:gridCol w="1071154"/>
                <a:gridCol w="1142212"/>
                <a:gridCol w="1105707"/>
                <a:gridCol w="1114001"/>
              </a:tblGrid>
              <a:tr h="294337">
                <a:tc>
                  <a:txBody>
                    <a:bodyPr/>
                    <a:lstStyle/>
                    <a:p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ГПН-МНПЗ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ГПН-ОНПЗ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ЯНОС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ГПН-РЗБМ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ГПН – </a:t>
                      </a:r>
                      <a:r>
                        <a:rPr lang="en-US" sz="1000" dirty="0" smtClean="0"/>
                        <a:t>Total</a:t>
                      </a:r>
                      <a:r>
                        <a:rPr lang="ru-RU" sz="1000" dirty="0" smtClean="0"/>
                        <a:t> ПМБ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/>
                        <a:t>НОВА-Брит</a:t>
                      </a:r>
                      <a:endParaRPr lang="ru-RU" sz="1000" dirty="0"/>
                    </a:p>
                  </a:txBody>
                  <a:tcPr marL="36000" marR="36000" marT="36000" marB="36000">
                    <a:solidFill>
                      <a:schemeClr val="accent1"/>
                    </a:solidFill>
                  </a:tcPr>
                </a:tc>
              </a:tr>
              <a:tr h="209192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ГОСТ 22245-90</a:t>
                      </a:r>
                    </a:p>
                  </a:txBody>
                  <a:tcPr marL="36000" marR="36000" marT="36000" marB="36000" anchor="ctr">
                    <a:solidFill>
                      <a:schemeClr val="tx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Д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40/60, 60/90, 90/130</a:t>
                      </a: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275469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ГОСТ 6617-76</a:t>
                      </a:r>
                    </a:p>
                  </a:txBody>
                  <a:tcPr marL="36000" marR="36000" marT="36000" marB="3600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70/30, 90/10</a:t>
                      </a: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70/30, 90/10 </a:t>
                      </a: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347238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ГОСТ 9548-74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40/180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45/190, 40/180</a:t>
                      </a: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209192">
                <a:tc>
                  <a:txBody>
                    <a:bodyPr/>
                    <a:lstStyle/>
                    <a:p>
                      <a:pPr>
                        <a:lnSpc>
                          <a:spcPts val="1000"/>
                        </a:lnSpc>
                      </a:pP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СТО 00149765-006-2013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БНК </a:t>
                      </a:r>
                      <a:r>
                        <a:rPr lang="ru-RU" sz="1000" b="0" dirty="0" smtClean="0">
                          <a:solidFill>
                            <a:schemeClr val="bg1"/>
                          </a:solidFill>
                        </a:rPr>
                        <a:t>115/15</a:t>
                      </a:r>
                      <a:endParaRPr lang="ru-RU" sz="1000" b="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/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4078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accent6"/>
                          </a:solidFill>
                        </a:rPr>
                        <a:t>ГОСТ 33133-2014</a:t>
                      </a:r>
                      <a:r>
                        <a:rPr lang="ru-RU" sz="1000" b="1" i="1" kern="1200" dirty="0" smtClean="0">
                          <a:solidFill>
                            <a:schemeClr val="accent6"/>
                          </a:solidFill>
                        </a:rPr>
                        <a:t> </a:t>
                      </a:r>
                      <a:endParaRPr lang="ru-RU" sz="1000" b="1" i="1" kern="1200" dirty="0">
                        <a:solidFill>
                          <a:schemeClr val="accent6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НД 50/70, 70/100, 100/13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accent6"/>
                          </a:solidFill>
                        </a:rPr>
                        <a:t>БНД 50/70, 70/100, 100/130</a:t>
                      </a: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100"/>
                        </a:lnSpc>
                      </a:pPr>
                      <a:r>
                        <a:rPr lang="ru-RU" sz="1000" b="0" kern="1200" dirty="0" smtClean="0">
                          <a:solidFill>
                            <a:schemeClr val="tx2"/>
                          </a:solidFill>
                          <a:latin typeface="+mn-lt"/>
                          <a:ea typeface="+mn-ea"/>
                          <a:cs typeface="+mn-cs"/>
                        </a:rPr>
                        <a:t>БНД 70/100, 100/13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accent6"/>
                          </a:solidFill>
                        </a:rPr>
                        <a:t>БНД 50/70, 70/100, 100/130</a:t>
                      </a: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209192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СТО АВТОДОР 2.1-2011</a:t>
                      </a: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bg2"/>
                          </a:solidFill>
                        </a:rPr>
                        <a:t>БНДУ </a:t>
                      </a:r>
                      <a:r>
                        <a:rPr lang="ru-RU" sz="1000" b="0" dirty="0" smtClean="0">
                          <a:solidFill>
                            <a:schemeClr val="bg2"/>
                          </a:solidFill>
                        </a:rPr>
                        <a:t>85</a:t>
                      </a:r>
                      <a:endParaRPr lang="ru-RU" sz="1000" b="0" dirty="0">
                        <a:solidFill>
                          <a:schemeClr val="bg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i="1" dirty="0" smtClean="0">
                          <a:solidFill>
                            <a:schemeClr val="bg2"/>
                          </a:solidFill>
                        </a:rPr>
                        <a:t>БНДУ 60, 85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i="1" dirty="0" smtClean="0">
                          <a:solidFill>
                            <a:schemeClr val="bg2"/>
                          </a:solidFill>
                        </a:rPr>
                        <a:t>БНДУ  60,85</a:t>
                      </a: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48528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chemeClr val="bg1"/>
                          </a:solidFill>
                        </a:rPr>
                        <a:t>EN 12591:2009</a:t>
                      </a: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0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50/70,</a:t>
                      </a:r>
                      <a:r>
                        <a:rPr lang="ru-RU" sz="10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BITUMEN 50/70</a:t>
                      </a:r>
                      <a:r>
                        <a:rPr lang="ru-RU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70/100</a:t>
                      </a:r>
                      <a:r>
                        <a:rPr lang="ru-RU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, </a:t>
                      </a:r>
                      <a:r>
                        <a:rPr lang="en-US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100/150</a:t>
                      </a:r>
                      <a:r>
                        <a:rPr lang="ru-RU" sz="1000" b="1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,</a:t>
                      </a:r>
                      <a:endParaRPr lang="ru-RU" sz="1000" b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000" b="1" dirty="0" smtClean="0">
                          <a:solidFill>
                            <a:schemeClr val="tx2"/>
                          </a:solidFill>
                        </a:rPr>
                        <a:t>BITUMEN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50/70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70/100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100/150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160/20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34723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</a:rPr>
                        <a:t>ГОСТ Р 52056-2003</a:t>
                      </a:r>
                      <a:endParaRPr lang="ru-RU" sz="10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ПБВ</a:t>
                      </a:r>
                      <a:r>
                        <a:rPr lang="ru-RU" sz="1000" b="0" baseline="0" dirty="0" smtClean="0">
                          <a:solidFill>
                            <a:schemeClr val="tx2"/>
                          </a:solidFill>
                        </a:rPr>
                        <a:t> 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40, 60, 90, 130, 200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60,</a:t>
                      </a:r>
                      <a:r>
                        <a:rPr lang="ru-RU" sz="1000" b="0" baseline="0" dirty="0" smtClean="0">
                          <a:solidFill>
                            <a:schemeClr val="tx2"/>
                          </a:solidFill>
                        </a:rPr>
                        <a:t> 90</a:t>
                      </a:r>
                      <a:endParaRPr lang="ru-RU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ПБВ 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40, 60, 90, 130</a:t>
                      </a:r>
                      <a:endParaRPr lang="ru-RU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372337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ТО АВТОДОР 2.30-2016</a:t>
                      </a:r>
                      <a:endParaRPr lang="ru-RU" sz="1000" b="0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err="1" smtClean="0">
                          <a:solidFill>
                            <a:schemeClr val="tx2"/>
                          </a:solidFill>
                        </a:rPr>
                        <a:t>ПМБ</a:t>
                      </a:r>
                      <a:r>
                        <a:rPr lang="ru-RU" sz="1000" b="1" baseline="-25000" dirty="0" err="1" smtClean="0">
                          <a:solidFill>
                            <a:schemeClr val="tx2"/>
                          </a:solidFill>
                        </a:rPr>
                        <a:t>сбс</a:t>
                      </a:r>
                      <a:r>
                        <a:rPr lang="ru-RU" sz="1000" dirty="0" smtClean="0">
                          <a:solidFill>
                            <a:schemeClr val="tx2"/>
                          </a:solidFill>
                        </a:rPr>
                        <a:t> 35/50, 50/70, 70/100, 100/130 </a:t>
                      </a: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100" b="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51038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СТО 11352320-001.01.2014</a:t>
                      </a: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200"/>
                        </a:spcAft>
                      </a:pPr>
                      <a:endParaRPr lang="ru-RU" sz="1000" b="0" dirty="0" smtClean="0">
                        <a:solidFill>
                          <a:schemeClr val="tx2"/>
                        </a:solidFill>
                      </a:endParaRP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60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, </a:t>
                      </a:r>
                      <a:r>
                        <a:rPr lang="en-US" sz="1000" b="0" dirty="0" smtClean="0">
                          <a:solidFill>
                            <a:schemeClr val="tx2"/>
                          </a:solidFill>
                        </a:rPr>
                        <a:t>90 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(Стандарт/ Премиум)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347238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НСТ-85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accent6"/>
                          </a:solidFill>
                        </a:rPr>
                        <a:t>Более 10 марок (</a:t>
                      </a:r>
                      <a:r>
                        <a:rPr lang="en-US" sz="1000" b="1" dirty="0" smtClean="0">
                          <a:solidFill>
                            <a:schemeClr val="accent6"/>
                          </a:solidFill>
                        </a:rPr>
                        <a:t>PG</a:t>
                      </a:r>
                      <a:r>
                        <a:rPr lang="ru-RU" sz="1000" b="1" dirty="0" smtClean="0">
                          <a:solidFill>
                            <a:schemeClr val="accent6"/>
                          </a:solidFill>
                        </a:rPr>
                        <a:t>)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1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</a:tr>
              <a:tr h="538956"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ГОСТ Р 52128-2003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kern="1200" noProof="0" dirty="0" smtClean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БК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-1, 3</a:t>
                      </a:r>
                    </a:p>
                    <a:p>
                      <a:pPr algn="ctr">
                        <a:lnSpc>
                          <a:spcPts val="1100"/>
                        </a:lnSpc>
                      </a:pPr>
                      <a:endParaRPr lang="ru-RU" sz="1000" b="0" kern="1200" baseline="0" dirty="0">
                        <a:solidFill>
                          <a:schemeClr val="tx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-1, 2,</a:t>
                      </a:r>
                      <a:r>
                        <a:rPr lang="ru-RU" sz="1000" b="0" baseline="0" dirty="0" smtClean="0">
                          <a:solidFill>
                            <a:schemeClr val="tx2"/>
                          </a:solidFill>
                        </a:rPr>
                        <a:t> 3</a:t>
                      </a:r>
                      <a:endParaRPr lang="ru-RU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</a:pPr>
                      <a:endParaRPr lang="ru-RU" sz="100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ЭБК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-1, 3</a:t>
                      </a:r>
                      <a:endParaRPr lang="ru-RU" sz="1000" b="0" dirty="0">
                        <a:solidFill>
                          <a:schemeClr val="tx2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00" b="1" dirty="0" smtClean="0">
                          <a:solidFill>
                            <a:schemeClr val="tx2"/>
                          </a:solidFill>
                        </a:rPr>
                        <a:t>ЭБК/ ЭБА/ ЭБПК/ ЭБПА</a:t>
                      </a:r>
                      <a:r>
                        <a:rPr lang="ru-RU" sz="1000" b="0" dirty="0" smtClean="0">
                          <a:solidFill>
                            <a:schemeClr val="tx2"/>
                          </a:solidFill>
                        </a:rPr>
                        <a:t>-1,2,3</a:t>
                      </a:r>
                    </a:p>
                  </a:txBody>
                  <a:tcPr marL="36000" marR="36000" marT="36000" marB="3600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7" name="Скругленный прямоугольник 6"/>
          <p:cNvSpPr/>
          <p:nvPr/>
        </p:nvSpPr>
        <p:spPr>
          <a:xfrm>
            <a:off x="287337" y="2384884"/>
            <a:ext cx="8461127" cy="3221776"/>
          </a:xfrm>
          <a:prstGeom prst="roundRect">
            <a:avLst>
              <a:gd name="adj" fmla="val 2746"/>
            </a:avLst>
          </a:prstGeom>
          <a:noFill/>
          <a:ln w="38100">
            <a:solidFill>
              <a:schemeClr val="accent6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  <p:sp>
        <p:nvSpPr>
          <p:cNvPr id="8" name="gost"/>
          <p:cNvSpPr>
            <a:spLocks noEditPoints="1"/>
          </p:cNvSpPr>
          <p:nvPr>
            <p:custDataLst>
              <p:tags r:id="rId1"/>
            </p:custDataLst>
          </p:nvPr>
        </p:nvSpPr>
        <p:spPr bwMode="auto">
          <a:xfrm>
            <a:off x="467544" y="1088740"/>
            <a:ext cx="438960" cy="241121"/>
          </a:xfrm>
          <a:custGeom>
            <a:avLst/>
            <a:gdLst>
              <a:gd name="T0" fmla="*/ 13459 w 16016"/>
              <a:gd name="T1" fmla="*/ 2788 h 8976"/>
              <a:gd name="T2" fmla="*/ 6702 w 16016"/>
              <a:gd name="T3" fmla="*/ 3359 h 8976"/>
              <a:gd name="T4" fmla="*/ 6490 w 16016"/>
              <a:gd name="T5" fmla="*/ 2962 h 8976"/>
              <a:gd name="T6" fmla="*/ 6186 w 16016"/>
              <a:gd name="T7" fmla="*/ 2806 h 8976"/>
              <a:gd name="T8" fmla="*/ 5860 w 16016"/>
              <a:gd name="T9" fmla="*/ 2813 h 8976"/>
              <a:gd name="T10" fmla="*/ 5536 w 16016"/>
              <a:gd name="T11" fmla="*/ 2997 h 8976"/>
              <a:gd name="T12" fmla="*/ 5362 w 16016"/>
              <a:gd name="T13" fmla="*/ 3345 h 8976"/>
              <a:gd name="T14" fmla="*/ 5380 w 16016"/>
              <a:gd name="T15" fmla="*/ 5656 h 8976"/>
              <a:gd name="T16" fmla="*/ 5566 w 16016"/>
              <a:gd name="T17" fmla="*/ 6027 h 8976"/>
              <a:gd name="T18" fmla="*/ 5778 w 16016"/>
              <a:gd name="T19" fmla="*/ 6156 h 8976"/>
              <a:gd name="T20" fmla="*/ 6151 w 16016"/>
              <a:gd name="T21" fmla="*/ 6189 h 8976"/>
              <a:gd name="T22" fmla="*/ 6546 w 16016"/>
              <a:gd name="T23" fmla="*/ 5987 h 8976"/>
              <a:gd name="T24" fmla="*/ 6719 w 16016"/>
              <a:gd name="T25" fmla="*/ 5545 h 8976"/>
              <a:gd name="T26" fmla="*/ 7474 w 16016"/>
              <a:gd name="T27" fmla="*/ 5883 h 8976"/>
              <a:gd name="T28" fmla="*/ 7268 w 16016"/>
              <a:gd name="T29" fmla="*/ 6351 h 8976"/>
              <a:gd name="T30" fmla="*/ 6925 w 16016"/>
              <a:gd name="T31" fmla="*/ 6695 h 8976"/>
              <a:gd name="T32" fmla="*/ 6467 w 16016"/>
              <a:gd name="T33" fmla="*/ 6898 h 8976"/>
              <a:gd name="T34" fmla="*/ 5900 w 16016"/>
              <a:gd name="T35" fmla="*/ 6942 h 8976"/>
              <a:gd name="T36" fmla="*/ 5329 w 16016"/>
              <a:gd name="T37" fmla="*/ 6801 h 8976"/>
              <a:gd name="T38" fmla="*/ 4924 w 16016"/>
              <a:gd name="T39" fmla="*/ 6497 h 8976"/>
              <a:gd name="T40" fmla="*/ 4676 w 16016"/>
              <a:gd name="T41" fmla="*/ 6068 h 8976"/>
              <a:gd name="T42" fmla="*/ 4566 w 16016"/>
              <a:gd name="T43" fmla="*/ 5551 h 8976"/>
              <a:gd name="T44" fmla="*/ 4578 w 16016"/>
              <a:gd name="T45" fmla="*/ 3265 h 8976"/>
              <a:gd name="T46" fmla="*/ 4712 w 16016"/>
              <a:gd name="T47" fmla="*/ 2812 h 8976"/>
              <a:gd name="T48" fmla="*/ 4990 w 16016"/>
              <a:gd name="T49" fmla="*/ 2420 h 8976"/>
              <a:gd name="T50" fmla="*/ 5425 w 16016"/>
              <a:gd name="T51" fmla="*/ 2136 h 8976"/>
              <a:gd name="T52" fmla="*/ 6045 w 16016"/>
              <a:gd name="T53" fmla="*/ 2029 h 8976"/>
              <a:gd name="T54" fmla="*/ 6634 w 16016"/>
              <a:gd name="T55" fmla="*/ 2131 h 8976"/>
              <a:gd name="T56" fmla="*/ 7069 w 16016"/>
              <a:gd name="T57" fmla="*/ 2405 h 8976"/>
              <a:gd name="T58" fmla="*/ 7359 w 16016"/>
              <a:gd name="T59" fmla="*/ 2793 h 8976"/>
              <a:gd name="T60" fmla="*/ 7503 w 16016"/>
              <a:gd name="T61" fmla="*/ 3254 h 8976"/>
              <a:gd name="T62" fmla="*/ 11202 w 16016"/>
              <a:gd name="T63" fmla="*/ 5999 h 8976"/>
              <a:gd name="T64" fmla="*/ 11020 w 16016"/>
              <a:gd name="T65" fmla="*/ 6376 h 8976"/>
              <a:gd name="T66" fmla="*/ 10736 w 16016"/>
              <a:gd name="T67" fmla="*/ 6665 h 8976"/>
              <a:gd name="T68" fmla="*/ 10370 w 16016"/>
              <a:gd name="T69" fmla="*/ 6857 h 8976"/>
              <a:gd name="T70" fmla="*/ 9944 w 16016"/>
              <a:gd name="T71" fmla="*/ 6942 h 8976"/>
              <a:gd name="T72" fmla="*/ 9380 w 16016"/>
              <a:gd name="T73" fmla="*/ 6901 h 8976"/>
              <a:gd name="T74" fmla="*/ 8903 w 16016"/>
              <a:gd name="T75" fmla="*/ 6687 h 8976"/>
              <a:gd name="T76" fmla="*/ 8566 w 16016"/>
              <a:gd name="T77" fmla="*/ 6335 h 8976"/>
              <a:gd name="T78" fmla="*/ 8375 w 16016"/>
              <a:gd name="T79" fmla="*/ 5868 h 8976"/>
              <a:gd name="T80" fmla="*/ 8324 w 16016"/>
              <a:gd name="T81" fmla="*/ 3489 h 8976"/>
              <a:gd name="T82" fmla="*/ 8403 w 16016"/>
              <a:gd name="T83" fmla="*/ 3002 h 8976"/>
              <a:gd name="T84" fmla="*/ 8624 w 16016"/>
              <a:gd name="T85" fmla="*/ 2569 h 8976"/>
              <a:gd name="T86" fmla="*/ 8987 w 16016"/>
              <a:gd name="T87" fmla="*/ 2241 h 8976"/>
              <a:gd name="T88" fmla="*/ 9496 w 16016"/>
              <a:gd name="T89" fmla="*/ 2053 h 8976"/>
              <a:gd name="T90" fmla="*/ 10056 w 16016"/>
              <a:gd name="T91" fmla="*/ 2044 h 8976"/>
              <a:gd name="T92" fmla="*/ 10483 w 16016"/>
              <a:gd name="T93" fmla="*/ 2162 h 8976"/>
              <a:gd name="T94" fmla="*/ 10827 w 16016"/>
              <a:gd name="T95" fmla="*/ 2394 h 8976"/>
              <a:gd name="T96" fmla="*/ 11078 w 16016"/>
              <a:gd name="T97" fmla="*/ 2704 h 8976"/>
              <a:gd name="T98" fmla="*/ 11235 w 16016"/>
              <a:gd name="T99" fmla="*/ 3072 h 8976"/>
              <a:gd name="T100" fmla="*/ 10358 w 16016"/>
              <a:gd name="T101" fmla="*/ 3056 h 8976"/>
              <a:gd name="T102" fmla="*/ 10021 w 16016"/>
              <a:gd name="T103" fmla="*/ 2822 h 8976"/>
              <a:gd name="T104" fmla="*/ 9644 w 16016"/>
              <a:gd name="T105" fmla="*/ 2811 h 8976"/>
              <a:gd name="T106" fmla="*/ 9334 w 16016"/>
              <a:gd name="T107" fmla="*/ 2973 h 8976"/>
              <a:gd name="T108" fmla="*/ 9134 w 16016"/>
              <a:gd name="T109" fmla="*/ 3372 h 8976"/>
              <a:gd name="T110" fmla="*/ 9176 w 16016"/>
              <a:gd name="T111" fmla="*/ 5750 h 8976"/>
              <a:gd name="T112" fmla="*/ 9477 w 16016"/>
              <a:gd name="T113" fmla="*/ 6107 h 8976"/>
              <a:gd name="T114" fmla="*/ 9769 w 16016"/>
              <a:gd name="T115" fmla="*/ 6180 h 8976"/>
              <a:gd name="T116" fmla="*/ 10179 w 16016"/>
              <a:gd name="T117" fmla="*/ 6085 h 8976"/>
              <a:gd name="T118" fmla="*/ 10435 w 16016"/>
              <a:gd name="T119" fmla="*/ 5782 h 89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6016" h="8976">
                <a:moveTo>
                  <a:pt x="0" y="0"/>
                </a:moveTo>
                <a:lnTo>
                  <a:pt x="16016" y="0"/>
                </a:lnTo>
                <a:lnTo>
                  <a:pt x="16016" y="8976"/>
                </a:lnTo>
                <a:lnTo>
                  <a:pt x="0" y="8976"/>
                </a:lnTo>
                <a:lnTo>
                  <a:pt x="0" y="0"/>
                </a:lnTo>
                <a:close/>
                <a:moveTo>
                  <a:pt x="13459" y="2788"/>
                </a:moveTo>
                <a:lnTo>
                  <a:pt x="13459" y="6905"/>
                </a:lnTo>
                <a:lnTo>
                  <a:pt x="12668" y="6905"/>
                </a:lnTo>
                <a:lnTo>
                  <a:pt x="12668" y="2788"/>
                </a:lnTo>
                <a:lnTo>
                  <a:pt x="11605" y="2788"/>
                </a:lnTo>
                <a:lnTo>
                  <a:pt x="11605" y="2064"/>
                </a:lnTo>
                <a:lnTo>
                  <a:pt x="14531" y="2064"/>
                </a:lnTo>
                <a:lnTo>
                  <a:pt x="14531" y="2788"/>
                </a:lnTo>
                <a:lnTo>
                  <a:pt x="13459" y="2788"/>
                </a:lnTo>
                <a:close/>
                <a:moveTo>
                  <a:pt x="2437" y="2802"/>
                </a:moveTo>
                <a:lnTo>
                  <a:pt x="2437" y="6905"/>
                </a:lnTo>
                <a:lnTo>
                  <a:pt x="1646" y="6905"/>
                </a:lnTo>
                <a:lnTo>
                  <a:pt x="1646" y="2064"/>
                </a:lnTo>
                <a:lnTo>
                  <a:pt x="4307" y="2064"/>
                </a:lnTo>
                <a:lnTo>
                  <a:pt x="4307" y="2802"/>
                </a:lnTo>
                <a:lnTo>
                  <a:pt x="2437" y="2802"/>
                </a:lnTo>
                <a:close/>
                <a:moveTo>
                  <a:pt x="6719" y="3512"/>
                </a:moveTo>
                <a:lnTo>
                  <a:pt x="6719" y="3489"/>
                </a:lnTo>
                <a:lnTo>
                  <a:pt x="6717" y="3465"/>
                </a:lnTo>
                <a:lnTo>
                  <a:pt x="6715" y="3440"/>
                </a:lnTo>
                <a:lnTo>
                  <a:pt x="6712" y="3414"/>
                </a:lnTo>
                <a:lnTo>
                  <a:pt x="6707" y="3387"/>
                </a:lnTo>
                <a:lnTo>
                  <a:pt x="6702" y="3359"/>
                </a:lnTo>
                <a:lnTo>
                  <a:pt x="6696" y="3330"/>
                </a:lnTo>
                <a:lnTo>
                  <a:pt x="6688" y="3301"/>
                </a:lnTo>
                <a:lnTo>
                  <a:pt x="6680" y="3269"/>
                </a:lnTo>
                <a:lnTo>
                  <a:pt x="6670" y="3239"/>
                </a:lnTo>
                <a:lnTo>
                  <a:pt x="6659" y="3210"/>
                </a:lnTo>
                <a:lnTo>
                  <a:pt x="6646" y="3180"/>
                </a:lnTo>
                <a:lnTo>
                  <a:pt x="6632" y="3151"/>
                </a:lnTo>
                <a:lnTo>
                  <a:pt x="6616" y="3122"/>
                </a:lnTo>
                <a:lnTo>
                  <a:pt x="6599" y="3094"/>
                </a:lnTo>
                <a:lnTo>
                  <a:pt x="6581" y="3066"/>
                </a:lnTo>
                <a:lnTo>
                  <a:pt x="6561" y="3038"/>
                </a:lnTo>
                <a:lnTo>
                  <a:pt x="6539" y="3012"/>
                </a:lnTo>
                <a:lnTo>
                  <a:pt x="6516" y="2987"/>
                </a:lnTo>
                <a:lnTo>
                  <a:pt x="6490" y="2962"/>
                </a:lnTo>
                <a:lnTo>
                  <a:pt x="6464" y="2939"/>
                </a:lnTo>
                <a:lnTo>
                  <a:pt x="6436" y="2917"/>
                </a:lnTo>
                <a:lnTo>
                  <a:pt x="6406" y="2895"/>
                </a:lnTo>
                <a:lnTo>
                  <a:pt x="6375" y="2875"/>
                </a:lnTo>
                <a:lnTo>
                  <a:pt x="6358" y="2865"/>
                </a:lnTo>
                <a:lnTo>
                  <a:pt x="6341" y="2856"/>
                </a:lnTo>
                <a:lnTo>
                  <a:pt x="6324" y="2848"/>
                </a:lnTo>
                <a:lnTo>
                  <a:pt x="6306" y="2840"/>
                </a:lnTo>
                <a:lnTo>
                  <a:pt x="6287" y="2833"/>
                </a:lnTo>
                <a:lnTo>
                  <a:pt x="6268" y="2826"/>
                </a:lnTo>
                <a:lnTo>
                  <a:pt x="6248" y="2820"/>
                </a:lnTo>
                <a:lnTo>
                  <a:pt x="6228" y="2815"/>
                </a:lnTo>
                <a:lnTo>
                  <a:pt x="6207" y="2810"/>
                </a:lnTo>
                <a:lnTo>
                  <a:pt x="6186" y="2806"/>
                </a:lnTo>
                <a:lnTo>
                  <a:pt x="6164" y="2803"/>
                </a:lnTo>
                <a:lnTo>
                  <a:pt x="6141" y="2800"/>
                </a:lnTo>
                <a:lnTo>
                  <a:pt x="6118" y="2798"/>
                </a:lnTo>
                <a:lnTo>
                  <a:pt x="6094" y="2796"/>
                </a:lnTo>
                <a:lnTo>
                  <a:pt x="6070" y="2795"/>
                </a:lnTo>
                <a:lnTo>
                  <a:pt x="6045" y="2795"/>
                </a:lnTo>
                <a:lnTo>
                  <a:pt x="6020" y="2795"/>
                </a:lnTo>
                <a:lnTo>
                  <a:pt x="5996" y="2796"/>
                </a:lnTo>
                <a:lnTo>
                  <a:pt x="5972" y="2797"/>
                </a:lnTo>
                <a:lnTo>
                  <a:pt x="5948" y="2799"/>
                </a:lnTo>
                <a:lnTo>
                  <a:pt x="5926" y="2802"/>
                </a:lnTo>
                <a:lnTo>
                  <a:pt x="5903" y="2805"/>
                </a:lnTo>
                <a:lnTo>
                  <a:pt x="5881" y="2809"/>
                </a:lnTo>
                <a:lnTo>
                  <a:pt x="5860" y="2813"/>
                </a:lnTo>
                <a:lnTo>
                  <a:pt x="5839" y="2818"/>
                </a:lnTo>
                <a:lnTo>
                  <a:pt x="5819" y="2823"/>
                </a:lnTo>
                <a:lnTo>
                  <a:pt x="5799" y="2829"/>
                </a:lnTo>
                <a:lnTo>
                  <a:pt x="5780" y="2836"/>
                </a:lnTo>
                <a:lnTo>
                  <a:pt x="5761" y="2843"/>
                </a:lnTo>
                <a:lnTo>
                  <a:pt x="5743" y="2851"/>
                </a:lnTo>
                <a:lnTo>
                  <a:pt x="5725" y="2859"/>
                </a:lnTo>
                <a:lnTo>
                  <a:pt x="5708" y="2868"/>
                </a:lnTo>
                <a:lnTo>
                  <a:pt x="5675" y="2887"/>
                </a:lnTo>
                <a:lnTo>
                  <a:pt x="5644" y="2906"/>
                </a:lnTo>
                <a:lnTo>
                  <a:pt x="5615" y="2927"/>
                </a:lnTo>
                <a:lnTo>
                  <a:pt x="5587" y="2949"/>
                </a:lnTo>
                <a:lnTo>
                  <a:pt x="5561" y="2973"/>
                </a:lnTo>
                <a:lnTo>
                  <a:pt x="5536" y="2997"/>
                </a:lnTo>
                <a:lnTo>
                  <a:pt x="5525" y="3009"/>
                </a:lnTo>
                <a:lnTo>
                  <a:pt x="5514" y="3022"/>
                </a:lnTo>
                <a:lnTo>
                  <a:pt x="5502" y="3035"/>
                </a:lnTo>
                <a:lnTo>
                  <a:pt x="5492" y="3048"/>
                </a:lnTo>
                <a:lnTo>
                  <a:pt x="5473" y="3076"/>
                </a:lnTo>
                <a:lnTo>
                  <a:pt x="5455" y="3104"/>
                </a:lnTo>
                <a:lnTo>
                  <a:pt x="5438" y="3132"/>
                </a:lnTo>
                <a:lnTo>
                  <a:pt x="5423" y="3161"/>
                </a:lnTo>
                <a:lnTo>
                  <a:pt x="5410" y="3191"/>
                </a:lnTo>
                <a:lnTo>
                  <a:pt x="5398" y="3221"/>
                </a:lnTo>
                <a:lnTo>
                  <a:pt x="5387" y="3251"/>
                </a:lnTo>
                <a:lnTo>
                  <a:pt x="5378" y="3282"/>
                </a:lnTo>
                <a:lnTo>
                  <a:pt x="5369" y="3314"/>
                </a:lnTo>
                <a:lnTo>
                  <a:pt x="5362" y="3345"/>
                </a:lnTo>
                <a:lnTo>
                  <a:pt x="5356" y="3375"/>
                </a:lnTo>
                <a:lnTo>
                  <a:pt x="5351" y="3405"/>
                </a:lnTo>
                <a:lnTo>
                  <a:pt x="5348" y="3434"/>
                </a:lnTo>
                <a:lnTo>
                  <a:pt x="5345" y="3463"/>
                </a:lnTo>
                <a:lnTo>
                  <a:pt x="5343" y="3491"/>
                </a:lnTo>
                <a:lnTo>
                  <a:pt x="5343" y="3519"/>
                </a:lnTo>
                <a:lnTo>
                  <a:pt x="5350" y="5374"/>
                </a:lnTo>
                <a:lnTo>
                  <a:pt x="5350" y="5417"/>
                </a:lnTo>
                <a:lnTo>
                  <a:pt x="5352" y="5459"/>
                </a:lnTo>
                <a:lnTo>
                  <a:pt x="5355" y="5500"/>
                </a:lnTo>
                <a:lnTo>
                  <a:pt x="5360" y="5540"/>
                </a:lnTo>
                <a:lnTo>
                  <a:pt x="5365" y="5580"/>
                </a:lnTo>
                <a:lnTo>
                  <a:pt x="5372" y="5618"/>
                </a:lnTo>
                <a:lnTo>
                  <a:pt x="5380" y="5656"/>
                </a:lnTo>
                <a:lnTo>
                  <a:pt x="5390" y="5694"/>
                </a:lnTo>
                <a:lnTo>
                  <a:pt x="5400" y="5730"/>
                </a:lnTo>
                <a:lnTo>
                  <a:pt x="5412" y="5765"/>
                </a:lnTo>
                <a:lnTo>
                  <a:pt x="5425" y="5800"/>
                </a:lnTo>
                <a:lnTo>
                  <a:pt x="5440" y="5833"/>
                </a:lnTo>
                <a:lnTo>
                  <a:pt x="5455" y="5866"/>
                </a:lnTo>
                <a:lnTo>
                  <a:pt x="5472" y="5898"/>
                </a:lnTo>
                <a:lnTo>
                  <a:pt x="5490" y="5929"/>
                </a:lnTo>
                <a:lnTo>
                  <a:pt x="5510" y="5959"/>
                </a:lnTo>
                <a:lnTo>
                  <a:pt x="5521" y="5974"/>
                </a:lnTo>
                <a:lnTo>
                  <a:pt x="5531" y="5988"/>
                </a:lnTo>
                <a:lnTo>
                  <a:pt x="5542" y="6001"/>
                </a:lnTo>
                <a:lnTo>
                  <a:pt x="5554" y="6014"/>
                </a:lnTo>
                <a:lnTo>
                  <a:pt x="5566" y="6027"/>
                </a:lnTo>
                <a:lnTo>
                  <a:pt x="5578" y="6039"/>
                </a:lnTo>
                <a:lnTo>
                  <a:pt x="5591" y="6051"/>
                </a:lnTo>
                <a:lnTo>
                  <a:pt x="5604" y="6062"/>
                </a:lnTo>
                <a:lnTo>
                  <a:pt x="5618" y="6073"/>
                </a:lnTo>
                <a:lnTo>
                  <a:pt x="5632" y="6084"/>
                </a:lnTo>
                <a:lnTo>
                  <a:pt x="5646" y="6093"/>
                </a:lnTo>
                <a:lnTo>
                  <a:pt x="5661" y="6103"/>
                </a:lnTo>
                <a:lnTo>
                  <a:pt x="5677" y="6112"/>
                </a:lnTo>
                <a:lnTo>
                  <a:pt x="5693" y="6120"/>
                </a:lnTo>
                <a:lnTo>
                  <a:pt x="5709" y="6128"/>
                </a:lnTo>
                <a:lnTo>
                  <a:pt x="5726" y="6136"/>
                </a:lnTo>
                <a:lnTo>
                  <a:pt x="5743" y="6143"/>
                </a:lnTo>
                <a:lnTo>
                  <a:pt x="5760" y="6150"/>
                </a:lnTo>
                <a:lnTo>
                  <a:pt x="5778" y="6156"/>
                </a:lnTo>
                <a:lnTo>
                  <a:pt x="5797" y="6162"/>
                </a:lnTo>
                <a:lnTo>
                  <a:pt x="5816" y="6167"/>
                </a:lnTo>
                <a:lnTo>
                  <a:pt x="5835" y="6172"/>
                </a:lnTo>
                <a:lnTo>
                  <a:pt x="5855" y="6176"/>
                </a:lnTo>
                <a:lnTo>
                  <a:pt x="5875" y="6180"/>
                </a:lnTo>
                <a:lnTo>
                  <a:pt x="5895" y="6184"/>
                </a:lnTo>
                <a:lnTo>
                  <a:pt x="5917" y="6187"/>
                </a:lnTo>
                <a:lnTo>
                  <a:pt x="5938" y="6189"/>
                </a:lnTo>
                <a:lnTo>
                  <a:pt x="5960" y="6191"/>
                </a:lnTo>
                <a:lnTo>
                  <a:pt x="6005" y="6194"/>
                </a:lnTo>
                <a:lnTo>
                  <a:pt x="6052" y="6195"/>
                </a:lnTo>
                <a:lnTo>
                  <a:pt x="6085" y="6194"/>
                </a:lnTo>
                <a:lnTo>
                  <a:pt x="6118" y="6192"/>
                </a:lnTo>
                <a:lnTo>
                  <a:pt x="6151" y="6189"/>
                </a:lnTo>
                <a:lnTo>
                  <a:pt x="6183" y="6184"/>
                </a:lnTo>
                <a:lnTo>
                  <a:pt x="6214" y="6177"/>
                </a:lnTo>
                <a:lnTo>
                  <a:pt x="6245" y="6169"/>
                </a:lnTo>
                <a:lnTo>
                  <a:pt x="6275" y="6160"/>
                </a:lnTo>
                <a:lnTo>
                  <a:pt x="6304" y="6149"/>
                </a:lnTo>
                <a:lnTo>
                  <a:pt x="6334" y="6137"/>
                </a:lnTo>
                <a:lnTo>
                  <a:pt x="6362" y="6123"/>
                </a:lnTo>
                <a:lnTo>
                  <a:pt x="6390" y="6108"/>
                </a:lnTo>
                <a:lnTo>
                  <a:pt x="6417" y="6092"/>
                </a:lnTo>
                <a:lnTo>
                  <a:pt x="6444" y="6074"/>
                </a:lnTo>
                <a:lnTo>
                  <a:pt x="6470" y="6054"/>
                </a:lnTo>
                <a:lnTo>
                  <a:pt x="6496" y="6033"/>
                </a:lnTo>
                <a:lnTo>
                  <a:pt x="6522" y="6011"/>
                </a:lnTo>
                <a:lnTo>
                  <a:pt x="6546" y="5987"/>
                </a:lnTo>
                <a:lnTo>
                  <a:pt x="6568" y="5963"/>
                </a:lnTo>
                <a:lnTo>
                  <a:pt x="6589" y="5937"/>
                </a:lnTo>
                <a:lnTo>
                  <a:pt x="6608" y="5910"/>
                </a:lnTo>
                <a:lnTo>
                  <a:pt x="6626" y="5882"/>
                </a:lnTo>
                <a:lnTo>
                  <a:pt x="6642" y="5853"/>
                </a:lnTo>
                <a:lnTo>
                  <a:pt x="6657" y="5823"/>
                </a:lnTo>
                <a:lnTo>
                  <a:pt x="6670" y="5792"/>
                </a:lnTo>
                <a:lnTo>
                  <a:pt x="6682" y="5760"/>
                </a:lnTo>
                <a:lnTo>
                  <a:pt x="6692" y="5727"/>
                </a:lnTo>
                <a:lnTo>
                  <a:pt x="6700" y="5693"/>
                </a:lnTo>
                <a:lnTo>
                  <a:pt x="6707" y="5657"/>
                </a:lnTo>
                <a:lnTo>
                  <a:pt x="6712" y="5621"/>
                </a:lnTo>
                <a:lnTo>
                  <a:pt x="6716" y="5583"/>
                </a:lnTo>
                <a:lnTo>
                  <a:pt x="6719" y="5545"/>
                </a:lnTo>
                <a:lnTo>
                  <a:pt x="6719" y="5506"/>
                </a:lnTo>
                <a:lnTo>
                  <a:pt x="6719" y="3512"/>
                </a:lnTo>
                <a:close/>
                <a:moveTo>
                  <a:pt x="7526" y="5437"/>
                </a:moveTo>
                <a:lnTo>
                  <a:pt x="7526" y="5480"/>
                </a:lnTo>
                <a:lnTo>
                  <a:pt x="7524" y="5523"/>
                </a:lnTo>
                <a:lnTo>
                  <a:pt x="7522" y="5565"/>
                </a:lnTo>
                <a:lnTo>
                  <a:pt x="7519" y="5606"/>
                </a:lnTo>
                <a:lnTo>
                  <a:pt x="7515" y="5647"/>
                </a:lnTo>
                <a:lnTo>
                  <a:pt x="7511" y="5689"/>
                </a:lnTo>
                <a:lnTo>
                  <a:pt x="7504" y="5729"/>
                </a:lnTo>
                <a:lnTo>
                  <a:pt x="7498" y="5768"/>
                </a:lnTo>
                <a:lnTo>
                  <a:pt x="7491" y="5807"/>
                </a:lnTo>
                <a:lnTo>
                  <a:pt x="7483" y="5845"/>
                </a:lnTo>
                <a:lnTo>
                  <a:pt x="7474" y="5883"/>
                </a:lnTo>
                <a:lnTo>
                  <a:pt x="7464" y="5920"/>
                </a:lnTo>
                <a:lnTo>
                  <a:pt x="7454" y="5957"/>
                </a:lnTo>
                <a:lnTo>
                  <a:pt x="7443" y="5993"/>
                </a:lnTo>
                <a:lnTo>
                  <a:pt x="7430" y="6028"/>
                </a:lnTo>
                <a:lnTo>
                  <a:pt x="7417" y="6063"/>
                </a:lnTo>
                <a:lnTo>
                  <a:pt x="7403" y="6098"/>
                </a:lnTo>
                <a:lnTo>
                  <a:pt x="7389" y="6131"/>
                </a:lnTo>
                <a:lnTo>
                  <a:pt x="7374" y="6165"/>
                </a:lnTo>
                <a:lnTo>
                  <a:pt x="7358" y="6197"/>
                </a:lnTo>
                <a:lnTo>
                  <a:pt x="7341" y="6229"/>
                </a:lnTo>
                <a:lnTo>
                  <a:pt x="7324" y="6260"/>
                </a:lnTo>
                <a:lnTo>
                  <a:pt x="7306" y="6292"/>
                </a:lnTo>
                <a:lnTo>
                  <a:pt x="7287" y="6322"/>
                </a:lnTo>
                <a:lnTo>
                  <a:pt x="7268" y="6351"/>
                </a:lnTo>
                <a:lnTo>
                  <a:pt x="7247" y="6380"/>
                </a:lnTo>
                <a:lnTo>
                  <a:pt x="7227" y="6408"/>
                </a:lnTo>
                <a:lnTo>
                  <a:pt x="7205" y="6436"/>
                </a:lnTo>
                <a:lnTo>
                  <a:pt x="7183" y="6463"/>
                </a:lnTo>
                <a:lnTo>
                  <a:pt x="7160" y="6489"/>
                </a:lnTo>
                <a:lnTo>
                  <a:pt x="7136" y="6515"/>
                </a:lnTo>
                <a:lnTo>
                  <a:pt x="7112" y="6540"/>
                </a:lnTo>
                <a:lnTo>
                  <a:pt x="7087" y="6564"/>
                </a:lnTo>
                <a:lnTo>
                  <a:pt x="7061" y="6588"/>
                </a:lnTo>
                <a:lnTo>
                  <a:pt x="7035" y="6611"/>
                </a:lnTo>
                <a:lnTo>
                  <a:pt x="7008" y="6633"/>
                </a:lnTo>
                <a:lnTo>
                  <a:pt x="6981" y="6654"/>
                </a:lnTo>
                <a:lnTo>
                  <a:pt x="6953" y="6675"/>
                </a:lnTo>
                <a:lnTo>
                  <a:pt x="6925" y="6695"/>
                </a:lnTo>
                <a:lnTo>
                  <a:pt x="6896" y="6714"/>
                </a:lnTo>
                <a:lnTo>
                  <a:pt x="6866" y="6733"/>
                </a:lnTo>
                <a:lnTo>
                  <a:pt x="6836" y="6751"/>
                </a:lnTo>
                <a:lnTo>
                  <a:pt x="6805" y="6768"/>
                </a:lnTo>
                <a:lnTo>
                  <a:pt x="6774" y="6784"/>
                </a:lnTo>
                <a:lnTo>
                  <a:pt x="6742" y="6799"/>
                </a:lnTo>
                <a:lnTo>
                  <a:pt x="6710" y="6814"/>
                </a:lnTo>
                <a:lnTo>
                  <a:pt x="6677" y="6828"/>
                </a:lnTo>
                <a:lnTo>
                  <a:pt x="6643" y="6842"/>
                </a:lnTo>
                <a:lnTo>
                  <a:pt x="6609" y="6854"/>
                </a:lnTo>
                <a:lnTo>
                  <a:pt x="6575" y="6866"/>
                </a:lnTo>
                <a:lnTo>
                  <a:pt x="6540" y="6877"/>
                </a:lnTo>
                <a:lnTo>
                  <a:pt x="6503" y="6888"/>
                </a:lnTo>
                <a:lnTo>
                  <a:pt x="6467" y="6898"/>
                </a:lnTo>
                <a:lnTo>
                  <a:pt x="6431" y="6906"/>
                </a:lnTo>
                <a:lnTo>
                  <a:pt x="6395" y="6914"/>
                </a:lnTo>
                <a:lnTo>
                  <a:pt x="6357" y="6921"/>
                </a:lnTo>
                <a:lnTo>
                  <a:pt x="6320" y="6927"/>
                </a:lnTo>
                <a:lnTo>
                  <a:pt x="6282" y="6932"/>
                </a:lnTo>
                <a:lnTo>
                  <a:pt x="6244" y="6937"/>
                </a:lnTo>
                <a:lnTo>
                  <a:pt x="6205" y="6940"/>
                </a:lnTo>
                <a:lnTo>
                  <a:pt x="6165" y="6943"/>
                </a:lnTo>
                <a:lnTo>
                  <a:pt x="6126" y="6945"/>
                </a:lnTo>
                <a:lnTo>
                  <a:pt x="6086" y="6946"/>
                </a:lnTo>
                <a:lnTo>
                  <a:pt x="6045" y="6947"/>
                </a:lnTo>
                <a:lnTo>
                  <a:pt x="5996" y="6946"/>
                </a:lnTo>
                <a:lnTo>
                  <a:pt x="5948" y="6945"/>
                </a:lnTo>
                <a:lnTo>
                  <a:pt x="5900" y="6942"/>
                </a:lnTo>
                <a:lnTo>
                  <a:pt x="5854" y="6939"/>
                </a:lnTo>
                <a:lnTo>
                  <a:pt x="5808" y="6934"/>
                </a:lnTo>
                <a:lnTo>
                  <a:pt x="5764" y="6929"/>
                </a:lnTo>
                <a:lnTo>
                  <a:pt x="5720" y="6922"/>
                </a:lnTo>
                <a:lnTo>
                  <a:pt x="5677" y="6915"/>
                </a:lnTo>
                <a:lnTo>
                  <a:pt x="5635" y="6906"/>
                </a:lnTo>
                <a:lnTo>
                  <a:pt x="5594" y="6897"/>
                </a:lnTo>
                <a:lnTo>
                  <a:pt x="5553" y="6886"/>
                </a:lnTo>
                <a:lnTo>
                  <a:pt x="5514" y="6874"/>
                </a:lnTo>
                <a:lnTo>
                  <a:pt x="5474" y="6861"/>
                </a:lnTo>
                <a:lnTo>
                  <a:pt x="5437" y="6848"/>
                </a:lnTo>
                <a:lnTo>
                  <a:pt x="5400" y="6833"/>
                </a:lnTo>
                <a:lnTo>
                  <a:pt x="5364" y="6818"/>
                </a:lnTo>
                <a:lnTo>
                  <a:pt x="5329" y="6801"/>
                </a:lnTo>
                <a:lnTo>
                  <a:pt x="5294" y="6784"/>
                </a:lnTo>
                <a:lnTo>
                  <a:pt x="5261" y="6766"/>
                </a:lnTo>
                <a:lnTo>
                  <a:pt x="5228" y="6748"/>
                </a:lnTo>
                <a:lnTo>
                  <a:pt x="5196" y="6729"/>
                </a:lnTo>
                <a:lnTo>
                  <a:pt x="5165" y="6709"/>
                </a:lnTo>
                <a:lnTo>
                  <a:pt x="5135" y="6688"/>
                </a:lnTo>
                <a:lnTo>
                  <a:pt x="5106" y="6667"/>
                </a:lnTo>
                <a:lnTo>
                  <a:pt x="5077" y="6644"/>
                </a:lnTo>
                <a:lnTo>
                  <a:pt x="5050" y="6622"/>
                </a:lnTo>
                <a:lnTo>
                  <a:pt x="5023" y="6598"/>
                </a:lnTo>
                <a:lnTo>
                  <a:pt x="4997" y="6574"/>
                </a:lnTo>
                <a:lnTo>
                  <a:pt x="4972" y="6549"/>
                </a:lnTo>
                <a:lnTo>
                  <a:pt x="4948" y="6524"/>
                </a:lnTo>
                <a:lnTo>
                  <a:pt x="4924" y="6497"/>
                </a:lnTo>
                <a:lnTo>
                  <a:pt x="4902" y="6470"/>
                </a:lnTo>
                <a:lnTo>
                  <a:pt x="4880" y="6443"/>
                </a:lnTo>
                <a:lnTo>
                  <a:pt x="4859" y="6415"/>
                </a:lnTo>
                <a:lnTo>
                  <a:pt x="4839" y="6386"/>
                </a:lnTo>
                <a:lnTo>
                  <a:pt x="4819" y="6357"/>
                </a:lnTo>
                <a:lnTo>
                  <a:pt x="4800" y="6327"/>
                </a:lnTo>
                <a:lnTo>
                  <a:pt x="4782" y="6297"/>
                </a:lnTo>
                <a:lnTo>
                  <a:pt x="4765" y="6265"/>
                </a:lnTo>
                <a:lnTo>
                  <a:pt x="4748" y="6233"/>
                </a:lnTo>
                <a:lnTo>
                  <a:pt x="4732" y="6201"/>
                </a:lnTo>
                <a:lnTo>
                  <a:pt x="4717" y="6169"/>
                </a:lnTo>
                <a:lnTo>
                  <a:pt x="4703" y="6136"/>
                </a:lnTo>
                <a:lnTo>
                  <a:pt x="4689" y="6102"/>
                </a:lnTo>
                <a:lnTo>
                  <a:pt x="4676" y="6068"/>
                </a:lnTo>
                <a:lnTo>
                  <a:pt x="4664" y="6033"/>
                </a:lnTo>
                <a:lnTo>
                  <a:pt x="4652" y="5998"/>
                </a:lnTo>
                <a:lnTo>
                  <a:pt x="4641" y="5962"/>
                </a:lnTo>
                <a:lnTo>
                  <a:pt x="4631" y="5926"/>
                </a:lnTo>
                <a:lnTo>
                  <a:pt x="4622" y="5890"/>
                </a:lnTo>
                <a:lnTo>
                  <a:pt x="4613" y="5853"/>
                </a:lnTo>
                <a:lnTo>
                  <a:pt x="4605" y="5816"/>
                </a:lnTo>
                <a:lnTo>
                  <a:pt x="4598" y="5779"/>
                </a:lnTo>
                <a:lnTo>
                  <a:pt x="4591" y="5742"/>
                </a:lnTo>
                <a:lnTo>
                  <a:pt x="4585" y="5704"/>
                </a:lnTo>
                <a:lnTo>
                  <a:pt x="4579" y="5666"/>
                </a:lnTo>
                <a:lnTo>
                  <a:pt x="4574" y="5628"/>
                </a:lnTo>
                <a:lnTo>
                  <a:pt x="4570" y="5589"/>
                </a:lnTo>
                <a:lnTo>
                  <a:pt x="4566" y="5551"/>
                </a:lnTo>
                <a:lnTo>
                  <a:pt x="4563" y="5512"/>
                </a:lnTo>
                <a:lnTo>
                  <a:pt x="4561" y="5473"/>
                </a:lnTo>
                <a:lnTo>
                  <a:pt x="4559" y="5433"/>
                </a:lnTo>
                <a:lnTo>
                  <a:pt x="4558" y="5394"/>
                </a:lnTo>
                <a:lnTo>
                  <a:pt x="4558" y="5354"/>
                </a:lnTo>
                <a:lnTo>
                  <a:pt x="4558" y="3525"/>
                </a:lnTo>
                <a:lnTo>
                  <a:pt x="4558" y="3493"/>
                </a:lnTo>
                <a:lnTo>
                  <a:pt x="4559" y="3461"/>
                </a:lnTo>
                <a:lnTo>
                  <a:pt x="4561" y="3428"/>
                </a:lnTo>
                <a:lnTo>
                  <a:pt x="4563" y="3396"/>
                </a:lnTo>
                <a:lnTo>
                  <a:pt x="4566" y="3364"/>
                </a:lnTo>
                <a:lnTo>
                  <a:pt x="4569" y="3331"/>
                </a:lnTo>
                <a:lnTo>
                  <a:pt x="4573" y="3299"/>
                </a:lnTo>
                <a:lnTo>
                  <a:pt x="4578" y="3265"/>
                </a:lnTo>
                <a:lnTo>
                  <a:pt x="4583" y="3233"/>
                </a:lnTo>
                <a:lnTo>
                  <a:pt x="4589" y="3200"/>
                </a:lnTo>
                <a:lnTo>
                  <a:pt x="4596" y="3167"/>
                </a:lnTo>
                <a:lnTo>
                  <a:pt x="4603" y="3135"/>
                </a:lnTo>
                <a:lnTo>
                  <a:pt x="4611" y="3102"/>
                </a:lnTo>
                <a:lnTo>
                  <a:pt x="4619" y="3069"/>
                </a:lnTo>
                <a:lnTo>
                  <a:pt x="4628" y="3036"/>
                </a:lnTo>
                <a:lnTo>
                  <a:pt x="4638" y="3003"/>
                </a:lnTo>
                <a:lnTo>
                  <a:pt x="4648" y="2970"/>
                </a:lnTo>
                <a:lnTo>
                  <a:pt x="4659" y="2938"/>
                </a:lnTo>
                <a:lnTo>
                  <a:pt x="4671" y="2906"/>
                </a:lnTo>
                <a:lnTo>
                  <a:pt x="4684" y="2874"/>
                </a:lnTo>
                <a:lnTo>
                  <a:pt x="4697" y="2843"/>
                </a:lnTo>
                <a:lnTo>
                  <a:pt x="4712" y="2812"/>
                </a:lnTo>
                <a:lnTo>
                  <a:pt x="4727" y="2782"/>
                </a:lnTo>
                <a:lnTo>
                  <a:pt x="4742" y="2752"/>
                </a:lnTo>
                <a:lnTo>
                  <a:pt x="4759" y="2722"/>
                </a:lnTo>
                <a:lnTo>
                  <a:pt x="4776" y="2691"/>
                </a:lnTo>
                <a:lnTo>
                  <a:pt x="4794" y="2662"/>
                </a:lnTo>
                <a:lnTo>
                  <a:pt x="4812" y="2634"/>
                </a:lnTo>
                <a:lnTo>
                  <a:pt x="4832" y="2606"/>
                </a:lnTo>
                <a:lnTo>
                  <a:pt x="4852" y="2578"/>
                </a:lnTo>
                <a:lnTo>
                  <a:pt x="4873" y="2550"/>
                </a:lnTo>
                <a:lnTo>
                  <a:pt x="4895" y="2523"/>
                </a:lnTo>
                <a:lnTo>
                  <a:pt x="4917" y="2497"/>
                </a:lnTo>
                <a:lnTo>
                  <a:pt x="4941" y="2470"/>
                </a:lnTo>
                <a:lnTo>
                  <a:pt x="4965" y="2445"/>
                </a:lnTo>
                <a:lnTo>
                  <a:pt x="4990" y="2420"/>
                </a:lnTo>
                <a:lnTo>
                  <a:pt x="5016" y="2396"/>
                </a:lnTo>
                <a:lnTo>
                  <a:pt x="5042" y="2372"/>
                </a:lnTo>
                <a:lnTo>
                  <a:pt x="5070" y="2349"/>
                </a:lnTo>
                <a:lnTo>
                  <a:pt x="5098" y="2327"/>
                </a:lnTo>
                <a:lnTo>
                  <a:pt x="5127" y="2305"/>
                </a:lnTo>
                <a:lnTo>
                  <a:pt x="5157" y="2284"/>
                </a:lnTo>
                <a:lnTo>
                  <a:pt x="5188" y="2263"/>
                </a:lnTo>
                <a:lnTo>
                  <a:pt x="5219" y="2243"/>
                </a:lnTo>
                <a:lnTo>
                  <a:pt x="5251" y="2224"/>
                </a:lnTo>
                <a:lnTo>
                  <a:pt x="5284" y="2205"/>
                </a:lnTo>
                <a:lnTo>
                  <a:pt x="5318" y="2187"/>
                </a:lnTo>
                <a:lnTo>
                  <a:pt x="5353" y="2169"/>
                </a:lnTo>
                <a:lnTo>
                  <a:pt x="5389" y="2152"/>
                </a:lnTo>
                <a:lnTo>
                  <a:pt x="5425" y="2136"/>
                </a:lnTo>
                <a:lnTo>
                  <a:pt x="5463" y="2122"/>
                </a:lnTo>
                <a:lnTo>
                  <a:pt x="5502" y="2108"/>
                </a:lnTo>
                <a:lnTo>
                  <a:pt x="5542" y="2096"/>
                </a:lnTo>
                <a:lnTo>
                  <a:pt x="5583" y="2083"/>
                </a:lnTo>
                <a:lnTo>
                  <a:pt x="5625" y="2073"/>
                </a:lnTo>
                <a:lnTo>
                  <a:pt x="5667" y="2064"/>
                </a:lnTo>
                <a:lnTo>
                  <a:pt x="5711" y="2056"/>
                </a:lnTo>
                <a:lnTo>
                  <a:pt x="5756" y="2049"/>
                </a:lnTo>
                <a:lnTo>
                  <a:pt x="5802" y="2043"/>
                </a:lnTo>
                <a:lnTo>
                  <a:pt x="5848" y="2038"/>
                </a:lnTo>
                <a:lnTo>
                  <a:pt x="5896" y="2034"/>
                </a:lnTo>
                <a:lnTo>
                  <a:pt x="5945" y="2031"/>
                </a:lnTo>
                <a:lnTo>
                  <a:pt x="5994" y="2030"/>
                </a:lnTo>
                <a:lnTo>
                  <a:pt x="6045" y="2029"/>
                </a:lnTo>
                <a:lnTo>
                  <a:pt x="6092" y="2029"/>
                </a:lnTo>
                <a:lnTo>
                  <a:pt x="6139" y="2031"/>
                </a:lnTo>
                <a:lnTo>
                  <a:pt x="6184" y="2034"/>
                </a:lnTo>
                <a:lnTo>
                  <a:pt x="6229" y="2037"/>
                </a:lnTo>
                <a:lnTo>
                  <a:pt x="6273" y="2042"/>
                </a:lnTo>
                <a:lnTo>
                  <a:pt x="6317" y="2048"/>
                </a:lnTo>
                <a:lnTo>
                  <a:pt x="6359" y="2054"/>
                </a:lnTo>
                <a:lnTo>
                  <a:pt x="6401" y="2062"/>
                </a:lnTo>
                <a:lnTo>
                  <a:pt x="6442" y="2071"/>
                </a:lnTo>
                <a:lnTo>
                  <a:pt x="6482" y="2081"/>
                </a:lnTo>
                <a:lnTo>
                  <a:pt x="6522" y="2091"/>
                </a:lnTo>
                <a:lnTo>
                  <a:pt x="6560" y="2104"/>
                </a:lnTo>
                <a:lnTo>
                  <a:pt x="6598" y="2117"/>
                </a:lnTo>
                <a:lnTo>
                  <a:pt x="6634" y="2131"/>
                </a:lnTo>
                <a:lnTo>
                  <a:pt x="6670" y="2146"/>
                </a:lnTo>
                <a:lnTo>
                  <a:pt x="6706" y="2162"/>
                </a:lnTo>
                <a:lnTo>
                  <a:pt x="6740" y="2179"/>
                </a:lnTo>
                <a:lnTo>
                  <a:pt x="6774" y="2196"/>
                </a:lnTo>
                <a:lnTo>
                  <a:pt x="6806" y="2214"/>
                </a:lnTo>
                <a:lnTo>
                  <a:pt x="6839" y="2233"/>
                </a:lnTo>
                <a:lnTo>
                  <a:pt x="6870" y="2252"/>
                </a:lnTo>
                <a:lnTo>
                  <a:pt x="6901" y="2272"/>
                </a:lnTo>
                <a:lnTo>
                  <a:pt x="6931" y="2293"/>
                </a:lnTo>
                <a:lnTo>
                  <a:pt x="6960" y="2314"/>
                </a:lnTo>
                <a:lnTo>
                  <a:pt x="6988" y="2336"/>
                </a:lnTo>
                <a:lnTo>
                  <a:pt x="7016" y="2358"/>
                </a:lnTo>
                <a:lnTo>
                  <a:pt x="7043" y="2381"/>
                </a:lnTo>
                <a:lnTo>
                  <a:pt x="7069" y="2405"/>
                </a:lnTo>
                <a:lnTo>
                  <a:pt x="7095" y="2429"/>
                </a:lnTo>
                <a:lnTo>
                  <a:pt x="7120" y="2454"/>
                </a:lnTo>
                <a:lnTo>
                  <a:pt x="7144" y="2480"/>
                </a:lnTo>
                <a:lnTo>
                  <a:pt x="7167" y="2506"/>
                </a:lnTo>
                <a:lnTo>
                  <a:pt x="7190" y="2532"/>
                </a:lnTo>
                <a:lnTo>
                  <a:pt x="7212" y="2560"/>
                </a:lnTo>
                <a:lnTo>
                  <a:pt x="7233" y="2587"/>
                </a:lnTo>
                <a:lnTo>
                  <a:pt x="7253" y="2615"/>
                </a:lnTo>
                <a:lnTo>
                  <a:pt x="7273" y="2644"/>
                </a:lnTo>
                <a:lnTo>
                  <a:pt x="7292" y="2672"/>
                </a:lnTo>
                <a:lnTo>
                  <a:pt x="7310" y="2703"/>
                </a:lnTo>
                <a:lnTo>
                  <a:pt x="7327" y="2732"/>
                </a:lnTo>
                <a:lnTo>
                  <a:pt x="7344" y="2763"/>
                </a:lnTo>
                <a:lnTo>
                  <a:pt x="7359" y="2793"/>
                </a:lnTo>
                <a:lnTo>
                  <a:pt x="7374" y="2824"/>
                </a:lnTo>
                <a:lnTo>
                  <a:pt x="7389" y="2856"/>
                </a:lnTo>
                <a:lnTo>
                  <a:pt x="7402" y="2888"/>
                </a:lnTo>
                <a:lnTo>
                  <a:pt x="7415" y="2920"/>
                </a:lnTo>
                <a:lnTo>
                  <a:pt x="7427" y="2953"/>
                </a:lnTo>
                <a:lnTo>
                  <a:pt x="7438" y="2986"/>
                </a:lnTo>
                <a:lnTo>
                  <a:pt x="7449" y="3019"/>
                </a:lnTo>
                <a:lnTo>
                  <a:pt x="7458" y="3053"/>
                </a:lnTo>
                <a:lnTo>
                  <a:pt x="7468" y="3086"/>
                </a:lnTo>
                <a:lnTo>
                  <a:pt x="7476" y="3120"/>
                </a:lnTo>
                <a:lnTo>
                  <a:pt x="7484" y="3153"/>
                </a:lnTo>
                <a:lnTo>
                  <a:pt x="7491" y="3187"/>
                </a:lnTo>
                <a:lnTo>
                  <a:pt x="7497" y="3220"/>
                </a:lnTo>
                <a:lnTo>
                  <a:pt x="7503" y="3254"/>
                </a:lnTo>
                <a:lnTo>
                  <a:pt x="7509" y="3288"/>
                </a:lnTo>
                <a:lnTo>
                  <a:pt x="7514" y="3322"/>
                </a:lnTo>
                <a:lnTo>
                  <a:pt x="7517" y="3356"/>
                </a:lnTo>
                <a:lnTo>
                  <a:pt x="7520" y="3390"/>
                </a:lnTo>
                <a:lnTo>
                  <a:pt x="7523" y="3424"/>
                </a:lnTo>
                <a:lnTo>
                  <a:pt x="7525" y="3457"/>
                </a:lnTo>
                <a:lnTo>
                  <a:pt x="7526" y="3491"/>
                </a:lnTo>
                <a:lnTo>
                  <a:pt x="7526" y="3525"/>
                </a:lnTo>
                <a:lnTo>
                  <a:pt x="7526" y="5437"/>
                </a:lnTo>
                <a:close/>
                <a:moveTo>
                  <a:pt x="11236" y="5876"/>
                </a:moveTo>
                <a:lnTo>
                  <a:pt x="11228" y="5907"/>
                </a:lnTo>
                <a:lnTo>
                  <a:pt x="11220" y="5938"/>
                </a:lnTo>
                <a:lnTo>
                  <a:pt x="11212" y="5969"/>
                </a:lnTo>
                <a:lnTo>
                  <a:pt x="11202" y="5999"/>
                </a:lnTo>
                <a:lnTo>
                  <a:pt x="11193" y="6029"/>
                </a:lnTo>
                <a:lnTo>
                  <a:pt x="11182" y="6058"/>
                </a:lnTo>
                <a:lnTo>
                  <a:pt x="11172" y="6087"/>
                </a:lnTo>
                <a:lnTo>
                  <a:pt x="11160" y="6115"/>
                </a:lnTo>
                <a:lnTo>
                  <a:pt x="11149" y="6143"/>
                </a:lnTo>
                <a:lnTo>
                  <a:pt x="11136" y="6170"/>
                </a:lnTo>
                <a:lnTo>
                  <a:pt x="11124" y="6198"/>
                </a:lnTo>
                <a:lnTo>
                  <a:pt x="11110" y="6224"/>
                </a:lnTo>
                <a:lnTo>
                  <a:pt x="11097" y="6250"/>
                </a:lnTo>
                <a:lnTo>
                  <a:pt x="11082" y="6276"/>
                </a:lnTo>
                <a:lnTo>
                  <a:pt x="11067" y="6302"/>
                </a:lnTo>
                <a:lnTo>
                  <a:pt x="11052" y="6327"/>
                </a:lnTo>
                <a:lnTo>
                  <a:pt x="11036" y="6352"/>
                </a:lnTo>
                <a:lnTo>
                  <a:pt x="11020" y="6376"/>
                </a:lnTo>
                <a:lnTo>
                  <a:pt x="11003" y="6399"/>
                </a:lnTo>
                <a:lnTo>
                  <a:pt x="10985" y="6422"/>
                </a:lnTo>
                <a:lnTo>
                  <a:pt x="10967" y="6445"/>
                </a:lnTo>
                <a:lnTo>
                  <a:pt x="10949" y="6467"/>
                </a:lnTo>
                <a:lnTo>
                  <a:pt x="10930" y="6489"/>
                </a:lnTo>
                <a:lnTo>
                  <a:pt x="10910" y="6510"/>
                </a:lnTo>
                <a:lnTo>
                  <a:pt x="10890" y="6531"/>
                </a:lnTo>
                <a:lnTo>
                  <a:pt x="10870" y="6551"/>
                </a:lnTo>
                <a:lnTo>
                  <a:pt x="10849" y="6571"/>
                </a:lnTo>
                <a:lnTo>
                  <a:pt x="10827" y="6591"/>
                </a:lnTo>
                <a:lnTo>
                  <a:pt x="10805" y="6610"/>
                </a:lnTo>
                <a:lnTo>
                  <a:pt x="10783" y="6629"/>
                </a:lnTo>
                <a:lnTo>
                  <a:pt x="10760" y="6647"/>
                </a:lnTo>
                <a:lnTo>
                  <a:pt x="10736" y="6665"/>
                </a:lnTo>
                <a:lnTo>
                  <a:pt x="10712" y="6682"/>
                </a:lnTo>
                <a:lnTo>
                  <a:pt x="10688" y="6699"/>
                </a:lnTo>
                <a:lnTo>
                  <a:pt x="10663" y="6715"/>
                </a:lnTo>
                <a:lnTo>
                  <a:pt x="10638" y="6731"/>
                </a:lnTo>
                <a:lnTo>
                  <a:pt x="10613" y="6746"/>
                </a:lnTo>
                <a:lnTo>
                  <a:pt x="10587" y="6760"/>
                </a:lnTo>
                <a:lnTo>
                  <a:pt x="10561" y="6774"/>
                </a:lnTo>
                <a:lnTo>
                  <a:pt x="10535" y="6788"/>
                </a:lnTo>
                <a:lnTo>
                  <a:pt x="10508" y="6801"/>
                </a:lnTo>
                <a:lnTo>
                  <a:pt x="10481" y="6813"/>
                </a:lnTo>
                <a:lnTo>
                  <a:pt x="10454" y="6825"/>
                </a:lnTo>
                <a:lnTo>
                  <a:pt x="10426" y="6836"/>
                </a:lnTo>
                <a:lnTo>
                  <a:pt x="10398" y="6847"/>
                </a:lnTo>
                <a:lnTo>
                  <a:pt x="10370" y="6857"/>
                </a:lnTo>
                <a:lnTo>
                  <a:pt x="10342" y="6867"/>
                </a:lnTo>
                <a:lnTo>
                  <a:pt x="10313" y="6876"/>
                </a:lnTo>
                <a:lnTo>
                  <a:pt x="10284" y="6885"/>
                </a:lnTo>
                <a:lnTo>
                  <a:pt x="10255" y="6893"/>
                </a:lnTo>
                <a:lnTo>
                  <a:pt x="10225" y="6900"/>
                </a:lnTo>
                <a:lnTo>
                  <a:pt x="10195" y="6907"/>
                </a:lnTo>
                <a:lnTo>
                  <a:pt x="10165" y="6914"/>
                </a:lnTo>
                <a:lnTo>
                  <a:pt x="10135" y="6919"/>
                </a:lnTo>
                <a:lnTo>
                  <a:pt x="10104" y="6925"/>
                </a:lnTo>
                <a:lnTo>
                  <a:pt x="10072" y="6929"/>
                </a:lnTo>
                <a:lnTo>
                  <a:pt x="10041" y="6933"/>
                </a:lnTo>
                <a:lnTo>
                  <a:pt x="10009" y="6937"/>
                </a:lnTo>
                <a:lnTo>
                  <a:pt x="9977" y="6940"/>
                </a:lnTo>
                <a:lnTo>
                  <a:pt x="9944" y="6942"/>
                </a:lnTo>
                <a:lnTo>
                  <a:pt x="9912" y="6944"/>
                </a:lnTo>
                <a:lnTo>
                  <a:pt x="9879" y="6946"/>
                </a:lnTo>
                <a:lnTo>
                  <a:pt x="9845" y="6947"/>
                </a:lnTo>
                <a:lnTo>
                  <a:pt x="9812" y="6947"/>
                </a:lnTo>
                <a:lnTo>
                  <a:pt x="9765" y="6946"/>
                </a:lnTo>
                <a:lnTo>
                  <a:pt x="9719" y="6945"/>
                </a:lnTo>
                <a:lnTo>
                  <a:pt x="9674" y="6943"/>
                </a:lnTo>
                <a:lnTo>
                  <a:pt x="9630" y="6940"/>
                </a:lnTo>
                <a:lnTo>
                  <a:pt x="9587" y="6935"/>
                </a:lnTo>
                <a:lnTo>
                  <a:pt x="9544" y="6930"/>
                </a:lnTo>
                <a:lnTo>
                  <a:pt x="9501" y="6924"/>
                </a:lnTo>
                <a:lnTo>
                  <a:pt x="9460" y="6917"/>
                </a:lnTo>
                <a:lnTo>
                  <a:pt x="9420" y="6910"/>
                </a:lnTo>
                <a:lnTo>
                  <a:pt x="9380" y="6901"/>
                </a:lnTo>
                <a:lnTo>
                  <a:pt x="9341" y="6891"/>
                </a:lnTo>
                <a:lnTo>
                  <a:pt x="9303" y="6880"/>
                </a:lnTo>
                <a:lnTo>
                  <a:pt x="9266" y="6868"/>
                </a:lnTo>
                <a:lnTo>
                  <a:pt x="9229" y="6856"/>
                </a:lnTo>
                <a:lnTo>
                  <a:pt x="9193" y="6842"/>
                </a:lnTo>
                <a:lnTo>
                  <a:pt x="9158" y="6828"/>
                </a:lnTo>
                <a:lnTo>
                  <a:pt x="9124" y="6813"/>
                </a:lnTo>
                <a:lnTo>
                  <a:pt x="9090" y="6797"/>
                </a:lnTo>
                <a:lnTo>
                  <a:pt x="9057" y="6781"/>
                </a:lnTo>
                <a:lnTo>
                  <a:pt x="9025" y="6763"/>
                </a:lnTo>
                <a:lnTo>
                  <a:pt x="8993" y="6745"/>
                </a:lnTo>
                <a:lnTo>
                  <a:pt x="8962" y="6727"/>
                </a:lnTo>
                <a:lnTo>
                  <a:pt x="8932" y="6707"/>
                </a:lnTo>
                <a:lnTo>
                  <a:pt x="8903" y="6687"/>
                </a:lnTo>
                <a:lnTo>
                  <a:pt x="8874" y="6667"/>
                </a:lnTo>
                <a:lnTo>
                  <a:pt x="8846" y="6645"/>
                </a:lnTo>
                <a:lnTo>
                  <a:pt x="8819" y="6623"/>
                </a:lnTo>
                <a:lnTo>
                  <a:pt x="8792" y="6600"/>
                </a:lnTo>
                <a:lnTo>
                  <a:pt x="8766" y="6577"/>
                </a:lnTo>
                <a:lnTo>
                  <a:pt x="8741" y="6552"/>
                </a:lnTo>
                <a:lnTo>
                  <a:pt x="8717" y="6527"/>
                </a:lnTo>
                <a:lnTo>
                  <a:pt x="8693" y="6502"/>
                </a:lnTo>
                <a:lnTo>
                  <a:pt x="8670" y="6475"/>
                </a:lnTo>
                <a:lnTo>
                  <a:pt x="8648" y="6448"/>
                </a:lnTo>
                <a:lnTo>
                  <a:pt x="8626" y="6421"/>
                </a:lnTo>
                <a:lnTo>
                  <a:pt x="8605" y="6393"/>
                </a:lnTo>
                <a:lnTo>
                  <a:pt x="8585" y="6364"/>
                </a:lnTo>
                <a:lnTo>
                  <a:pt x="8566" y="6335"/>
                </a:lnTo>
                <a:lnTo>
                  <a:pt x="8547" y="6305"/>
                </a:lnTo>
                <a:lnTo>
                  <a:pt x="8530" y="6274"/>
                </a:lnTo>
                <a:lnTo>
                  <a:pt x="8513" y="6243"/>
                </a:lnTo>
                <a:lnTo>
                  <a:pt x="8495" y="6212"/>
                </a:lnTo>
                <a:lnTo>
                  <a:pt x="8480" y="6180"/>
                </a:lnTo>
                <a:lnTo>
                  <a:pt x="8465" y="6147"/>
                </a:lnTo>
                <a:lnTo>
                  <a:pt x="8451" y="6114"/>
                </a:lnTo>
                <a:lnTo>
                  <a:pt x="8438" y="6080"/>
                </a:lnTo>
                <a:lnTo>
                  <a:pt x="8426" y="6046"/>
                </a:lnTo>
                <a:lnTo>
                  <a:pt x="8414" y="6011"/>
                </a:lnTo>
                <a:lnTo>
                  <a:pt x="8403" y="5976"/>
                </a:lnTo>
                <a:lnTo>
                  <a:pt x="8393" y="5940"/>
                </a:lnTo>
                <a:lnTo>
                  <a:pt x="8383" y="5904"/>
                </a:lnTo>
                <a:lnTo>
                  <a:pt x="8375" y="5868"/>
                </a:lnTo>
                <a:lnTo>
                  <a:pt x="8366" y="5831"/>
                </a:lnTo>
                <a:lnTo>
                  <a:pt x="8359" y="5794"/>
                </a:lnTo>
                <a:lnTo>
                  <a:pt x="8352" y="5756"/>
                </a:lnTo>
                <a:lnTo>
                  <a:pt x="8346" y="5719"/>
                </a:lnTo>
                <a:lnTo>
                  <a:pt x="8341" y="5679"/>
                </a:lnTo>
                <a:lnTo>
                  <a:pt x="8337" y="5641"/>
                </a:lnTo>
                <a:lnTo>
                  <a:pt x="8333" y="5602"/>
                </a:lnTo>
                <a:lnTo>
                  <a:pt x="8329" y="5563"/>
                </a:lnTo>
                <a:lnTo>
                  <a:pt x="8327" y="5523"/>
                </a:lnTo>
                <a:lnTo>
                  <a:pt x="8325" y="5483"/>
                </a:lnTo>
                <a:lnTo>
                  <a:pt x="8324" y="5443"/>
                </a:lnTo>
                <a:lnTo>
                  <a:pt x="8324" y="5403"/>
                </a:lnTo>
                <a:lnTo>
                  <a:pt x="8324" y="3525"/>
                </a:lnTo>
                <a:lnTo>
                  <a:pt x="8324" y="3489"/>
                </a:lnTo>
                <a:lnTo>
                  <a:pt x="8325" y="3454"/>
                </a:lnTo>
                <a:lnTo>
                  <a:pt x="8327" y="3419"/>
                </a:lnTo>
                <a:lnTo>
                  <a:pt x="8329" y="3384"/>
                </a:lnTo>
                <a:lnTo>
                  <a:pt x="8333" y="3348"/>
                </a:lnTo>
                <a:lnTo>
                  <a:pt x="8337" y="3314"/>
                </a:lnTo>
                <a:lnTo>
                  <a:pt x="8341" y="3278"/>
                </a:lnTo>
                <a:lnTo>
                  <a:pt x="8346" y="3243"/>
                </a:lnTo>
                <a:lnTo>
                  <a:pt x="8352" y="3208"/>
                </a:lnTo>
                <a:lnTo>
                  <a:pt x="8359" y="3174"/>
                </a:lnTo>
                <a:lnTo>
                  <a:pt x="8366" y="3139"/>
                </a:lnTo>
                <a:lnTo>
                  <a:pt x="8375" y="3105"/>
                </a:lnTo>
                <a:lnTo>
                  <a:pt x="8383" y="3071"/>
                </a:lnTo>
                <a:lnTo>
                  <a:pt x="8393" y="3036"/>
                </a:lnTo>
                <a:lnTo>
                  <a:pt x="8403" y="3002"/>
                </a:lnTo>
                <a:lnTo>
                  <a:pt x="8414" y="2968"/>
                </a:lnTo>
                <a:lnTo>
                  <a:pt x="8426" y="2935"/>
                </a:lnTo>
                <a:lnTo>
                  <a:pt x="8438" y="2902"/>
                </a:lnTo>
                <a:lnTo>
                  <a:pt x="8451" y="2869"/>
                </a:lnTo>
                <a:lnTo>
                  <a:pt x="8465" y="2837"/>
                </a:lnTo>
                <a:lnTo>
                  <a:pt x="8480" y="2805"/>
                </a:lnTo>
                <a:lnTo>
                  <a:pt x="8495" y="2774"/>
                </a:lnTo>
                <a:lnTo>
                  <a:pt x="8512" y="2744"/>
                </a:lnTo>
                <a:lnTo>
                  <a:pt x="8529" y="2713"/>
                </a:lnTo>
                <a:lnTo>
                  <a:pt x="8546" y="2683"/>
                </a:lnTo>
                <a:lnTo>
                  <a:pt x="8565" y="2653"/>
                </a:lnTo>
                <a:lnTo>
                  <a:pt x="8584" y="2625"/>
                </a:lnTo>
                <a:lnTo>
                  <a:pt x="8603" y="2596"/>
                </a:lnTo>
                <a:lnTo>
                  <a:pt x="8624" y="2569"/>
                </a:lnTo>
                <a:lnTo>
                  <a:pt x="8645" y="2541"/>
                </a:lnTo>
                <a:lnTo>
                  <a:pt x="8667" y="2515"/>
                </a:lnTo>
                <a:lnTo>
                  <a:pt x="8689" y="2488"/>
                </a:lnTo>
                <a:lnTo>
                  <a:pt x="8713" y="2463"/>
                </a:lnTo>
                <a:lnTo>
                  <a:pt x="8737" y="2438"/>
                </a:lnTo>
                <a:lnTo>
                  <a:pt x="8762" y="2413"/>
                </a:lnTo>
                <a:lnTo>
                  <a:pt x="8787" y="2390"/>
                </a:lnTo>
                <a:lnTo>
                  <a:pt x="8814" y="2366"/>
                </a:lnTo>
                <a:lnTo>
                  <a:pt x="8841" y="2344"/>
                </a:lnTo>
                <a:lnTo>
                  <a:pt x="8868" y="2322"/>
                </a:lnTo>
                <a:lnTo>
                  <a:pt x="8897" y="2301"/>
                </a:lnTo>
                <a:lnTo>
                  <a:pt x="8926" y="2280"/>
                </a:lnTo>
                <a:lnTo>
                  <a:pt x="8956" y="2261"/>
                </a:lnTo>
                <a:lnTo>
                  <a:pt x="8987" y="2241"/>
                </a:lnTo>
                <a:lnTo>
                  <a:pt x="9018" y="2223"/>
                </a:lnTo>
                <a:lnTo>
                  <a:pt x="9050" y="2205"/>
                </a:lnTo>
                <a:lnTo>
                  <a:pt x="9083" y="2188"/>
                </a:lnTo>
                <a:lnTo>
                  <a:pt x="9117" y="2171"/>
                </a:lnTo>
                <a:lnTo>
                  <a:pt x="9151" y="2155"/>
                </a:lnTo>
                <a:lnTo>
                  <a:pt x="9186" y="2140"/>
                </a:lnTo>
                <a:lnTo>
                  <a:pt x="9222" y="2126"/>
                </a:lnTo>
                <a:lnTo>
                  <a:pt x="9259" y="2113"/>
                </a:lnTo>
                <a:lnTo>
                  <a:pt x="9296" y="2100"/>
                </a:lnTo>
                <a:lnTo>
                  <a:pt x="9335" y="2088"/>
                </a:lnTo>
                <a:lnTo>
                  <a:pt x="9374" y="2078"/>
                </a:lnTo>
                <a:lnTo>
                  <a:pt x="9414" y="2069"/>
                </a:lnTo>
                <a:lnTo>
                  <a:pt x="9455" y="2060"/>
                </a:lnTo>
                <a:lnTo>
                  <a:pt x="9496" y="2053"/>
                </a:lnTo>
                <a:lnTo>
                  <a:pt x="9540" y="2047"/>
                </a:lnTo>
                <a:lnTo>
                  <a:pt x="9583" y="2041"/>
                </a:lnTo>
                <a:lnTo>
                  <a:pt x="9627" y="2037"/>
                </a:lnTo>
                <a:lnTo>
                  <a:pt x="9672" y="2033"/>
                </a:lnTo>
                <a:lnTo>
                  <a:pt x="9718" y="2031"/>
                </a:lnTo>
                <a:lnTo>
                  <a:pt x="9764" y="2029"/>
                </a:lnTo>
                <a:lnTo>
                  <a:pt x="9812" y="2029"/>
                </a:lnTo>
                <a:lnTo>
                  <a:pt x="9848" y="2029"/>
                </a:lnTo>
                <a:lnTo>
                  <a:pt x="9884" y="2030"/>
                </a:lnTo>
                <a:lnTo>
                  <a:pt x="9919" y="2032"/>
                </a:lnTo>
                <a:lnTo>
                  <a:pt x="9954" y="2034"/>
                </a:lnTo>
                <a:lnTo>
                  <a:pt x="9989" y="2036"/>
                </a:lnTo>
                <a:lnTo>
                  <a:pt x="10023" y="2040"/>
                </a:lnTo>
                <a:lnTo>
                  <a:pt x="10056" y="2044"/>
                </a:lnTo>
                <a:lnTo>
                  <a:pt x="10090" y="2048"/>
                </a:lnTo>
                <a:lnTo>
                  <a:pt x="10122" y="2053"/>
                </a:lnTo>
                <a:lnTo>
                  <a:pt x="10155" y="2059"/>
                </a:lnTo>
                <a:lnTo>
                  <a:pt x="10187" y="2065"/>
                </a:lnTo>
                <a:lnTo>
                  <a:pt x="10218" y="2072"/>
                </a:lnTo>
                <a:lnTo>
                  <a:pt x="10249" y="2079"/>
                </a:lnTo>
                <a:lnTo>
                  <a:pt x="10280" y="2088"/>
                </a:lnTo>
                <a:lnTo>
                  <a:pt x="10310" y="2097"/>
                </a:lnTo>
                <a:lnTo>
                  <a:pt x="10340" y="2106"/>
                </a:lnTo>
                <a:lnTo>
                  <a:pt x="10370" y="2116"/>
                </a:lnTo>
                <a:lnTo>
                  <a:pt x="10399" y="2127"/>
                </a:lnTo>
                <a:lnTo>
                  <a:pt x="10427" y="2138"/>
                </a:lnTo>
                <a:lnTo>
                  <a:pt x="10455" y="2149"/>
                </a:lnTo>
                <a:lnTo>
                  <a:pt x="10483" y="2162"/>
                </a:lnTo>
                <a:lnTo>
                  <a:pt x="10511" y="2174"/>
                </a:lnTo>
                <a:lnTo>
                  <a:pt x="10538" y="2188"/>
                </a:lnTo>
                <a:lnTo>
                  <a:pt x="10564" y="2202"/>
                </a:lnTo>
                <a:lnTo>
                  <a:pt x="10590" y="2217"/>
                </a:lnTo>
                <a:lnTo>
                  <a:pt x="10616" y="2232"/>
                </a:lnTo>
                <a:lnTo>
                  <a:pt x="10641" y="2248"/>
                </a:lnTo>
                <a:lnTo>
                  <a:pt x="10666" y="2264"/>
                </a:lnTo>
                <a:lnTo>
                  <a:pt x="10690" y="2281"/>
                </a:lnTo>
                <a:lnTo>
                  <a:pt x="10714" y="2299"/>
                </a:lnTo>
                <a:lnTo>
                  <a:pt x="10737" y="2317"/>
                </a:lnTo>
                <a:lnTo>
                  <a:pt x="10760" y="2336"/>
                </a:lnTo>
                <a:lnTo>
                  <a:pt x="10783" y="2355"/>
                </a:lnTo>
                <a:lnTo>
                  <a:pt x="10805" y="2374"/>
                </a:lnTo>
                <a:lnTo>
                  <a:pt x="10827" y="2394"/>
                </a:lnTo>
                <a:lnTo>
                  <a:pt x="10848" y="2414"/>
                </a:lnTo>
                <a:lnTo>
                  <a:pt x="10868" y="2435"/>
                </a:lnTo>
                <a:lnTo>
                  <a:pt x="10888" y="2456"/>
                </a:lnTo>
                <a:lnTo>
                  <a:pt x="10908" y="2477"/>
                </a:lnTo>
                <a:lnTo>
                  <a:pt x="10927" y="2498"/>
                </a:lnTo>
                <a:lnTo>
                  <a:pt x="10946" y="2520"/>
                </a:lnTo>
                <a:lnTo>
                  <a:pt x="10964" y="2542"/>
                </a:lnTo>
                <a:lnTo>
                  <a:pt x="10982" y="2564"/>
                </a:lnTo>
                <a:lnTo>
                  <a:pt x="10999" y="2586"/>
                </a:lnTo>
                <a:lnTo>
                  <a:pt x="11016" y="2609"/>
                </a:lnTo>
                <a:lnTo>
                  <a:pt x="11032" y="2632"/>
                </a:lnTo>
                <a:lnTo>
                  <a:pt x="11048" y="2656"/>
                </a:lnTo>
                <a:lnTo>
                  <a:pt x="11063" y="2679"/>
                </a:lnTo>
                <a:lnTo>
                  <a:pt x="11078" y="2704"/>
                </a:lnTo>
                <a:lnTo>
                  <a:pt x="11092" y="2729"/>
                </a:lnTo>
                <a:lnTo>
                  <a:pt x="11106" y="2753"/>
                </a:lnTo>
                <a:lnTo>
                  <a:pt x="11120" y="2778"/>
                </a:lnTo>
                <a:lnTo>
                  <a:pt x="11133" y="2803"/>
                </a:lnTo>
                <a:lnTo>
                  <a:pt x="11145" y="2829"/>
                </a:lnTo>
                <a:lnTo>
                  <a:pt x="11157" y="2855"/>
                </a:lnTo>
                <a:lnTo>
                  <a:pt x="11169" y="2881"/>
                </a:lnTo>
                <a:lnTo>
                  <a:pt x="11180" y="2907"/>
                </a:lnTo>
                <a:lnTo>
                  <a:pt x="11190" y="2934"/>
                </a:lnTo>
                <a:lnTo>
                  <a:pt x="11200" y="2961"/>
                </a:lnTo>
                <a:lnTo>
                  <a:pt x="11210" y="2988"/>
                </a:lnTo>
                <a:lnTo>
                  <a:pt x="11219" y="3016"/>
                </a:lnTo>
                <a:lnTo>
                  <a:pt x="11227" y="3044"/>
                </a:lnTo>
                <a:lnTo>
                  <a:pt x="11235" y="3072"/>
                </a:lnTo>
                <a:lnTo>
                  <a:pt x="11243" y="3100"/>
                </a:lnTo>
                <a:lnTo>
                  <a:pt x="10485" y="3351"/>
                </a:lnTo>
                <a:lnTo>
                  <a:pt x="10479" y="3325"/>
                </a:lnTo>
                <a:lnTo>
                  <a:pt x="10473" y="3300"/>
                </a:lnTo>
                <a:lnTo>
                  <a:pt x="10466" y="3273"/>
                </a:lnTo>
                <a:lnTo>
                  <a:pt x="10457" y="3248"/>
                </a:lnTo>
                <a:lnTo>
                  <a:pt x="10448" y="3223"/>
                </a:lnTo>
                <a:lnTo>
                  <a:pt x="10438" y="3198"/>
                </a:lnTo>
                <a:lnTo>
                  <a:pt x="10427" y="3174"/>
                </a:lnTo>
                <a:lnTo>
                  <a:pt x="10416" y="3149"/>
                </a:lnTo>
                <a:lnTo>
                  <a:pt x="10403" y="3125"/>
                </a:lnTo>
                <a:lnTo>
                  <a:pt x="10389" y="3102"/>
                </a:lnTo>
                <a:lnTo>
                  <a:pt x="10374" y="3079"/>
                </a:lnTo>
                <a:lnTo>
                  <a:pt x="10358" y="3056"/>
                </a:lnTo>
                <a:lnTo>
                  <a:pt x="10341" y="3034"/>
                </a:lnTo>
                <a:lnTo>
                  <a:pt x="10323" y="3013"/>
                </a:lnTo>
                <a:lnTo>
                  <a:pt x="10304" y="2992"/>
                </a:lnTo>
                <a:lnTo>
                  <a:pt x="10284" y="2972"/>
                </a:lnTo>
                <a:lnTo>
                  <a:pt x="10262" y="2953"/>
                </a:lnTo>
                <a:lnTo>
                  <a:pt x="10240" y="2934"/>
                </a:lnTo>
                <a:lnTo>
                  <a:pt x="10216" y="2917"/>
                </a:lnTo>
                <a:lnTo>
                  <a:pt x="10192" y="2900"/>
                </a:lnTo>
                <a:lnTo>
                  <a:pt x="10166" y="2884"/>
                </a:lnTo>
                <a:lnTo>
                  <a:pt x="10139" y="2870"/>
                </a:lnTo>
                <a:lnTo>
                  <a:pt x="10111" y="2856"/>
                </a:lnTo>
                <a:lnTo>
                  <a:pt x="10082" y="2844"/>
                </a:lnTo>
                <a:lnTo>
                  <a:pt x="10052" y="2832"/>
                </a:lnTo>
                <a:lnTo>
                  <a:pt x="10021" y="2822"/>
                </a:lnTo>
                <a:lnTo>
                  <a:pt x="9989" y="2814"/>
                </a:lnTo>
                <a:lnTo>
                  <a:pt x="9956" y="2807"/>
                </a:lnTo>
                <a:lnTo>
                  <a:pt x="9921" y="2802"/>
                </a:lnTo>
                <a:lnTo>
                  <a:pt x="9886" y="2798"/>
                </a:lnTo>
                <a:lnTo>
                  <a:pt x="9849" y="2796"/>
                </a:lnTo>
                <a:lnTo>
                  <a:pt x="9812" y="2795"/>
                </a:lnTo>
                <a:lnTo>
                  <a:pt x="9789" y="2795"/>
                </a:lnTo>
                <a:lnTo>
                  <a:pt x="9767" y="2796"/>
                </a:lnTo>
                <a:lnTo>
                  <a:pt x="9746" y="2797"/>
                </a:lnTo>
                <a:lnTo>
                  <a:pt x="9725" y="2799"/>
                </a:lnTo>
                <a:lnTo>
                  <a:pt x="9704" y="2801"/>
                </a:lnTo>
                <a:lnTo>
                  <a:pt x="9684" y="2804"/>
                </a:lnTo>
                <a:lnTo>
                  <a:pt x="9664" y="2807"/>
                </a:lnTo>
                <a:lnTo>
                  <a:pt x="9644" y="2811"/>
                </a:lnTo>
                <a:lnTo>
                  <a:pt x="9625" y="2815"/>
                </a:lnTo>
                <a:lnTo>
                  <a:pt x="9606" y="2819"/>
                </a:lnTo>
                <a:lnTo>
                  <a:pt x="9588" y="2824"/>
                </a:lnTo>
                <a:lnTo>
                  <a:pt x="9570" y="2830"/>
                </a:lnTo>
                <a:lnTo>
                  <a:pt x="9553" y="2836"/>
                </a:lnTo>
                <a:lnTo>
                  <a:pt x="9536" y="2843"/>
                </a:lnTo>
                <a:lnTo>
                  <a:pt x="9519" y="2850"/>
                </a:lnTo>
                <a:lnTo>
                  <a:pt x="9502" y="2857"/>
                </a:lnTo>
                <a:lnTo>
                  <a:pt x="9470" y="2874"/>
                </a:lnTo>
                <a:lnTo>
                  <a:pt x="9440" y="2891"/>
                </a:lnTo>
                <a:lnTo>
                  <a:pt x="9412" y="2910"/>
                </a:lnTo>
                <a:lnTo>
                  <a:pt x="9385" y="2929"/>
                </a:lnTo>
                <a:lnTo>
                  <a:pt x="9359" y="2950"/>
                </a:lnTo>
                <a:lnTo>
                  <a:pt x="9334" y="2973"/>
                </a:lnTo>
                <a:lnTo>
                  <a:pt x="9311" y="2996"/>
                </a:lnTo>
                <a:lnTo>
                  <a:pt x="9290" y="3020"/>
                </a:lnTo>
                <a:lnTo>
                  <a:pt x="9270" y="3046"/>
                </a:lnTo>
                <a:lnTo>
                  <a:pt x="9251" y="3072"/>
                </a:lnTo>
                <a:lnTo>
                  <a:pt x="9233" y="3099"/>
                </a:lnTo>
                <a:lnTo>
                  <a:pt x="9217" y="3127"/>
                </a:lnTo>
                <a:lnTo>
                  <a:pt x="9202" y="3156"/>
                </a:lnTo>
                <a:lnTo>
                  <a:pt x="9188" y="3185"/>
                </a:lnTo>
                <a:lnTo>
                  <a:pt x="9176" y="3215"/>
                </a:lnTo>
                <a:lnTo>
                  <a:pt x="9165" y="3246"/>
                </a:lnTo>
                <a:lnTo>
                  <a:pt x="9155" y="3278"/>
                </a:lnTo>
                <a:lnTo>
                  <a:pt x="9147" y="3310"/>
                </a:lnTo>
                <a:lnTo>
                  <a:pt x="9140" y="3341"/>
                </a:lnTo>
                <a:lnTo>
                  <a:pt x="9134" y="3372"/>
                </a:lnTo>
                <a:lnTo>
                  <a:pt x="9129" y="3403"/>
                </a:lnTo>
                <a:lnTo>
                  <a:pt x="9126" y="3435"/>
                </a:lnTo>
                <a:lnTo>
                  <a:pt x="9124" y="3466"/>
                </a:lnTo>
                <a:lnTo>
                  <a:pt x="9123" y="3497"/>
                </a:lnTo>
                <a:lnTo>
                  <a:pt x="9123" y="5423"/>
                </a:lnTo>
                <a:lnTo>
                  <a:pt x="9124" y="5461"/>
                </a:lnTo>
                <a:lnTo>
                  <a:pt x="9126" y="5499"/>
                </a:lnTo>
                <a:lnTo>
                  <a:pt x="9129" y="5536"/>
                </a:lnTo>
                <a:lnTo>
                  <a:pt x="9134" y="5573"/>
                </a:lnTo>
                <a:lnTo>
                  <a:pt x="9140" y="5609"/>
                </a:lnTo>
                <a:lnTo>
                  <a:pt x="9147" y="5645"/>
                </a:lnTo>
                <a:lnTo>
                  <a:pt x="9155" y="5680"/>
                </a:lnTo>
                <a:lnTo>
                  <a:pt x="9165" y="5716"/>
                </a:lnTo>
                <a:lnTo>
                  <a:pt x="9176" y="5750"/>
                </a:lnTo>
                <a:lnTo>
                  <a:pt x="9189" y="5783"/>
                </a:lnTo>
                <a:lnTo>
                  <a:pt x="9202" y="5815"/>
                </a:lnTo>
                <a:lnTo>
                  <a:pt x="9218" y="5846"/>
                </a:lnTo>
                <a:lnTo>
                  <a:pt x="9235" y="5876"/>
                </a:lnTo>
                <a:lnTo>
                  <a:pt x="9253" y="5905"/>
                </a:lnTo>
                <a:lnTo>
                  <a:pt x="9272" y="5932"/>
                </a:lnTo>
                <a:lnTo>
                  <a:pt x="9293" y="5959"/>
                </a:lnTo>
                <a:lnTo>
                  <a:pt x="9316" y="5984"/>
                </a:lnTo>
                <a:lnTo>
                  <a:pt x="9339" y="6008"/>
                </a:lnTo>
                <a:lnTo>
                  <a:pt x="9364" y="6031"/>
                </a:lnTo>
                <a:lnTo>
                  <a:pt x="9391" y="6052"/>
                </a:lnTo>
                <a:lnTo>
                  <a:pt x="9418" y="6072"/>
                </a:lnTo>
                <a:lnTo>
                  <a:pt x="9447" y="6090"/>
                </a:lnTo>
                <a:lnTo>
                  <a:pt x="9477" y="6107"/>
                </a:lnTo>
                <a:lnTo>
                  <a:pt x="9510" y="6122"/>
                </a:lnTo>
                <a:lnTo>
                  <a:pt x="9526" y="6129"/>
                </a:lnTo>
                <a:lnTo>
                  <a:pt x="9542" y="6136"/>
                </a:lnTo>
                <a:lnTo>
                  <a:pt x="9559" y="6142"/>
                </a:lnTo>
                <a:lnTo>
                  <a:pt x="9577" y="6148"/>
                </a:lnTo>
                <a:lnTo>
                  <a:pt x="9594" y="6153"/>
                </a:lnTo>
                <a:lnTo>
                  <a:pt x="9612" y="6158"/>
                </a:lnTo>
                <a:lnTo>
                  <a:pt x="9631" y="6163"/>
                </a:lnTo>
                <a:lnTo>
                  <a:pt x="9649" y="6166"/>
                </a:lnTo>
                <a:lnTo>
                  <a:pt x="9668" y="6170"/>
                </a:lnTo>
                <a:lnTo>
                  <a:pt x="9688" y="6173"/>
                </a:lnTo>
                <a:lnTo>
                  <a:pt x="9708" y="6175"/>
                </a:lnTo>
                <a:lnTo>
                  <a:pt x="9728" y="6177"/>
                </a:lnTo>
                <a:lnTo>
                  <a:pt x="9769" y="6180"/>
                </a:lnTo>
                <a:lnTo>
                  <a:pt x="9812" y="6181"/>
                </a:lnTo>
                <a:lnTo>
                  <a:pt x="9843" y="6181"/>
                </a:lnTo>
                <a:lnTo>
                  <a:pt x="9875" y="6179"/>
                </a:lnTo>
                <a:lnTo>
                  <a:pt x="9905" y="6176"/>
                </a:lnTo>
                <a:lnTo>
                  <a:pt x="9935" y="6172"/>
                </a:lnTo>
                <a:lnTo>
                  <a:pt x="9965" y="6167"/>
                </a:lnTo>
                <a:lnTo>
                  <a:pt x="9994" y="6161"/>
                </a:lnTo>
                <a:lnTo>
                  <a:pt x="10022" y="6153"/>
                </a:lnTo>
                <a:lnTo>
                  <a:pt x="10049" y="6145"/>
                </a:lnTo>
                <a:lnTo>
                  <a:pt x="10077" y="6135"/>
                </a:lnTo>
                <a:lnTo>
                  <a:pt x="10103" y="6124"/>
                </a:lnTo>
                <a:lnTo>
                  <a:pt x="10129" y="6112"/>
                </a:lnTo>
                <a:lnTo>
                  <a:pt x="10154" y="6099"/>
                </a:lnTo>
                <a:lnTo>
                  <a:pt x="10179" y="6085"/>
                </a:lnTo>
                <a:lnTo>
                  <a:pt x="10203" y="6070"/>
                </a:lnTo>
                <a:lnTo>
                  <a:pt x="10226" y="6053"/>
                </a:lnTo>
                <a:lnTo>
                  <a:pt x="10249" y="6036"/>
                </a:lnTo>
                <a:lnTo>
                  <a:pt x="10271" y="6017"/>
                </a:lnTo>
                <a:lnTo>
                  <a:pt x="10292" y="5997"/>
                </a:lnTo>
                <a:lnTo>
                  <a:pt x="10312" y="5977"/>
                </a:lnTo>
                <a:lnTo>
                  <a:pt x="10331" y="5956"/>
                </a:lnTo>
                <a:lnTo>
                  <a:pt x="10349" y="5933"/>
                </a:lnTo>
                <a:lnTo>
                  <a:pt x="10366" y="5910"/>
                </a:lnTo>
                <a:lnTo>
                  <a:pt x="10382" y="5887"/>
                </a:lnTo>
                <a:lnTo>
                  <a:pt x="10397" y="5862"/>
                </a:lnTo>
                <a:lnTo>
                  <a:pt x="10410" y="5836"/>
                </a:lnTo>
                <a:lnTo>
                  <a:pt x="10423" y="5810"/>
                </a:lnTo>
                <a:lnTo>
                  <a:pt x="10435" y="5782"/>
                </a:lnTo>
                <a:lnTo>
                  <a:pt x="10446" y="5754"/>
                </a:lnTo>
                <a:lnTo>
                  <a:pt x="10455" y="5725"/>
                </a:lnTo>
                <a:lnTo>
                  <a:pt x="10464" y="5695"/>
                </a:lnTo>
                <a:lnTo>
                  <a:pt x="10472" y="5663"/>
                </a:lnTo>
                <a:lnTo>
                  <a:pt x="10478" y="5632"/>
                </a:lnTo>
                <a:lnTo>
                  <a:pt x="11236" y="58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Picture120"/>
          <p:cNvSpPr>
            <a:spLocks noChangeAspect="1" noEditPoints="1"/>
          </p:cNvSpPr>
          <p:nvPr/>
        </p:nvSpPr>
        <p:spPr bwMode="auto">
          <a:xfrm>
            <a:off x="1835696" y="1088740"/>
            <a:ext cx="309099" cy="288032"/>
          </a:xfrm>
          <a:custGeom>
            <a:avLst/>
            <a:gdLst>
              <a:gd name="T0" fmla="*/ 1590 w 1702"/>
              <a:gd name="T1" fmla="*/ 1180 h 1586"/>
              <a:gd name="T2" fmla="*/ 1582 w 1702"/>
              <a:gd name="T3" fmla="*/ 1132 h 1586"/>
              <a:gd name="T4" fmla="*/ 1562 w 1702"/>
              <a:gd name="T5" fmla="*/ 1088 h 1586"/>
              <a:gd name="T6" fmla="*/ 1530 w 1702"/>
              <a:gd name="T7" fmla="*/ 1054 h 1586"/>
              <a:gd name="T8" fmla="*/ 1490 w 1702"/>
              <a:gd name="T9" fmla="*/ 1030 h 1586"/>
              <a:gd name="T10" fmla="*/ 1442 w 1702"/>
              <a:gd name="T11" fmla="*/ 1018 h 1586"/>
              <a:gd name="T12" fmla="*/ 1418 w 1702"/>
              <a:gd name="T13" fmla="*/ 1092 h 1586"/>
              <a:gd name="T14" fmla="*/ 1444 w 1702"/>
              <a:gd name="T15" fmla="*/ 1092 h 1586"/>
              <a:gd name="T16" fmla="*/ 1488 w 1702"/>
              <a:gd name="T17" fmla="*/ 1118 h 1586"/>
              <a:gd name="T18" fmla="*/ 1514 w 1702"/>
              <a:gd name="T19" fmla="*/ 1162 h 1586"/>
              <a:gd name="T20" fmla="*/ 1416 w 1702"/>
              <a:gd name="T21" fmla="*/ 1474 h 1586"/>
              <a:gd name="T22" fmla="*/ 1416 w 1702"/>
              <a:gd name="T23" fmla="*/ 932 h 1586"/>
              <a:gd name="T24" fmla="*/ 1406 w 1702"/>
              <a:gd name="T25" fmla="*/ 888 h 1586"/>
              <a:gd name="T26" fmla="*/ 1384 w 1702"/>
              <a:gd name="T27" fmla="*/ 850 h 1586"/>
              <a:gd name="T28" fmla="*/ 1354 w 1702"/>
              <a:gd name="T29" fmla="*/ 820 h 1586"/>
              <a:gd name="T30" fmla="*/ 1318 w 1702"/>
              <a:gd name="T31" fmla="*/ 800 h 1586"/>
              <a:gd name="T32" fmla="*/ 1276 w 1702"/>
              <a:gd name="T33" fmla="*/ 792 h 1586"/>
              <a:gd name="T34" fmla="*/ 1248 w 1702"/>
              <a:gd name="T35" fmla="*/ 796 h 1586"/>
              <a:gd name="T36" fmla="*/ 1208 w 1702"/>
              <a:gd name="T37" fmla="*/ 812 h 1586"/>
              <a:gd name="T38" fmla="*/ 1176 w 1702"/>
              <a:gd name="T39" fmla="*/ 838 h 1586"/>
              <a:gd name="T40" fmla="*/ 1152 w 1702"/>
              <a:gd name="T41" fmla="*/ 874 h 1586"/>
              <a:gd name="T42" fmla="*/ 1138 w 1702"/>
              <a:gd name="T43" fmla="*/ 916 h 1586"/>
              <a:gd name="T44" fmla="*/ 1134 w 1702"/>
              <a:gd name="T45" fmla="*/ 1134 h 1586"/>
              <a:gd name="T46" fmla="*/ 1022 w 1702"/>
              <a:gd name="T47" fmla="*/ 452 h 1586"/>
              <a:gd name="T48" fmla="*/ 964 w 1702"/>
              <a:gd name="T49" fmla="*/ 396 h 1586"/>
              <a:gd name="T50" fmla="*/ 738 w 1702"/>
              <a:gd name="T51" fmla="*/ 340 h 1586"/>
              <a:gd name="T52" fmla="*/ 794 w 1702"/>
              <a:gd name="T53" fmla="*/ 1134 h 1586"/>
              <a:gd name="T54" fmla="*/ 568 w 1702"/>
              <a:gd name="T55" fmla="*/ 622 h 1586"/>
              <a:gd name="T56" fmla="*/ 398 w 1702"/>
              <a:gd name="T57" fmla="*/ 56 h 1586"/>
              <a:gd name="T58" fmla="*/ 114 w 1702"/>
              <a:gd name="T59" fmla="*/ 0 h 1586"/>
              <a:gd name="T60" fmla="*/ 114 w 1702"/>
              <a:gd name="T61" fmla="*/ 1474 h 1586"/>
              <a:gd name="T62" fmla="*/ 1702 w 1702"/>
              <a:gd name="T63" fmla="*/ 1586 h 1586"/>
              <a:gd name="T64" fmla="*/ 1022 w 1702"/>
              <a:gd name="T65" fmla="*/ 792 h 1586"/>
              <a:gd name="T66" fmla="*/ 964 w 1702"/>
              <a:gd name="T67" fmla="*/ 792 h 1586"/>
              <a:gd name="T68" fmla="*/ 964 w 1702"/>
              <a:gd name="T69" fmla="*/ 680 h 1586"/>
              <a:gd name="T70" fmla="*/ 964 w 1702"/>
              <a:gd name="T71" fmla="*/ 736 h 1586"/>
              <a:gd name="T72" fmla="*/ 964 w 1702"/>
              <a:gd name="T73" fmla="*/ 964 h 1586"/>
              <a:gd name="T74" fmla="*/ 1022 w 1702"/>
              <a:gd name="T75" fmla="*/ 1020 h 1586"/>
              <a:gd name="T76" fmla="*/ 964 w 1702"/>
              <a:gd name="T77" fmla="*/ 1020 h 1586"/>
              <a:gd name="T78" fmla="*/ 1022 w 1702"/>
              <a:gd name="T79" fmla="*/ 622 h 1586"/>
              <a:gd name="T80" fmla="*/ 1022 w 1702"/>
              <a:gd name="T81" fmla="*/ 566 h 1586"/>
              <a:gd name="T82" fmla="*/ 1022 w 1702"/>
              <a:gd name="T83" fmla="*/ 1134 h 1586"/>
              <a:gd name="T84" fmla="*/ 794 w 1702"/>
              <a:gd name="T85" fmla="*/ 1246 h 1586"/>
              <a:gd name="T86" fmla="*/ 1078 w 1702"/>
              <a:gd name="T87" fmla="*/ 1246 h 1586"/>
              <a:gd name="T88" fmla="*/ 448 w 1702"/>
              <a:gd name="T89" fmla="*/ 1306 h 15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702" h="1586">
                <a:moveTo>
                  <a:pt x="1590" y="1474"/>
                </a:moveTo>
                <a:lnTo>
                  <a:pt x="1590" y="1180"/>
                </a:lnTo>
                <a:lnTo>
                  <a:pt x="1590" y="1180"/>
                </a:lnTo>
                <a:lnTo>
                  <a:pt x="1590" y="1164"/>
                </a:lnTo>
                <a:lnTo>
                  <a:pt x="1586" y="1148"/>
                </a:lnTo>
                <a:lnTo>
                  <a:pt x="1582" y="1132"/>
                </a:lnTo>
                <a:lnTo>
                  <a:pt x="1576" y="1116"/>
                </a:lnTo>
                <a:lnTo>
                  <a:pt x="1570" y="1102"/>
                </a:lnTo>
                <a:lnTo>
                  <a:pt x="1562" y="1088"/>
                </a:lnTo>
                <a:lnTo>
                  <a:pt x="1552" y="1076"/>
                </a:lnTo>
                <a:lnTo>
                  <a:pt x="1542" y="1064"/>
                </a:lnTo>
                <a:lnTo>
                  <a:pt x="1530" y="1054"/>
                </a:lnTo>
                <a:lnTo>
                  <a:pt x="1518" y="1044"/>
                </a:lnTo>
                <a:lnTo>
                  <a:pt x="1504" y="1036"/>
                </a:lnTo>
                <a:lnTo>
                  <a:pt x="1490" y="1030"/>
                </a:lnTo>
                <a:lnTo>
                  <a:pt x="1474" y="1024"/>
                </a:lnTo>
                <a:lnTo>
                  <a:pt x="1458" y="1020"/>
                </a:lnTo>
                <a:lnTo>
                  <a:pt x="1442" y="1018"/>
                </a:lnTo>
                <a:lnTo>
                  <a:pt x="1426" y="1016"/>
                </a:lnTo>
                <a:lnTo>
                  <a:pt x="1418" y="1016"/>
                </a:lnTo>
                <a:lnTo>
                  <a:pt x="1418" y="1092"/>
                </a:lnTo>
                <a:lnTo>
                  <a:pt x="1426" y="1092"/>
                </a:lnTo>
                <a:lnTo>
                  <a:pt x="1426" y="1092"/>
                </a:lnTo>
                <a:lnTo>
                  <a:pt x="1444" y="1092"/>
                </a:lnTo>
                <a:lnTo>
                  <a:pt x="1460" y="1098"/>
                </a:lnTo>
                <a:lnTo>
                  <a:pt x="1476" y="1106"/>
                </a:lnTo>
                <a:lnTo>
                  <a:pt x="1488" y="1118"/>
                </a:lnTo>
                <a:lnTo>
                  <a:pt x="1500" y="1130"/>
                </a:lnTo>
                <a:lnTo>
                  <a:pt x="1508" y="1146"/>
                </a:lnTo>
                <a:lnTo>
                  <a:pt x="1514" y="1162"/>
                </a:lnTo>
                <a:lnTo>
                  <a:pt x="1516" y="1180"/>
                </a:lnTo>
                <a:lnTo>
                  <a:pt x="1516" y="1474"/>
                </a:lnTo>
                <a:lnTo>
                  <a:pt x="1416" y="1474"/>
                </a:lnTo>
                <a:lnTo>
                  <a:pt x="1416" y="948"/>
                </a:lnTo>
                <a:lnTo>
                  <a:pt x="1416" y="948"/>
                </a:lnTo>
                <a:lnTo>
                  <a:pt x="1416" y="932"/>
                </a:lnTo>
                <a:lnTo>
                  <a:pt x="1414" y="916"/>
                </a:lnTo>
                <a:lnTo>
                  <a:pt x="1410" y="902"/>
                </a:lnTo>
                <a:lnTo>
                  <a:pt x="1406" y="888"/>
                </a:lnTo>
                <a:lnTo>
                  <a:pt x="1400" y="874"/>
                </a:lnTo>
                <a:lnTo>
                  <a:pt x="1392" y="860"/>
                </a:lnTo>
                <a:lnTo>
                  <a:pt x="1384" y="850"/>
                </a:lnTo>
                <a:lnTo>
                  <a:pt x="1376" y="838"/>
                </a:lnTo>
                <a:lnTo>
                  <a:pt x="1366" y="828"/>
                </a:lnTo>
                <a:lnTo>
                  <a:pt x="1354" y="820"/>
                </a:lnTo>
                <a:lnTo>
                  <a:pt x="1342" y="812"/>
                </a:lnTo>
                <a:lnTo>
                  <a:pt x="1330" y="806"/>
                </a:lnTo>
                <a:lnTo>
                  <a:pt x="1318" y="800"/>
                </a:lnTo>
                <a:lnTo>
                  <a:pt x="1304" y="796"/>
                </a:lnTo>
                <a:lnTo>
                  <a:pt x="1290" y="794"/>
                </a:lnTo>
                <a:lnTo>
                  <a:pt x="1276" y="792"/>
                </a:lnTo>
                <a:lnTo>
                  <a:pt x="1276" y="792"/>
                </a:lnTo>
                <a:lnTo>
                  <a:pt x="1262" y="794"/>
                </a:lnTo>
                <a:lnTo>
                  <a:pt x="1248" y="796"/>
                </a:lnTo>
                <a:lnTo>
                  <a:pt x="1234" y="800"/>
                </a:lnTo>
                <a:lnTo>
                  <a:pt x="1220" y="806"/>
                </a:lnTo>
                <a:lnTo>
                  <a:pt x="1208" y="812"/>
                </a:lnTo>
                <a:lnTo>
                  <a:pt x="1196" y="820"/>
                </a:lnTo>
                <a:lnTo>
                  <a:pt x="1186" y="828"/>
                </a:lnTo>
                <a:lnTo>
                  <a:pt x="1176" y="838"/>
                </a:lnTo>
                <a:lnTo>
                  <a:pt x="1166" y="850"/>
                </a:lnTo>
                <a:lnTo>
                  <a:pt x="1158" y="860"/>
                </a:lnTo>
                <a:lnTo>
                  <a:pt x="1152" y="874"/>
                </a:lnTo>
                <a:lnTo>
                  <a:pt x="1146" y="888"/>
                </a:lnTo>
                <a:lnTo>
                  <a:pt x="1140" y="902"/>
                </a:lnTo>
                <a:lnTo>
                  <a:pt x="1138" y="916"/>
                </a:lnTo>
                <a:lnTo>
                  <a:pt x="1136" y="932"/>
                </a:lnTo>
                <a:lnTo>
                  <a:pt x="1134" y="948"/>
                </a:lnTo>
                <a:lnTo>
                  <a:pt x="1134" y="1134"/>
                </a:lnTo>
                <a:lnTo>
                  <a:pt x="1078" y="1134"/>
                </a:lnTo>
                <a:lnTo>
                  <a:pt x="1078" y="452"/>
                </a:lnTo>
                <a:lnTo>
                  <a:pt x="1022" y="452"/>
                </a:lnTo>
                <a:lnTo>
                  <a:pt x="1022" y="510"/>
                </a:lnTo>
                <a:lnTo>
                  <a:pt x="964" y="510"/>
                </a:lnTo>
                <a:lnTo>
                  <a:pt x="964" y="396"/>
                </a:lnTo>
                <a:lnTo>
                  <a:pt x="1022" y="396"/>
                </a:lnTo>
                <a:lnTo>
                  <a:pt x="1022" y="340"/>
                </a:lnTo>
                <a:lnTo>
                  <a:pt x="738" y="340"/>
                </a:lnTo>
                <a:lnTo>
                  <a:pt x="738" y="396"/>
                </a:lnTo>
                <a:lnTo>
                  <a:pt x="794" y="396"/>
                </a:lnTo>
                <a:lnTo>
                  <a:pt x="794" y="1134"/>
                </a:lnTo>
                <a:lnTo>
                  <a:pt x="680" y="1134"/>
                </a:lnTo>
                <a:lnTo>
                  <a:pt x="680" y="622"/>
                </a:lnTo>
                <a:lnTo>
                  <a:pt x="568" y="622"/>
                </a:lnTo>
                <a:lnTo>
                  <a:pt x="568" y="1134"/>
                </a:lnTo>
                <a:lnTo>
                  <a:pt x="440" y="1134"/>
                </a:lnTo>
                <a:lnTo>
                  <a:pt x="398" y="56"/>
                </a:lnTo>
                <a:lnTo>
                  <a:pt x="454" y="56"/>
                </a:lnTo>
                <a:lnTo>
                  <a:pt x="454" y="0"/>
                </a:lnTo>
                <a:lnTo>
                  <a:pt x="114" y="0"/>
                </a:lnTo>
                <a:lnTo>
                  <a:pt x="114" y="56"/>
                </a:lnTo>
                <a:lnTo>
                  <a:pt x="170" y="56"/>
                </a:lnTo>
                <a:lnTo>
                  <a:pt x="114" y="1474"/>
                </a:lnTo>
                <a:lnTo>
                  <a:pt x="0" y="1474"/>
                </a:lnTo>
                <a:lnTo>
                  <a:pt x="0" y="1586"/>
                </a:lnTo>
                <a:lnTo>
                  <a:pt x="1702" y="1586"/>
                </a:lnTo>
                <a:lnTo>
                  <a:pt x="1702" y="1474"/>
                </a:lnTo>
                <a:lnTo>
                  <a:pt x="1590" y="1474"/>
                </a:lnTo>
                <a:close/>
                <a:moveTo>
                  <a:pt x="1022" y="792"/>
                </a:moveTo>
                <a:lnTo>
                  <a:pt x="1022" y="850"/>
                </a:lnTo>
                <a:lnTo>
                  <a:pt x="964" y="850"/>
                </a:lnTo>
                <a:lnTo>
                  <a:pt x="964" y="792"/>
                </a:lnTo>
                <a:lnTo>
                  <a:pt x="1022" y="792"/>
                </a:lnTo>
                <a:close/>
                <a:moveTo>
                  <a:pt x="964" y="736"/>
                </a:moveTo>
                <a:lnTo>
                  <a:pt x="964" y="680"/>
                </a:lnTo>
                <a:lnTo>
                  <a:pt x="1022" y="680"/>
                </a:lnTo>
                <a:lnTo>
                  <a:pt x="1022" y="736"/>
                </a:lnTo>
                <a:lnTo>
                  <a:pt x="964" y="736"/>
                </a:lnTo>
                <a:close/>
                <a:moveTo>
                  <a:pt x="1022" y="906"/>
                </a:moveTo>
                <a:lnTo>
                  <a:pt x="1022" y="964"/>
                </a:lnTo>
                <a:lnTo>
                  <a:pt x="964" y="964"/>
                </a:lnTo>
                <a:lnTo>
                  <a:pt x="964" y="906"/>
                </a:lnTo>
                <a:lnTo>
                  <a:pt x="1022" y="906"/>
                </a:lnTo>
                <a:close/>
                <a:moveTo>
                  <a:pt x="1022" y="1020"/>
                </a:moveTo>
                <a:lnTo>
                  <a:pt x="1022" y="1076"/>
                </a:lnTo>
                <a:lnTo>
                  <a:pt x="964" y="1076"/>
                </a:lnTo>
                <a:lnTo>
                  <a:pt x="964" y="1020"/>
                </a:lnTo>
                <a:lnTo>
                  <a:pt x="1022" y="1020"/>
                </a:lnTo>
                <a:close/>
                <a:moveTo>
                  <a:pt x="1022" y="566"/>
                </a:moveTo>
                <a:lnTo>
                  <a:pt x="1022" y="622"/>
                </a:lnTo>
                <a:lnTo>
                  <a:pt x="964" y="622"/>
                </a:lnTo>
                <a:lnTo>
                  <a:pt x="964" y="566"/>
                </a:lnTo>
                <a:lnTo>
                  <a:pt x="1022" y="566"/>
                </a:lnTo>
                <a:close/>
                <a:moveTo>
                  <a:pt x="964" y="1134"/>
                </a:moveTo>
                <a:lnTo>
                  <a:pt x="1022" y="1134"/>
                </a:lnTo>
                <a:lnTo>
                  <a:pt x="1022" y="1134"/>
                </a:lnTo>
                <a:lnTo>
                  <a:pt x="964" y="1134"/>
                </a:lnTo>
                <a:lnTo>
                  <a:pt x="964" y="1134"/>
                </a:lnTo>
                <a:close/>
                <a:moveTo>
                  <a:pt x="794" y="1246"/>
                </a:moveTo>
                <a:lnTo>
                  <a:pt x="964" y="1246"/>
                </a:lnTo>
                <a:lnTo>
                  <a:pt x="1022" y="1246"/>
                </a:lnTo>
                <a:lnTo>
                  <a:pt x="1078" y="1246"/>
                </a:lnTo>
                <a:lnTo>
                  <a:pt x="1134" y="1246"/>
                </a:lnTo>
                <a:lnTo>
                  <a:pt x="1134" y="1306"/>
                </a:lnTo>
                <a:lnTo>
                  <a:pt x="448" y="1306"/>
                </a:lnTo>
                <a:lnTo>
                  <a:pt x="446" y="1246"/>
                </a:lnTo>
                <a:lnTo>
                  <a:pt x="794" y="124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989602" y="1124744"/>
            <a:ext cx="666074" cy="216024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4" t="20749" r="4971" b="36633"/>
          <a:stretch/>
        </p:blipFill>
        <p:spPr>
          <a:xfrm>
            <a:off x="6516216" y="4257092"/>
            <a:ext cx="1124902" cy="178135"/>
          </a:xfrm>
          <a:prstGeom prst="rect">
            <a:avLst/>
          </a:prstGeom>
        </p:spPr>
      </p:pic>
      <p:pic>
        <p:nvPicPr>
          <p:cNvPr id="34820" name="Picture 4" descr="\\gazprom-neft.local\dfs\Газпром нефть\Папки пользователей\Личные папки\Biryulin.DL\My Documents\My Pictures\Клиентский день_2016_РЗБМ\2016-03-24 ╨У╨░╨╖╨┐╤А╨╛╨╝_╨Э╨╡╤Д╤В╨╡╨┐╤А╨╛╨┤╤Г╨║╤В_╨С╨╕╤В╤Г╨╝╨╜╤Л╨╕╠Ж╨Ч╨░╨▓╨╛╨┤-141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77" b="11846"/>
          <a:stretch/>
        </p:blipFill>
        <p:spPr bwMode="auto">
          <a:xfrm>
            <a:off x="5580112" y="1412776"/>
            <a:ext cx="2772308" cy="9125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314058" y="5606660"/>
            <a:ext cx="8569325" cy="738664"/>
          </a:xfrm>
          <a:prstGeom prst="rect">
            <a:avLst/>
          </a:prstGeom>
          <a:solidFill>
            <a:schemeClr val="accent3"/>
          </a:solidFill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dirty="0" smtClean="0">
                <a:solidFill>
                  <a:schemeClr val="bg1"/>
                </a:solidFill>
              </a:rPr>
              <a:t>Реализованы </a:t>
            </a:r>
            <a:r>
              <a:rPr lang="ru-RU" sz="1400" dirty="0">
                <a:solidFill>
                  <a:schemeClr val="bg1"/>
                </a:solidFill>
              </a:rPr>
              <a:t>мероприятия по получению </a:t>
            </a:r>
            <a:r>
              <a:rPr lang="ru-RU" sz="1400" dirty="0">
                <a:solidFill>
                  <a:schemeClr val="accent6"/>
                </a:solidFill>
              </a:rPr>
              <a:t>деклараций о соответствии на битумы по ГОСТ 33133-2014 </a:t>
            </a:r>
            <a:r>
              <a:rPr lang="ru-RU" sz="1400" dirty="0" smtClean="0">
                <a:solidFill>
                  <a:schemeClr val="bg1"/>
                </a:solidFill>
              </a:rPr>
              <a:t>в </a:t>
            </a:r>
            <a:r>
              <a:rPr lang="ru-RU" sz="1400" dirty="0">
                <a:solidFill>
                  <a:schemeClr val="bg1"/>
                </a:solidFill>
              </a:rPr>
              <a:t>соответствии с требованиями технического регламента Таможенного союза «Безопасность автомобильных дорог» (ТР ТС 014/2011) </a:t>
            </a:r>
            <a:r>
              <a:rPr lang="ru-RU" sz="1400" dirty="0" smtClean="0">
                <a:solidFill>
                  <a:schemeClr val="accent6"/>
                </a:solidFill>
              </a:rPr>
              <a:t>на АО </a:t>
            </a:r>
            <a:r>
              <a:rPr lang="ru-RU" sz="1400" dirty="0">
                <a:solidFill>
                  <a:schemeClr val="accent6"/>
                </a:solidFill>
              </a:rPr>
              <a:t>«</a:t>
            </a:r>
            <a:r>
              <a:rPr lang="ru-RU" sz="1400" dirty="0" err="1">
                <a:solidFill>
                  <a:schemeClr val="accent6"/>
                </a:solidFill>
              </a:rPr>
              <a:t>Газпромнефть</a:t>
            </a:r>
            <a:r>
              <a:rPr lang="ru-RU" sz="1400" dirty="0">
                <a:solidFill>
                  <a:schemeClr val="accent6"/>
                </a:solidFill>
              </a:rPr>
              <a:t> – МНПЗ</a:t>
            </a:r>
            <a:r>
              <a:rPr lang="ru-RU" sz="1400" dirty="0" smtClean="0">
                <a:solidFill>
                  <a:schemeClr val="accent6"/>
                </a:solidFill>
              </a:rPr>
              <a:t>» и ОАО </a:t>
            </a:r>
            <a:r>
              <a:rPr lang="ru-RU" sz="1400" dirty="0">
                <a:solidFill>
                  <a:schemeClr val="accent6"/>
                </a:solidFill>
              </a:rPr>
              <a:t>«</a:t>
            </a:r>
            <a:r>
              <a:rPr lang="ru-RU" sz="1400" dirty="0" err="1">
                <a:solidFill>
                  <a:schemeClr val="accent6"/>
                </a:solidFill>
              </a:rPr>
              <a:t>Славнефть</a:t>
            </a:r>
            <a:r>
              <a:rPr lang="ru-RU" sz="1400" dirty="0">
                <a:solidFill>
                  <a:schemeClr val="accent6"/>
                </a:solidFill>
              </a:rPr>
              <a:t>-ЯНОС» </a:t>
            </a:r>
            <a:endParaRPr lang="ru-RU" sz="1400" dirty="0" smtClean="0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806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sz="2400" dirty="0" smtClean="0"/>
              <a:t>Декларирование </a:t>
            </a:r>
            <a:r>
              <a:rPr lang="ru-RU" sz="2400" dirty="0"/>
              <a:t>битумов </a:t>
            </a:r>
            <a:r>
              <a:rPr lang="ru-RU" sz="2400" dirty="0" smtClean="0"/>
              <a:t>- актуальные вопросы.</a:t>
            </a:r>
            <a:endParaRPr lang="ru-RU" sz="2400" dirty="0"/>
          </a:p>
        </p:txBody>
      </p:sp>
      <p:sp>
        <p:nvSpPr>
          <p:cNvPr id="29" name="TextBox 28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35319" y="4514552"/>
            <a:ext cx="1080120" cy="220573"/>
          </a:xfrm>
          <a:prstGeom prst="rect">
            <a:avLst/>
          </a:prstGeom>
          <a:solidFill>
            <a:schemeClr val="accent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3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Хранение</a:t>
            </a: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4608004" y="1268760"/>
            <a:ext cx="0" cy="5004903"/>
          </a:xfrm>
          <a:prstGeom prst="line">
            <a:avLst/>
          </a:prstGeom>
          <a:ln w="22225"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Picture118"/>
          <p:cNvSpPr>
            <a:spLocks noChangeAspect="1" noEditPoints="1"/>
          </p:cNvSpPr>
          <p:nvPr>
            <p:custDataLst>
              <p:tags r:id="rId2"/>
            </p:custDataLst>
          </p:nvPr>
        </p:nvSpPr>
        <p:spPr bwMode="auto">
          <a:xfrm>
            <a:off x="5004048" y="3897052"/>
            <a:ext cx="871652" cy="632727"/>
          </a:xfrm>
          <a:custGeom>
            <a:avLst/>
            <a:gdLst>
              <a:gd name="T0" fmla="*/ 1644 w 1700"/>
              <a:gd name="T1" fmla="*/ 610 h 1234"/>
              <a:gd name="T2" fmla="*/ 1586 w 1700"/>
              <a:gd name="T3" fmla="*/ 270 h 1234"/>
              <a:gd name="T4" fmla="*/ 1512 w 1700"/>
              <a:gd name="T5" fmla="*/ 214 h 1234"/>
              <a:gd name="T6" fmla="*/ 1474 w 1700"/>
              <a:gd name="T7" fmla="*/ 198 h 1234"/>
              <a:gd name="T8" fmla="*/ 1494 w 1700"/>
              <a:gd name="T9" fmla="*/ 150 h 1234"/>
              <a:gd name="T10" fmla="*/ 1512 w 1700"/>
              <a:gd name="T11" fmla="*/ 100 h 1234"/>
              <a:gd name="T12" fmla="*/ 1428 w 1700"/>
              <a:gd name="T13" fmla="*/ 72 h 1234"/>
              <a:gd name="T14" fmla="*/ 1304 w 1700"/>
              <a:gd name="T15" fmla="*/ 44 h 1234"/>
              <a:gd name="T16" fmla="*/ 1238 w 1700"/>
              <a:gd name="T17" fmla="*/ 34 h 1234"/>
              <a:gd name="T18" fmla="*/ 992 w 1700"/>
              <a:gd name="T19" fmla="*/ 8 h 1234"/>
              <a:gd name="T20" fmla="*/ 812 w 1700"/>
              <a:gd name="T21" fmla="*/ 0 h 1234"/>
              <a:gd name="T22" fmla="*/ 612 w 1700"/>
              <a:gd name="T23" fmla="*/ 10 h 1234"/>
              <a:gd name="T24" fmla="*/ 312 w 1700"/>
              <a:gd name="T25" fmla="*/ 48 h 1234"/>
              <a:gd name="T26" fmla="*/ 162 w 1700"/>
              <a:gd name="T27" fmla="*/ 82 h 1234"/>
              <a:gd name="T28" fmla="*/ 112 w 1700"/>
              <a:gd name="T29" fmla="*/ 158 h 1234"/>
              <a:gd name="T30" fmla="*/ 170 w 1700"/>
              <a:gd name="T31" fmla="*/ 136 h 1234"/>
              <a:gd name="T32" fmla="*/ 138 w 1700"/>
              <a:gd name="T33" fmla="*/ 204 h 1234"/>
              <a:gd name="T34" fmla="*/ 112 w 1700"/>
              <a:gd name="T35" fmla="*/ 270 h 1234"/>
              <a:gd name="T36" fmla="*/ 0 w 1700"/>
              <a:gd name="T37" fmla="*/ 1234 h 1234"/>
              <a:gd name="T38" fmla="*/ 1644 w 1700"/>
              <a:gd name="T39" fmla="*/ 1122 h 1234"/>
              <a:gd name="T40" fmla="*/ 396 w 1700"/>
              <a:gd name="T41" fmla="*/ 204 h 1234"/>
              <a:gd name="T42" fmla="*/ 510 w 1700"/>
              <a:gd name="T43" fmla="*/ 1122 h 1234"/>
              <a:gd name="T44" fmla="*/ 1076 w 1700"/>
              <a:gd name="T45" fmla="*/ 72 h 1234"/>
              <a:gd name="T46" fmla="*/ 1246 w 1700"/>
              <a:gd name="T47" fmla="*/ 92 h 1234"/>
              <a:gd name="T48" fmla="*/ 1164 w 1700"/>
              <a:gd name="T49" fmla="*/ 138 h 1234"/>
              <a:gd name="T50" fmla="*/ 1020 w 1700"/>
              <a:gd name="T51" fmla="*/ 124 h 1234"/>
              <a:gd name="T52" fmla="*/ 850 w 1700"/>
              <a:gd name="T53" fmla="*/ 114 h 1234"/>
              <a:gd name="T54" fmla="*/ 934 w 1700"/>
              <a:gd name="T55" fmla="*/ 60 h 1234"/>
              <a:gd name="T56" fmla="*/ 794 w 1700"/>
              <a:gd name="T57" fmla="*/ 114 h 1234"/>
              <a:gd name="T58" fmla="*/ 624 w 1700"/>
              <a:gd name="T59" fmla="*/ 122 h 1234"/>
              <a:gd name="T60" fmla="*/ 710 w 1700"/>
              <a:gd name="T61" fmla="*/ 60 h 1234"/>
              <a:gd name="T62" fmla="*/ 566 w 1700"/>
              <a:gd name="T63" fmla="*/ 126 h 1234"/>
              <a:gd name="T64" fmla="*/ 396 w 1700"/>
              <a:gd name="T65" fmla="*/ 146 h 1234"/>
              <a:gd name="T66" fmla="*/ 480 w 1700"/>
              <a:gd name="T67" fmla="*/ 80 h 1234"/>
              <a:gd name="T68" fmla="*/ 1512 w 1700"/>
              <a:gd name="T69" fmla="*/ 838 h 1234"/>
              <a:gd name="T70" fmla="*/ 1512 w 1700"/>
              <a:gd name="T71" fmla="*/ 952 h 1234"/>
              <a:gd name="T72" fmla="*/ 1512 w 1700"/>
              <a:gd name="T73" fmla="*/ 780 h 1234"/>
              <a:gd name="T74" fmla="*/ 1586 w 1700"/>
              <a:gd name="T75" fmla="*/ 780 h 1234"/>
              <a:gd name="T76" fmla="*/ 1586 w 1700"/>
              <a:gd name="T77" fmla="*/ 498 h 1234"/>
              <a:gd name="T78" fmla="*/ 1586 w 1700"/>
              <a:gd name="T79" fmla="*/ 328 h 1234"/>
              <a:gd name="T80" fmla="*/ 1512 w 1700"/>
              <a:gd name="T81" fmla="*/ 328 h 1234"/>
              <a:gd name="T82" fmla="*/ 1416 w 1700"/>
              <a:gd name="T83" fmla="*/ 182 h 1234"/>
              <a:gd name="T84" fmla="*/ 1304 w 1700"/>
              <a:gd name="T85" fmla="*/ 158 h 1234"/>
              <a:gd name="T86" fmla="*/ 1364 w 1700"/>
              <a:gd name="T87" fmla="*/ 114 h 1234"/>
              <a:gd name="T88" fmla="*/ 226 w 1700"/>
              <a:gd name="T89" fmla="*/ 122 h 1234"/>
              <a:gd name="T90" fmla="*/ 340 w 1700"/>
              <a:gd name="T91" fmla="*/ 98 h 1234"/>
              <a:gd name="T92" fmla="*/ 280 w 1700"/>
              <a:gd name="T93" fmla="*/ 166 h 1234"/>
              <a:gd name="T94" fmla="*/ 226 w 1700"/>
              <a:gd name="T95" fmla="*/ 328 h 1234"/>
              <a:gd name="T96" fmla="*/ 226 w 1700"/>
              <a:gd name="T97" fmla="*/ 234 h 1234"/>
              <a:gd name="T98" fmla="*/ 226 w 1700"/>
              <a:gd name="T99" fmla="*/ 1122 h 1234"/>
              <a:gd name="T100" fmla="*/ 1512 w 1700"/>
              <a:gd name="T101" fmla="*/ 1008 h 1234"/>
              <a:gd name="T102" fmla="*/ 1512 w 1700"/>
              <a:gd name="T103" fmla="*/ 1122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0" h="1234">
                <a:moveTo>
                  <a:pt x="1644" y="1122"/>
                </a:moveTo>
                <a:lnTo>
                  <a:pt x="1644" y="668"/>
                </a:lnTo>
                <a:lnTo>
                  <a:pt x="1644" y="610"/>
                </a:lnTo>
                <a:lnTo>
                  <a:pt x="1644" y="214"/>
                </a:lnTo>
                <a:lnTo>
                  <a:pt x="1586" y="214"/>
                </a:lnTo>
                <a:lnTo>
                  <a:pt x="1586" y="270"/>
                </a:lnTo>
                <a:lnTo>
                  <a:pt x="1512" y="270"/>
                </a:lnTo>
                <a:lnTo>
                  <a:pt x="1512" y="228"/>
                </a:lnTo>
                <a:lnTo>
                  <a:pt x="1512" y="214"/>
                </a:lnTo>
                <a:lnTo>
                  <a:pt x="1512" y="214"/>
                </a:lnTo>
                <a:lnTo>
                  <a:pt x="1494" y="206"/>
                </a:lnTo>
                <a:lnTo>
                  <a:pt x="1474" y="198"/>
                </a:lnTo>
                <a:lnTo>
                  <a:pt x="1474" y="142"/>
                </a:lnTo>
                <a:lnTo>
                  <a:pt x="1474" y="142"/>
                </a:lnTo>
                <a:lnTo>
                  <a:pt x="1494" y="150"/>
                </a:lnTo>
                <a:lnTo>
                  <a:pt x="1512" y="158"/>
                </a:lnTo>
                <a:lnTo>
                  <a:pt x="1512" y="100"/>
                </a:lnTo>
                <a:lnTo>
                  <a:pt x="1512" y="100"/>
                </a:lnTo>
                <a:lnTo>
                  <a:pt x="1496" y="94"/>
                </a:lnTo>
                <a:lnTo>
                  <a:pt x="1476" y="86"/>
                </a:lnTo>
                <a:lnTo>
                  <a:pt x="1428" y="72"/>
                </a:lnTo>
                <a:lnTo>
                  <a:pt x="1370" y="58"/>
                </a:lnTo>
                <a:lnTo>
                  <a:pt x="1304" y="46"/>
                </a:lnTo>
                <a:lnTo>
                  <a:pt x="1304" y="44"/>
                </a:lnTo>
                <a:lnTo>
                  <a:pt x="1294" y="44"/>
                </a:lnTo>
                <a:lnTo>
                  <a:pt x="1294" y="44"/>
                </a:lnTo>
                <a:lnTo>
                  <a:pt x="1238" y="34"/>
                </a:lnTo>
                <a:lnTo>
                  <a:pt x="1178" y="26"/>
                </a:lnTo>
                <a:lnTo>
                  <a:pt x="1054" y="12"/>
                </a:lnTo>
                <a:lnTo>
                  <a:pt x="992" y="8"/>
                </a:lnTo>
                <a:lnTo>
                  <a:pt x="930" y="4"/>
                </a:lnTo>
                <a:lnTo>
                  <a:pt x="870" y="2"/>
                </a:lnTo>
                <a:lnTo>
                  <a:pt x="812" y="0"/>
                </a:lnTo>
                <a:lnTo>
                  <a:pt x="812" y="0"/>
                </a:lnTo>
                <a:lnTo>
                  <a:pt x="714" y="2"/>
                </a:lnTo>
                <a:lnTo>
                  <a:pt x="612" y="10"/>
                </a:lnTo>
                <a:lnTo>
                  <a:pt x="508" y="20"/>
                </a:lnTo>
                <a:lnTo>
                  <a:pt x="406" y="32"/>
                </a:lnTo>
                <a:lnTo>
                  <a:pt x="312" y="48"/>
                </a:lnTo>
                <a:lnTo>
                  <a:pt x="230" y="64"/>
                </a:lnTo>
                <a:lnTo>
                  <a:pt x="192" y="72"/>
                </a:lnTo>
                <a:lnTo>
                  <a:pt x="162" y="82"/>
                </a:lnTo>
                <a:lnTo>
                  <a:pt x="134" y="92"/>
                </a:lnTo>
                <a:lnTo>
                  <a:pt x="112" y="100"/>
                </a:lnTo>
                <a:lnTo>
                  <a:pt x="112" y="158"/>
                </a:lnTo>
                <a:lnTo>
                  <a:pt x="112" y="158"/>
                </a:lnTo>
                <a:lnTo>
                  <a:pt x="138" y="146"/>
                </a:lnTo>
                <a:lnTo>
                  <a:pt x="170" y="136"/>
                </a:lnTo>
                <a:lnTo>
                  <a:pt x="170" y="192"/>
                </a:lnTo>
                <a:lnTo>
                  <a:pt x="170" y="192"/>
                </a:lnTo>
                <a:lnTo>
                  <a:pt x="138" y="204"/>
                </a:lnTo>
                <a:lnTo>
                  <a:pt x="112" y="214"/>
                </a:lnTo>
                <a:lnTo>
                  <a:pt x="112" y="228"/>
                </a:lnTo>
                <a:lnTo>
                  <a:pt x="112" y="270"/>
                </a:lnTo>
                <a:lnTo>
                  <a:pt x="112" y="1122"/>
                </a:lnTo>
                <a:lnTo>
                  <a:pt x="0" y="1122"/>
                </a:lnTo>
                <a:lnTo>
                  <a:pt x="0" y="1234"/>
                </a:lnTo>
                <a:lnTo>
                  <a:pt x="1700" y="1234"/>
                </a:lnTo>
                <a:lnTo>
                  <a:pt x="1700" y="1122"/>
                </a:lnTo>
                <a:lnTo>
                  <a:pt x="1644" y="1122"/>
                </a:lnTo>
                <a:close/>
                <a:moveTo>
                  <a:pt x="396" y="1122"/>
                </a:moveTo>
                <a:lnTo>
                  <a:pt x="396" y="270"/>
                </a:lnTo>
                <a:lnTo>
                  <a:pt x="396" y="204"/>
                </a:lnTo>
                <a:lnTo>
                  <a:pt x="396" y="204"/>
                </a:lnTo>
                <a:lnTo>
                  <a:pt x="510" y="190"/>
                </a:lnTo>
                <a:lnTo>
                  <a:pt x="510" y="1122"/>
                </a:lnTo>
                <a:lnTo>
                  <a:pt x="396" y="1122"/>
                </a:lnTo>
                <a:close/>
                <a:moveTo>
                  <a:pt x="1076" y="128"/>
                </a:moveTo>
                <a:lnTo>
                  <a:pt x="1076" y="72"/>
                </a:lnTo>
                <a:lnTo>
                  <a:pt x="1076" y="72"/>
                </a:lnTo>
                <a:lnTo>
                  <a:pt x="1164" y="82"/>
                </a:lnTo>
                <a:lnTo>
                  <a:pt x="1246" y="92"/>
                </a:lnTo>
                <a:lnTo>
                  <a:pt x="1246" y="150"/>
                </a:lnTo>
                <a:lnTo>
                  <a:pt x="1246" y="150"/>
                </a:lnTo>
                <a:lnTo>
                  <a:pt x="1164" y="138"/>
                </a:lnTo>
                <a:lnTo>
                  <a:pt x="1076" y="128"/>
                </a:lnTo>
                <a:lnTo>
                  <a:pt x="1076" y="128"/>
                </a:lnTo>
                <a:close/>
                <a:moveTo>
                  <a:pt x="1020" y="124"/>
                </a:moveTo>
                <a:lnTo>
                  <a:pt x="1020" y="124"/>
                </a:lnTo>
                <a:lnTo>
                  <a:pt x="934" y="118"/>
                </a:lnTo>
                <a:lnTo>
                  <a:pt x="850" y="114"/>
                </a:lnTo>
                <a:lnTo>
                  <a:pt x="850" y="58"/>
                </a:lnTo>
                <a:lnTo>
                  <a:pt x="850" y="58"/>
                </a:lnTo>
                <a:lnTo>
                  <a:pt x="934" y="60"/>
                </a:lnTo>
                <a:lnTo>
                  <a:pt x="1020" y="66"/>
                </a:lnTo>
                <a:lnTo>
                  <a:pt x="1020" y="124"/>
                </a:lnTo>
                <a:close/>
                <a:moveTo>
                  <a:pt x="794" y="114"/>
                </a:moveTo>
                <a:lnTo>
                  <a:pt x="794" y="114"/>
                </a:lnTo>
                <a:lnTo>
                  <a:pt x="710" y="116"/>
                </a:lnTo>
                <a:lnTo>
                  <a:pt x="624" y="122"/>
                </a:lnTo>
                <a:lnTo>
                  <a:pt x="624" y="66"/>
                </a:lnTo>
                <a:lnTo>
                  <a:pt x="624" y="66"/>
                </a:lnTo>
                <a:lnTo>
                  <a:pt x="710" y="60"/>
                </a:lnTo>
                <a:lnTo>
                  <a:pt x="794" y="58"/>
                </a:lnTo>
                <a:lnTo>
                  <a:pt x="794" y="114"/>
                </a:lnTo>
                <a:close/>
                <a:moveTo>
                  <a:pt x="566" y="126"/>
                </a:moveTo>
                <a:lnTo>
                  <a:pt x="566" y="126"/>
                </a:lnTo>
                <a:lnTo>
                  <a:pt x="480" y="136"/>
                </a:lnTo>
                <a:lnTo>
                  <a:pt x="396" y="146"/>
                </a:lnTo>
                <a:lnTo>
                  <a:pt x="396" y="90"/>
                </a:lnTo>
                <a:lnTo>
                  <a:pt x="396" y="90"/>
                </a:lnTo>
                <a:lnTo>
                  <a:pt x="480" y="80"/>
                </a:lnTo>
                <a:lnTo>
                  <a:pt x="566" y="70"/>
                </a:lnTo>
                <a:lnTo>
                  <a:pt x="566" y="126"/>
                </a:lnTo>
                <a:close/>
                <a:moveTo>
                  <a:pt x="1512" y="838"/>
                </a:moveTo>
                <a:lnTo>
                  <a:pt x="1586" y="838"/>
                </a:lnTo>
                <a:lnTo>
                  <a:pt x="1586" y="952"/>
                </a:lnTo>
                <a:lnTo>
                  <a:pt x="1512" y="952"/>
                </a:lnTo>
                <a:lnTo>
                  <a:pt x="1512" y="838"/>
                </a:lnTo>
                <a:close/>
                <a:moveTo>
                  <a:pt x="1586" y="780"/>
                </a:moveTo>
                <a:lnTo>
                  <a:pt x="1512" y="780"/>
                </a:lnTo>
                <a:lnTo>
                  <a:pt x="1512" y="668"/>
                </a:lnTo>
                <a:lnTo>
                  <a:pt x="1586" y="668"/>
                </a:lnTo>
                <a:lnTo>
                  <a:pt x="1586" y="780"/>
                </a:lnTo>
                <a:close/>
                <a:moveTo>
                  <a:pt x="1512" y="610"/>
                </a:moveTo>
                <a:lnTo>
                  <a:pt x="1512" y="498"/>
                </a:lnTo>
                <a:lnTo>
                  <a:pt x="1586" y="498"/>
                </a:lnTo>
                <a:lnTo>
                  <a:pt x="1586" y="610"/>
                </a:lnTo>
                <a:lnTo>
                  <a:pt x="1512" y="610"/>
                </a:lnTo>
                <a:close/>
                <a:moveTo>
                  <a:pt x="1586" y="328"/>
                </a:moveTo>
                <a:lnTo>
                  <a:pt x="1586" y="440"/>
                </a:lnTo>
                <a:lnTo>
                  <a:pt x="1512" y="440"/>
                </a:lnTo>
                <a:lnTo>
                  <a:pt x="1512" y="328"/>
                </a:lnTo>
                <a:lnTo>
                  <a:pt x="1586" y="328"/>
                </a:lnTo>
                <a:close/>
                <a:moveTo>
                  <a:pt x="1416" y="126"/>
                </a:moveTo>
                <a:lnTo>
                  <a:pt x="1416" y="182"/>
                </a:lnTo>
                <a:lnTo>
                  <a:pt x="1416" y="182"/>
                </a:lnTo>
                <a:lnTo>
                  <a:pt x="1364" y="170"/>
                </a:lnTo>
                <a:lnTo>
                  <a:pt x="1304" y="158"/>
                </a:lnTo>
                <a:lnTo>
                  <a:pt x="1304" y="102"/>
                </a:lnTo>
                <a:lnTo>
                  <a:pt x="1304" y="102"/>
                </a:lnTo>
                <a:lnTo>
                  <a:pt x="1364" y="114"/>
                </a:lnTo>
                <a:lnTo>
                  <a:pt x="1416" y="126"/>
                </a:lnTo>
                <a:lnTo>
                  <a:pt x="1416" y="126"/>
                </a:lnTo>
                <a:close/>
                <a:moveTo>
                  <a:pt x="226" y="122"/>
                </a:moveTo>
                <a:lnTo>
                  <a:pt x="226" y="122"/>
                </a:lnTo>
                <a:lnTo>
                  <a:pt x="280" y="110"/>
                </a:lnTo>
                <a:lnTo>
                  <a:pt x="340" y="98"/>
                </a:lnTo>
                <a:lnTo>
                  <a:pt x="340" y="156"/>
                </a:lnTo>
                <a:lnTo>
                  <a:pt x="340" y="156"/>
                </a:lnTo>
                <a:lnTo>
                  <a:pt x="280" y="166"/>
                </a:lnTo>
                <a:lnTo>
                  <a:pt x="226" y="178"/>
                </a:lnTo>
                <a:lnTo>
                  <a:pt x="226" y="122"/>
                </a:lnTo>
                <a:close/>
                <a:moveTo>
                  <a:pt x="226" y="328"/>
                </a:moveTo>
                <a:lnTo>
                  <a:pt x="226" y="328"/>
                </a:lnTo>
                <a:lnTo>
                  <a:pt x="226" y="234"/>
                </a:lnTo>
                <a:lnTo>
                  <a:pt x="226" y="234"/>
                </a:lnTo>
                <a:lnTo>
                  <a:pt x="282" y="222"/>
                </a:lnTo>
                <a:lnTo>
                  <a:pt x="282" y="1122"/>
                </a:lnTo>
                <a:lnTo>
                  <a:pt x="226" y="1122"/>
                </a:lnTo>
                <a:lnTo>
                  <a:pt x="226" y="328"/>
                </a:lnTo>
                <a:close/>
                <a:moveTo>
                  <a:pt x="1512" y="1122"/>
                </a:moveTo>
                <a:lnTo>
                  <a:pt x="1512" y="1008"/>
                </a:lnTo>
                <a:lnTo>
                  <a:pt x="1586" y="1008"/>
                </a:lnTo>
                <a:lnTo>
                  <a:pt x="1586" y="1122"/>
                </a:lnTo>
                <a:lnTo>
                  <a:pt x="1512" y="11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3" name="bitumovoz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959951" y="3839452"/>
            <a:ext cx="926688" cy="346684"/>
          </a:xfrm>
          <a:custGeom>
            <a:avLst/>
            <a:gdLst>
              <a:gd name="T0" fmla="*/ 1894 w 16150"/>
              <a:gd name="T1" fmla="*/ 4653 h 6042"/>
              <a:gd name="T2" fmla="*/ 2038 w 16150"/>
              <a:gd name="T3" fmla="*/ 5988 h 6042"/>
              <a:gd name="T4" fmla="*/ 3088 w 16150"/>
              <a:gd name="T5" fmla="*/ 5122 h 6042"/>
              <a:gd name="T6" fmla="*/ 2286 w 16150"/>
              <a:gd name="T7" fmla="*/ 2894 h 6042"/>
              <a:gd name="T8" fmla="*/ 2467 w 16150"/>
              <a:gd name="T9" fmla="*/ 2754 h 6042"/>
              <a:gd name="T10" fmla="*/ 2476 w 16150"/>
              <a:gd name="T11" fmla="*/ 2434 h 6042"/>
              <a:gd name="T12" fmla="*/ 2306 w 16150"/>
              <a:gd name="T13" fmla="*/ 2282 h 6042"/>
              <a:gd name="T14" fmla="*/ 194 w 16150"/>
              <a:gd name="T15" fmla="*/ 849 h 6042"/>
              <a:gd name="T16" fmla="*/ 135 w 16150"/>
              <a:gd name="T17" fmla="*/ 3307 h 6042"/>
              <a:gd name="T18" fmla="*/ 1112 w 16150"/>
              <a:gd name="T19" fmla="*/ 3751 h 6042"/>
              <a:gd name="T20" fmla="*/ 10028 w 16150"/>
              <a:gd name="T21" fmla="*/ 3645 h 6042"/>
              <a:gd name="T22" fmla="*/ 10453 w 16150"/>
              <a:gd name="T23" fmla="*/ 1957 h 6042"/>
              <a:gd name="T24" fmla="*/ 9864 w 16150"/>
              <a:gd name="T25" fmla="*/ 588 h 6042"/>
              <a:gd name="T26" fmla="*/ 4846 w 16150"/>
              <a:gd name="T27" fmla="*/ 328 h 6042"/>
              <a:gd name="T28" fmla="*/ 473 w 16150"/>
              <a:gd name="T29" fmla="*/ 819 h 6042"/>
              <a:gd name="T30" fmla="*/ 609 w 16150"/>
              <a:gd name="T31" fmla="*/ 1639 h 6042"/>
              <a:gd name="T32" fmla="*/ 310 w 16150"/>
              <a:gd name="T33" fmla="*/ 2729 h 6042"/>
              <a:gd name="T34" fmla="*/ 1536 w 16150"/>
              <a:gd name="T35" fmla="*/ 3233 h 6042"/>
              <a:gd name="T36" fmla="*/ 2214 w 16150"/>
              <a:gd name="T37" fmla="*/ 1944 h 6042"/>
              <a:gd name="T38" fmla="*/ 2625 w 16150"/>
              <a:gd name="T39" fmla="*/ 2055 h 6042"/>
              <a:gd name="T40" fmla="*/ 2846 w 16150"/>
              <a:gd name="T41" fmla="*/ 2453 h 6042"/>
              <a:gd name="T42" fmla="*/ 2703 w 16150"/>
              <a:gd name="T43" fmla="*/ 3045 h 6042"/>
              <a:gd name="T44" fmla="*/ 2223 w 16150"/>
              <a:gd name="T45" fmla="*/ 3233 h 6042"/>
              <a:gd name="T46" fmla="*/ 3464 w 16150"/>
              <a:gd name="T47" fmla="*/ 1089 h 6042"/>
              <a:gd name="T48" fmla="*/ 5190 w 16150"/>
              <a:gd name="T49" fmla="*/ 3233 h 6042"/>
              <a:gd name="T50" fmla="*/ 6436 w 16150"/>
              <a:gd name="T51" fmla="*/ 1092 h 6042"/>
              <a:gd name="T52" fmla="*/ 7198 w 16150"/>
              <a:gd name="T53" fmla="*/ 2054 h 6042"/>
              <a:gd name="T54" fmla="*/ 6876 w 16150"/>
              <a:gd name="T55" fmla="*/ 2940 h 6042"/>
              <a:gd name="T56" fmla="*/ 6432 w 16150"/>
              <a:gd name="T57" fmla="*/ 2952 h 6042"/>
              <a:gd name="T58" fmla="*/ 6537 w 16150"/>
              <a:gd name="T59" fmla="*/ 2894 h 6042"/>
              <a:gd name="T60" fmla="*/ 8557 w 16150"/>
              <a:gd name="T61" fmla="*/ 2309 h 6042"/>
              <a:gd name="T62" fmla="*/ 8060 w 16150"/>
              <a:gd name="T63" fmla="*/ 1979 h 6042"/>
              <a:gd name="T64" fmla="*/ 2508 w 16150"/>
              <a:gd name="T65" fmla="*/ 5465 h 6042"/>
              <a:gd name="T66" fmla="*/ 4951 w 16150"/>
              <a:gd name="T67" fmla="*/ 4851 h 6042"/>
              <a:gd name="T68" fmla="*/ 3613 w 16150"/>
              <a:gd name="T69" fmla="*/ 4978 h 6042"/>
              <a:gd name="T70" fmla="*/ 4462 w 16150"/>
              <a:gd name="T71" fmla="*/ 6024 h 6042"/>
              <a:gd name="T72" fmla="*/ 4571 w 16150"/>
              <a:gd name="T73" fmla="*/ 5284 h 6042"/>
              <a:gd name="T74" fmla="*/ 4209 w 16150"/>
              <a:gd name="T75" fmla="*/ 5049 h 6042"/>
              <a:gd name="T76" fmla="*/ 9148 w 16150"/>
              <a:gd name="T77" fmla="*/ 4527 h 6042"/>
              <a:gd name="T78" fmla="*/ 8280 w 16150"/>
              <a:gd name="T79" fmla="*/ 5573 h 6042"/>
              <a:gd name="T80" fmla="*/ 9638 w 16150"/>
              <a:gd name="T81" fmla="*/ 5717 h 6042"/>
              <a:gd name="T82" fmla="*/ 8896 w 16150"/>
              <a:gd name="T83" fmla="*/ 5519 h 6042"/>
              <a:gd name="T84" fmla="*/ 13599 w 16150"/>
              <a:gd name="T85" fmla="*/ 5429 h 6042"/>
              <a:gd name="T86" fmla="*/ 14883 w 16150"/>
              <a:gd name="T87" fmla="*/ 5826 h 6042"/>
              <a:gd name="T88" fmla="*/ 14504 w 16150"/>
              <a:gd name="T89" fmla="*/ 4527 h 6042"/>
              <a:gd name="T90" fmla="*/ 14160 w 16150"/>
              <a:gd name="T91" fmla="*/ 5465 h 6042"/>
              <a:gd name="T92" fmla="*/ 14576 w 16150"/>
              <a:gd name="T93" fmla="*/ 5375 h 6042"/>
              <a:gd name="T94" fmla="*/ 3396 w 16150"/>
              <a:gd name="T95" fmla="*/ 4780 h 6042"/>
              <a:gd name="T96" fmla="*/ 1279 w 16150"/>
              <a:gd name="T97" fmla="*/ 5320 h 6042"/>
              <a:gd name="T98" fmla="*/ 9746 w 16150"/>
              <a:gd name="T99" fmla="*/ 4527 h 6042"/>
              <a:gd name="T100" fmla="*/ 13291 w 16150"/>
              <a:gd name="T101" fmla="*/ 5176 h 6042"/>
              <a:gd name="T102" fmla="*/ 14558 w 16150"/>
              <a:gd name="T103" fmla="*/ 4238 h 6042"/>
              <a:gd name="T104" fmla="*/ 15842 w 16150"/>
              <a:gd name="T105" fmla="*/ 5302 h 6042"/>
              <a:gd name="T106" fmla="*/ 16059 w 16150"/>
              <a:gd name="T107" fmla="*/ 4238 h 6042"/>
              <a:gd name="T108" fmla="*/ 15408 w 16150"/>
              <a:gd name="T109" fmla="*/ 2776 h 6042"/>
              <a:gd name="T110" fmla="*/ 13154 w 16150"/>
              <a:gd name="T111" fmla="*/ 1062 h 6042"/>
              <a:gd name="T112" fmla="*/ 11600 w 16150"/>
              <a:gd name="T113" fmla="*/ 1062 h 6042"/>
              <a:gd name="T114" fmla="*/ 11257 w 16150"/>
              <a:gd name="T115" fmla="*/ 1081 h 6042"/>
              <a:gd name="T116" fmla="*/ 11229 w 16150"/>
              <a:gd name="T117" fmla="*/ 1223 h 6042"/>
              <a:gd name="T118" fmla="*/ 13744 w 16150"/>
              <a:gd name="T119" fmla="*/ 1640 h 6042"/>
              <a:gd name="T120" fmla="*/ 7937 w 16150"/>
              <a:gd name="T121" fmla="*/ 5320 h 6042"/>
              <a:gd name="T122" fmla="*/ 4734 w 16150"/>
              <a:gd name="T123" fmla="*/ 4310 h 6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50" h="6042">
                <a:moveTo>
                  <a:pt x="3088" y="5122"/>
                </a:moveTo>
                <a:lnTo>
                  <a:pt x="3033" y="4978"/>
                </a:lnTo>
                <a:lnTo>
                  <a:pt x="2962" y="4851"/>
                </a:lnTo>
                <a:lnTo>
                  <a:pt x="2871" y="4743"/>
                </a:lnTo>
                <a:lnTo>
                  <a:pt x="2762" y="4653"/>
                </a:lnTo>
                <a:lnTo>
                  <a:pt x="2635" y="4580"/>
                </a:lnTo>
                <a:lnTo>
                  <a:pt x="2490" y="4527"/>
                </a:lnTo>
                <a:lnTo>
                  <a:pt x="2328" y="4509"/>
                </a:lnTo>
                <a:lnTo>
                  <a:pt x="2183" y="4527"/>
                </a:lnTo>
                <a:lnTo>
                  <a:pt x="2038" y="4580"/>
                </a:lnTo>
                <a:lnTo>
                  <a:pt x="1894" y="4653"/>
                </a:lnTo>
                <a:lnTo>
                  <a:pt x="1785" y="4743"/>
                </a:lnTo>
                <a:lnTo>
                  <a:pt x="1695" y="4851"/>
                </a:lnTo>
                <a:lnTo>
                  <a:pt x="1622" y="4978"/>
                </a:lnTo>
                <a:lnTo>
                  <a:pt x="1568" y="5122"/>
                </a:lnTo>
                <a:lnTo>
                  <a:pt x="1568" y="5284"/>
                </a:lnTo>
                <a:lnTo>
                  <a:pt x="1568" y="5429"/>
                </a:lnTo>
                <a:lnTo>
                  <a:pt x="1622" y="5573"/>
                </a:lnTo>
                <a:lnTo>
                  <a:pt x="1695" y="5717"/>
                </a:lnTo>
                <a:lnTo>
                  <a:pt x="1785" y="5826"/>
                </a:lnTo>
                <a:lnTo>
                  <a:pt x="1894" y="5916"/>
                </a:lnTo>
                <a:lnTo>
                  <a:pt x="2038" y="5988"/>
                </a:lnTo>
                <a:lnTo>
                  <a:pt x="2183" y="6024"/>
                </a:lnTo>
                <a:lnTo>
                  <a:pt x="2328" y="6042"/>
                </a:lnTo>
                <a:lnTo>
                  <a:pt x="2490" y="6024"/>
                </a:lnTo>
                <a:lnTo>
                  <a:pt x="2635" y="5988"/>
                </a:lnTo>
                <a:lnTo>
                  <a:pt x="2762" y="5916"/>
                </a:lnTo>
                <a:lnTo>
                  <a:pt x="2871" y="5826"/>
                </a:lnTo>
                <a:lnTo>
                  <a:pt x="2962" y="5717"/>
                </a:lnTo>
                <a:lnTo>
                  <a:pt x="3033" y="5573"/>
                </a:lnTo>
                <a:lnTo>
                  <a:pt x="3088" y="5429"/>
                </a:lnTo>
                <a:lnTo>
                  <a:pt x="3106" y="5284"/>
                </a:lnTo>
                <a:lnTo>
                  <a:pt x="3088" y="5122"/>
                </a:lnTo>
                <a:close/>
                <a:moveTo>
                  <a:pt x="1892" y="2266"/>
                </a:moveTo>
                <a:lnTo>
                  <a:pt x="1892" y="2906"/>
                </a:lnTo>
                <a:lnTo>
                  <a:pt x="2005" y="2908"/>
                </a:lnTo>
                <a:lnTo>
                  <a:pt x="2115" y="2910"/>
                </a:lnTo>
                <a:lnTo>
                  <a:pt x="2141" y="2909"/>
                </a:lnTo>
                <a:lnTo>
                  <a:pt x="2167" y="2909"/>
                </a:lnTo>
                <a:lnTo>
                  <a:pt x="2192" y="2907"/>
                </a:lnTo>
                <a:lnTo>
                  <a:pt x="2217" y="2905"/>
                </a:lnTo>
                <a:lnTo>
                  <a:pt x="2241" y="2902"/>
                </a:lnTo>
                <a:lnTo>
                  <a:pt x="2264" y="2899"/>
                </a:lnTo>
                <a:lnTo>
                  <a:pt x="2286" y="2894"/>
                </a:lnTo>
                <a:lnTo>
                  <a:pt x="2308" y="2889"/>
                </a:lnTo>
                <a:lnTo>
                  <a:pt x="2329" y="2882"/>
                </a:lnTo>
                <a:lnTo>
                  <a:pt x="2349" y="2874"/>
                </a:lnTo>
                <a:lnTo>
                  <a:pt x="2368" y="2865"/>
                </a:lnTo>
                <a:lnTo>
                  <a:pt x="2385" y="2854"/>
                </a:lnTo>
                <a:lnTo>
                  <a:pt x="2402" y="2842"/>
                </a:lnTo>
                <a:lnTo>
                  <a:pt x="2417" y="2828"/>
                </a:lnTo>
                <a:lnTo>
                  <a:pt x="2433" y="2812"/>
                </a:lnTo>
                <a:lnTo>
                  <a:pt x="2446" y="2795"/>
                </a:lnTo>
                <a:lnTo>
                  <a:pt x="2457" y="2775"/>
                </a:lnTo>
                <a:lnTo>
                  <a:pt x="2467" y="2754"/>
                </a:lnTo>
                <a:lnTo>
                  <a:pt x="2476" y="2731"/>
                </a:lnTo>
                <a:lnTo>
                  <a:pt x="2484" y="2706"/>
                </a:lnTo>
                <a:lnTo>
                  <a:pt x="2489" y="2678"/>
                </a:lnTo>
                <a:lnTo>
                  <a:pt x="2494" y="2648"/>
                </a:lnTo>
                <a:lnTo>
                  <a:pt x="2496" y="2615"/>
                </a:lnTo>
                <a:lnTo>
                  <a:pt x="2497" y="2580"/>
                </a:lnTo>
                <a:lnTo>
                  <a:pt x="2496" y="2546"/>
                </a:lnTo>
                <a:lnTo>
                  <a:pt x="2493" y="2515"/>
                </a:lnTo>
                <a:lnTo>
                  <a:pt x="2489" y="2485"/>
                </a:lnTo>
                <a:lnTo>
                  <a:pt x="2483" y="2459"/>
                </a:lnTo>
                <a:lnTo>
                  <a:pt x="2476" y="2434"/>
                </a:lnTo>
                <a:lnTo>
                  <a:pt x="2467" y="2412"/>
                </a:lnTo>
                <a:lnTo>
                  <a:pt x="2457" y="2392"/>
                </a:lnTo>
                <a:lnTo>
                  <a:pt x="2445" y="2373"/>
                </a:lnTo>
                <a:lnTo>
                  <a:pt x="2432" y="2357"/>
                </a:lnTo>
                <a:lnTo>
                  <a:pt x="2416" y="2342"/>
                </a:lnTo>
                <a:lnTo>
                  <a:pt x="2401" y="2328"/>
                </a:lnTo>
                <a:lnTo>
                  <a:pt x="2384" y="2316"/>
                </a:lnTo>
                <a:lnTo>
                  <a:pt x="2366" y="2306"/>
                </a:lnTo>
                <a:lnTo>
                  <a:pt x="2348" y="2297"/>
                </a:lnTo>
                <a:lnTo>
                  <a:pt x="2328" y="2289"/>
                </a:lnTo>
                <a:lnTo>
                  <a:pt x="2306" y="2282"/>
                </a:lnTo>
                <a:lnTo>
                  <a:pt x="2284" y="2277"/>
                </a:lnTo>
                <a:lnTo>
                  <a:pt x="2262" y="2273"/>
                </a:lnTo>
                <a:lnTo>
                  <a:pt x="2239" y="2269"/>
                </a:lnTo>
                <a:lnTo>
                  <a:pt x="2215" y="2267"/>
                </a:lnTo>
                <a:lnTo>
                  <a:pt x="2190" y="2265"/>
                </a:lnTo>
                <a:lnTo>
                  <a:pt x="2164" y="2263"/>
                </a:lnTo>
                <a:lnTo>
                  <a:pt x="2139" y="2263"/>
                </a:lnTo>
                <a:lnTo>
                  <a:pt x="2113" y="2262"/>
                </a:lnTo>
                <a:lnTo>
                  <a:pt x="2004" y="2264"/>
                </a:lnTo>
                <a:lnTo>
                  <a:pt x="1892" y="2266"/>
                </a:lnTo>
                <a:close/>
                <a:moveTo>
                  <a:pt x="194" y="849"/>
                </a:moveTo>
                <a:lnTo>
                  <a:pt x="135" y="1051"/>
                </a:lnTo>
                <a:lnTo>
                  <a:pt x="87" y="1302"/>
                </a:lnTo>
                <a:lnTo>
                  <a:pt x="48" y="1581"/>
                </a:lnTo>
                <a:lnTo>
                  <a:pt x="10" y="1880"/>
                </a:lnTo>
                <a:lnTo>
                  <a:pt x="0" y="2024"/>
                </a:lnTo>
                <a:lnTo>
                  <a:pt x="0" y="2179"/>
                </a:lnTo>
                <a:lnTo>
                  <a:pt x="0" y="2333"/>
                </a:lnTo>
                <a:lnTo>
                  <a:pt x="10" y="2487"/>
                </a:lnTo>
                <a:lnTo>
                  <a:pt x="48" y="2786"/>
                </a:lnTo>
                <a:lnTo>
                  <a:pt x="87" y="3066"/>
                </a:lnTo>
                <a:lnTo>
                  <a:pt x="135" y="3307"/>
                </a:lnTo>
                <a:lnTo>
                  <a:pt x="194" y="3519"/>
                </a:lnTo>
                <a:lnTo>
                  <a:pt x="232" y="3683"/>
                </a:lnTo>
                <a:lnTo>
                  <a:pt x="271" y="3827"/>
                </a:lnTo>
                <a:lnTo>
                  <a:pt x="551" y="3827"/>
                </a:lnTo>
                <a:lnTo>
                  <a:pt x="522" y="3751"/>
                </a:lnTo>
                <a:lnTo>
                  <a:pt x="473" y="3548"/>
                </a:lnTo>
                <a:lnTo>
                  <a:pt x="919" y="3548"/>
                </a:lnTo>
                <a:lnTo>
                  <a:pt x="967" y="3606"/>
                </a:lnTo>
                <a:lnTo>
                  <a:pt x="1005" y="3664"/>
                </a:lnTo>
                <a:lnTo>
                  <a:pt x="1064" y="3713"/>
                </a:lnTo>
                <a:lnTo>
                  <a:pt x="1112" y="3751"/>
                </a:lnTo>
                <a:lnTo>
                  <a:pt x="1170" y="3780"/>
                </a:lnTo>
                <a:lnTo>
                  <a:pt x="1218" y="3799"/>
                </a:lnTo>
                <a:lnTo>
                  <a:pt x="1286" y="3818"/>
                </a:lnTo>
                <a:lnTo>
                  <a:pt x="1343" y="3827"/>
                </a:lnTo>
                <a:lnTo>
                  <a:pt x="9671" y="3827"/>
                </a:lnTo>
                <a:lnTo>
                  <a:pt x="9718" y="3818"/>
                </a:lnTo>
                <a:lnTo>
                  <a:pt x="9767" y="3808"/>
                </a:lnTo>
                <a:lnTo>
                  <a:pt x="9815" y="3799"/>
                </a:lnTo>
                <a:lnTo>
                  <a:pt x="9864" y="3780"/>
                </a:lnTo>
                <a:lnTo>
                  <a:pt x="9950" y="3722"/>
                </a:lnTo>
                <a:lnTo>
                  <a:pt x="10028" y="3645"/>
                </a:lnTo>
                <a:lnTo>
                  <a:pt x="10096" y="3548"/>
                </a:lnTo>
                <a:lnTo>
                  <a:pt x="10163" y="3452"/>
                </a:lnTo>
                <a:lnTo>
                  <a:pt x="10222" y="3336"/>
                </a:lnTo>
                <a:lnTo>
                  <a:pt x="10269" y="3211"/>
                </a:lnTo>
                <a:lnTo>
                  <a:pt x="10318" y="3075"/>
                </a:lnTo>
                <a:lnTo>
                  <a:pt x="10357" y="2940"/>
                </a:lnTo>
                <a:lnTo>
                  <a:pt x="10396" y="2806"/>
                </a:lnTo>
                <a:lnTo>
                  <a:pt x="10425" y="2671"/>
                </a:lnTo>
                <a:lnTo>
                  <a:pt x="10453" y="2411"/>
                </a:lnTo>
                <a:lnTo>
                  <a:pt x="10473" y="2179"/>
                </a:lnTo>
                <a:lnTo>
                  <a:pt x="10453" y="1957"/>
                </a:lnTo>
                <a:lnTo>
                  <a:pt x="10425" y="1697"/>
                </a:lnTo>
                <a:lnTo>
                  <a:pt x="10396" y="1561"/>
                </a:lnTo>
                <a:lnTo>
                  <a:pt x="10357" y="1426"/>
                </a:lnTo>
                <a:lnTo>
                  <a:pt x="10318" y="1292"/>
                </a:lnTo>
                <a:lnTo>
                  <a:pt x="10269" y="1157"/>
                </a:lnTo>
                <a:lnTo>
                  <a:pt x="10222" y="1032"/>
                </a:lnTo>
                <a:lnTo>
                  <a:pt x="10163" y="916"/>
                </a:lnTo>
                <a:lnTo>
                  <a:pt x="10096" y="809"/>
                </a:lnTo>
                <a:lnTo>
                  <a:pt x="10028" y="723"/>
                </a:lnTo>
                <a:lnTo>
                  <a:pt x="9950" y="646"/>
                </a:lnTo>
                <a:lnTo>
                  <a:pt x="9864" y="588"/>
                </a:lnTo>
                <a:lnTo>
                  <a:pt x="9815" y="569"/>
                </a:lnTo>
                <a:lnTo>
                  <a:pt x="9767" y="559"/>
                </a:lnTo>
                <a:lnTo>
                  <a:pt x="9718" y="550"/>
                </a:lnTo>
                <a:lnTo>
                  <a:pt x="9671" y="540"/>
                </a:lnTo>
                <a:lnTo>
                  <a:pt x="5938" y="540"/>
                </a:lnTo>
                <a:lnTo>
                  <a:pt x="5938" y="328"/>
                </a:lnTo>
                <a:lnTo>
                  <a:pt x="6219" y="328"/>
                </a:lnTo>
                <a:lnTo>
                  <a:pt x="6219" y="0"/>
                </a:lnTo>
                <a:lnTo>
                  <a:pt x="4575" y="0"/>
                </a:lnTo>
                <a:lnTo>
                  <a:pt x="4575" y="328"/>
                </a:lnTo>
                <a:lnTo>
                  <a:pt x="4846" y="328"/>
                </a:lnTo>
                <a:lnTo>
                  <a:pt x="4846" y="540"/>
                </a:lnTo>
                <a:lnTo>
                  <a:pt x="1343" y="540"/>
                </a:lnTo>
                <a:lnTo>
                  <a:pt x="1286" y="550"/>
                </a:lnTo>
                <a:lnTo>
                  <a:pt x="1218" y="559"/>
                </a:lnTo>
                <a:lnTo>
                  <a:pt x="1170" y="588"/>
                </a:lnTo>
                <a:lnTo>
                  <a:pt x="1112" y="617"/>
                </a:lnTo>
                <a:lnTo>
                  <a:pt x="1064" y="655"/>
                </a:lnTo>
                <a:lnTo>
                  <a:pt x="1005" y="704"/>
                </a:lnTo>
                <a:lnTo>
                  <a:pt x="967" y="762"/>
                </a:lnTo>
                <a:lnTo>
                  <a:pt x="919" y="819"/>
                </a:lnTo>
                <a:lnTo>
                  <a:pt x="473" y="819"/>
                </a:lnTo>
                <a:lnTo>
                  <a:pt x="522" y="617"/>
                </a:lnTo>
                <a:lnTo>
                  <a:pt x="551" y="540"/>
                </a:lnTo>
                <a:lnTo>
                  <a:pt x="271" y="540"/>
                </a:lnTo>
                <a:lnTo>
                  <a:pt x="232" y="685"/>
                </a:lnTo>
                <a:lnTo>
                  <a:pt x="194" y="849"/>
                </a:lnTo>
                <a:close/>
                <a:moveTo>
                  <a:pt x="406" y="1089"/>
                </a:moveTo>
                <a:lnTo>
                  <a:pt x="773" y="1089"/>
                </a:lnTo>
                <a:lnTo>
                  <a:pt x="725" y="1224"/>
                </a:lnTo>
                <a:lnTo>
                  <a:pt x="677" y="1359"/>
                </a:lnTo>
                <a:lnTo>
                  <a:pt x="638" y="1495"/>
                </a:lnTo>
                <a:lnTo>
                  <a:pt x="609" y="1639"/>
                </a:lnTo>
                <a:lnTo>
                  <a:pt x="310" y="1639"/>
                </a:lnTo>
                <a:lnTo>
                  <a:pt x="357" y="1350"/>
                </a:lnTo>
                <a:lnTo>
                  <a:pt x="406" y="1089"/>
                </a:lnTo>
                <a:close/>
                <a:moveTo>
                  <a:pt x="609" y="2729"/>
                </a:moveTo>
                <a:lnTo>
                  <a:pt x="638" y="2873"/>
                </a:lnTo>
                <a:lnTo>
                  <a:pt x="677" y="3008"/>
                </a:lnTo>
                <a:lnTo>
                  <a:pt x="725" y="3143"/>
                </a:lnTo>
                <a:lnTo>
                  <a:pt x="773" y="3279"/>
                </a:lnTo>
                <a:lnTo>
                  <a:pt x="406" y="3279"/>
                </a:lnTo>
                <a:lnTo>
                  <a:pt x="357" y="3018"/>
                </a:lnTo>
                <a:lnTo>
                  <a:pt x="310" y="2729"/>
                </a:lnTo>
                <a:lnTo>
                  <a:pt x="609" y="2729"/>
                </a:lnTo>
                <a:close/>
                <a:moveTo>
                  <a:pt x="551" y="2314"/>
                </a:moveTo>
                <a:lnTo>
                  <a:pt x="570" y="2458"/>
                </a:lnTo>
                <a:lnTo>
                  <a:pt x="281" y="2458"/>
                </a:lnTo>
                <a:lnTo>
                  <a:pt x="271" y="2179"/>
                </a:lnTo>
                <a:lnTo>
                  <a:pt x="281" y="1909"/>
                </a:lnTo>
                <a:lnTo>
                  <a:pt x="570" y="1909"/>
                </a:lnTo>
                <a:lnTo>
                  <a:pt x="551" y="2054"/>
                </a:lnTo>
                <a:lnTo>
                  <a:pt x="551" y="2179"/>
                </a:lnTo>
                <a:lnTo>
                  <a:pt x="551" y="2314"/>
                </a:lnTo>
                <a:close/>
                <a:moveTo>
                  <a:pt x="1536" y="3233"/>
                </a:moveTo>
                <a:lnTo>
                  <a:pt x="1536" y="1089"/>
                </a:lnTo>
                <a:lnTo>
                  <a:pt x="2680" y="1089"/>
                </a:lnTo>
                <a:lnTo>
                  <a:pt x="2680" y="1415"/>
                </a:lnTo>
                <a:lnTo>
                  <a:pt x="1892" y="1415"/>
                </a:lnTo>
                <a:lnTo>
                  <a:pt x="1892" y="1939"/>
                </a:lnTo>
                <a:lnTo>
                  <a:pt x="1969" y="1939"/>
                </a:lnTo>
                <a:lnTo>
                  <a:pt x="2050" y="1939"/>
                </a:lnTo>
                <a:lnTo>
                  <a:pt x="2090" y="1939"/>
                </a:lnTo>
                <a:lnTo>
                  <a:pt x="2131" y="1940"/>
                </a:lnTo>
                <a:lnTo>
                  <a:pt x="2172" y="1942"/>
                </a:lnTo>
                <a:lnTo>
                  <a:pt x="2214" y="1944"/>
                </a:lnTo>
                <a:lnTo>
                  <a:pt x="2254" y="1947"/>
                </a:lnTo>
                <a:lnTo>
                  <a:pt x="2294" y="1951"/>
                </a:lnTo>
                <a:lnTo>
                  <a:pt x="2335" y="1956"/>
                </a:lnTo>
                <a:lnTo>
                  <a:pt x="2374" y="1962"/>
                </a:lnTo>
                <a:lnTo>
                  <a:pt x="2413" y="1970"/>
                </a:lnTo>
                <a:lnTo>
                  <a:pt x="2451" y="1979"/>
                </a:lnTo>
                <a:lnTo>
                  <a:pt x="2488" y="1991"/>
                </a:lnTo>
                <a:lnTo>
                  <a:pt x="2524" y="2003"/>
                </a:lnTo>
                <a:lnTo>
                  <a:pt x="2559" y="2018"/>
                </a:lnTo>
                <a:lnTo>
                  <a:pt x="2593" y="2035"/>
                </a:lnTo>
                <a:lnTo>
                  <a:pt x="2625" y="2055"/>
                </a:lnTo>
                <a:lnTo>
                  <a:pt x="2656" y="2077"/>
                </a:lnTo>
                <a:lnTo>
                  <a:pt x="2684" y="2101"/>
                </a:lnTo>
                <a:lnTo>
                  <a:pt x="2711" y="2127"/>
                </a:lnTo>
                <a:lnTo>
                  <a:pt x="2736" y="2157"/>
                </a:lnTo>
                <a:lnTo>
                  <a:pt x="2760" y="2189"/>
                </a:lnTo>
                <a:lnTo>
                  <a:pt x="2780" y="2225"/>
                </a:lnTo>
                <a:lnTo>
                  <a:pt x="2799" y="2264"/>
                </a:lnTo>
                <a:lnTo>
                  <a:pt x="2814" y="2305"/>
                </a:lnTo>
                <a:lnTo>
                  <a:pt x="2827" y="2352"/>
                </a:lnTo>
                <a:lnTo>
                  <a:pt x="2838" y="2400"/>
                </a:lnTo>
                <a:lnTo>
                  <a:pt x="2846" y="2453"/>
                </a:lnTo>
                <a:lnTo>
                  <a:pt x="2850" y="2510"/>
                </a:lnTo>
                <a:lnTo>
                  <a:pt x="2852" y="2571"/>
                </a:lnTo>
                <a:lnTo>
                  <a:pt x="2850" y="2642"/>
                </a:lnTo>
                <a:lnTo>
                  <a:pt x="2844" y="2709"/>
                </a:lnTo>
                <a:lnTo>
                  <a:pt x="2834" y="2770"/>
                </a:lnTo>
                <a:lnTo>
                  <a:pt x="2821" y="2828"/>
                </a:lnTo>
                <a:lnTo>
                  <a:pt x="2804" y="2879"/>
                </a:lnTo>
                <a:lnTo>
                  <a:pt x="2784" y="2927"/>
                </a:lnTo>
                <a:lnTo>
                  <a:pt x="2760" y="2971"/>
                </a:lnTo>
                <a:lnTo>
                  <a:pt x="2733" y="3010"/>
                </a:lnTo>
                <a:lnTo>
                  <a:pt x="2703" y="3045"/>
                </a:lnTo>
                <a:lnTo>
                  <a:pt x="2671" y="3076"/>
                </a:lnTo>
                <a:lnTo>
                  <a:pt x="2635" y="3105"/>
                </a:lnTo>
                <a:lnTo>
                  <a:pt x="2598" y="3130"/>
                </a:lnTo>
                <a:lnTo>
                  <a:pt x="2558" y="3152"/>
                </a:lnTo>
                <a:lnTo>
                  <a:pt x="2515" y="3170"/>
                </a:lnTo>
                <a:lnTo>
                  <a:pt x="2471" y="3186"/>
                </a:lnTo>
                <a:lnTo>
                  <a:pt x="2425" y="3200"/>
                </a:lnTo>
                <a:lnTo>
                  <a:pt x="2376" y="3211"/>
                </a:lnTo>
                <a:lnTo>
                  <a:pt x="2327" y="3220"/>
                </a:lnTo>
                <a:lnTo>
                  <a:pt x="2275" y="3227"/>
                </a:lnTo>
                <a:lnTo>
                  <a:pt x="2223" y="3233"/>
                </a:lnTo>
                <a:lnTo>
                  <a:pt x="2169" y="3237"/>
                </a:lnTo>
                <a:lnTo>
                  <a:pt x="2114" y="3239"/>
                </a:lnTo>
                <a:lnTo>
                  <a:pt x="2058" y="3241"/>
                </a:lnTo>
                <a:lnTo>
                  <a:pt x="2002" y="3241"/>
                </a:lnTo>
                <a:lnTo>
                  <a:pt x="1886" y="3240"/>
                </a:lnTo>
                <a:lnTo>
                  <a:pt x="1769" y="3237"/>
                </a:lnTo>
                <a:lnTo>
                  <a:pt x="1652" y="3234"/>
                </a:lnTo>
                <a:lnTo>
                  <a:pt x="1536" y="3233"/>
                </a:lnTo>
                <a:close/>
                <a:moveTo>
                  <a:pt x="3115" y="3233"/>
                </a:moveTo>
                <a:lnTo>
                  <a:pt x="3115" y="1089"/>
                </a:lnTo>
                <a:lnTo>
                  <a:pt x="3464" y="1089"/>
                </a:lnTo>
                <a:lnTo>
                  <a:pt x="3464" y="2525"/>
                </a:lnTo>
                <a:lnTo>
                  <a:pt x="3473" y="2528"/>
                </a:lnTo>
                <a:lnTo>
                  <a:pt x="4196" y="1089"/>
                </a:lnTo>
                <a:lnTo>
                  <a:pt x="4523" y="1089"/>
                </a:lnTo>
                <a:lnTo>
                  <a:pt x="4523" y="3233"/>
                </a:lnTo>
                <a:lnTo>
                  <a:pt x="4172" y="3233"/>
                </a:lnTo>
                <a:lnTo>
                  <a:pt x="4172" y="1834"/>
                </a:lnTo>
                <a:lnTo>
                  <a:pt x="4165" y="1834"/>
                </a:lnTo>
                <a:lnTo>
                  <a:pt x="3448" y="3233"/>
                </a:lnTo>
                <a:lnTo>
                  <a:pt x="3115" y="3233"/>
                </a:lnTo>
                <a:close/>
                <a:moveTo>
                  <a:pt x="5190" y="3233"/>
                </a:moveTo>
                <a:lnTo>
                  <a:pt x="5190" y="1409"/>
                </a:lnTo>
                <a:lnTo>
                  <a:pt x="4718" y="1409"/>
                </a:lnTo>
                <a:lnTo>
                  <a:pt x="4718" y="1089"/>
                </a:lnTo>
                <a:lnTo>
                  <a:pt x="6018" y="1089"/>
                </a:lnTo>
                <a:lnTo>
                  <a:pt x="6018" y="1409"/>
                </a:lnTo>
                <a:lnTo>
                  <a:pt x="5542" y="1409"/>
                </a:lnTo>
                <a:lnTo>
                  <a:pt x="5542" y="3233"/>
                </a:lnTo>
                <a:lnTo>
                  <a:pt x="5190" y="3233"/>
                </a:lnTo>
                <a:close/>
                <a:moveTo>
                  <a:pt x="6630" y="2706"/>
                </a:moveTo>
                <a:lnTo>
                  <a:pt x="6070" y="1092"/>
                </a:lnTo>
                <a:lnTo>
                  <a:pt x="6436" y="1092"/>
                </a:lnTo>
                <a:lnTo>
                  <a:pt x="6794" y="2260"/>
                </a:lnTo>
                <a:lnTo>
                  <a:pt x="6809" y="2260"/>
                </a:lnTo>
                <a:lnTo>
                  <a:pt x="7139" y="1092"/>
                </a:lnTo>
                <a:lnTo>
                  <a:pt x="7486" y="1092"/>
                </a:lnTo>
                <a:lnTo>
                  <a:pt x="7457" y="1185"/>
                </a:lnTo>
                <a:lnTo>
                  <a:pt x="7423" y="1298"/>
                </a:lnTo>
                <a:lnTo>
                  <a:pt x="7385" y="1427"/>
                </a:lnTo>
                <a:lnTo>
                  <a:pt x="7343" y="1571"/>
                </a:lnTo>
                <a:lnTo>
                  <a:pt x="7297" y="1726"/>
                </a:lnTo>
                <a:lnTo>
                  <a:pt x="7248" y="1889"/>
                </a:lnTo>
                <a:lnTo>
                  <a:pt x="7198" y="2054"/>
                </a:lnTo>
                <a:lnTo>
                  <a:pt x="7145" y="2220"/>
                </a:lnTo>
                <a:lnTo>
                  <a:pt x="7119" y="2302"/>
                </a:lnTo>
                <a:lnTo>
                  <a:pt x="7092" y="2384"/>
                </a:lnTo>
                <a:lnTo>
                  <a:pt x="7065" y="2463"/>
                </a:lnTo>
                <a:lnTo>
                  <a:pt x="7037" y="2541"/>
                </a:lnTo>
                <a:lnTo>
                  <a:pt x="7010" y="2615"/>
                </a:lnTo>
                <a:lnTo>
                  <a:pt x="6983" y="2688"/>
                </a:lnTo>
                <a:lnTo>
                  <a:pt x="6956" y="2757"/>
                </a:lnTo>
                <a:lnTo>
                  <a:pt x="6928" y="2823"/>
                </a:lnTo>
                <a:lnTo>
                  <a:pt x="6902" y="2884"/>
                </a:lnTo>
                <a:lnTo>
                  <a:pt x="6876" y="2940"/>
                </a:lnTo>
                <a:lnTo>
                  <a:pt x="6850" y="2993"/>
                </a:lnTo>
                <a:lnTo>
                  <a:pt x="6824" y="3039"/>
                </a:lnTo>
                <a:lnTo>
                  <a:pt x="6799" y="3080"/>
                </a:lnTo>
                <a:lnTo>
                  <a:pt x="6775" y="3115"/>
                </a:lnTo>
                <a:lnTo>
                  <a:pt x="6752" y="3143"/>
                </a:lnTo>
                <a:lnTo>
                  <a:pt x="6728" y="3164"/>
                </a:lnTo>
                <a:lnTo>
                  <a:pt x="6268" y="3245"/>
                </a:lnTo>
                <a:lnTo>
                  <a:pt x="6268" y="2956"/>
                </a:lnTo>
                <a:lnTo>
                  <a:pt x="6346" y="2956"/>
                </a:lnTo>
                <a:lnTo>
                  <a:pt x="6407" y="2955"/>
                </a:lnTo>
                <a:lnTo>
                  <a:pt x="6432" y="2952"/>
                </a:lnTo>
                <a:lnTo>
                  <a:pt x="6454" y="2948"/>
                </a:lnTo>
                <a:lnTo>
                  <a:pt x="6464" y="2946"/>
                </a:lnTo>
                <a:lnTo>
                  <a:pt x="6474" y="2942"/>
                </a:lnTo>
                <a:lnTo>
                  <a:pt x="6483" y="2938"/>
                </a:lnTo>
                <a:lnTo>
                  <a:pt x="6491" y="2934"/>
                </a:lnTo>
                <a:lnTo>
                  <a:pt x="6499" y="2929"/>
                </a:lnTo>
                <a:lnTo>
                  <a:pt x="6507" y="2923"/>
                </a:lnTo>
                <a:lnTo>
                  <a:pt x="6516" y="2917"/>
                </a:lnTo>
                <a:lnTo>
                  <a:pt x="6523" y="2910"/>
                </a:lnTo>
                <a:lnTo>
                  <a:pt x="6530" y="2902"/>
                </a:lnTo>
                <a:lnTo>
                  <a:pt x="6537" y="2894"/>
                </a:lnTo>
                <a:lnTo>
                  <a:pt x="6544" y="2884"/>
                </a:lnTo>
                <a:lnTo>
                  <a:pt x="6551" y="2874"/>
                </a:lnTo>
                <a:lnTo>
                  <a:pt x="6565" y="2850"/>
                </a:lnTo>
                <a:lnTo>
                  <a:pt x="6580" y="2822"/>
                </a:lnTo>
                <a:lnTo>
                  <a:pt x="6596" y="2788"/>
                </a:lnTo>
                <a:lnTo>
                  <a:pt x="6614" y="2751"/>
                </a:lnTo>
                <a:lnTo>
                  <a:pt x="6630" y="2706"/>
                </a:lnTo>
                <a:close/>
                <a:moveTo>
                  <a:pt x="7708" y="3233"/>
                </a:moveTo>
                <a:lnTo>
                  <a:pt x="7708" y="1089"/>
                </a:lnTo>
                <a:lnTo>
                  <a:pt x="8045" y="1089"/>
                </a:lnTo>
                <a:lnTo>
                  <a:pt x="8557" y="2309"/>
                </a:lnTo>
                <a:lnTo>
                  <a:pt x="8570" y="2309"/>
                </a:lnTo>
                <a:lnTo>
                  <a:pt x="9073" y="1089"/>
                </a:lnTo>
                <a:lnTo>
                  <a:pt x="9412" y="1089"/>
                </a:lnTo>
                <a:lnTo>
                  <a:pt x="9412" y="3233"/>
                </a:lnTo>
                <a:lnTo>
                  <a:pt x="9061" y="3233"/>
                </a:lnTo>
                <a:lnTo>
                  <a:pt x="9061" y="1979"/>
                </a:lnTo>
                <a:lnTo>
                  <a:pt x="9048" y="1979"/>
                </a:lnTo>
                <a:lnTo>
                  <a:pt x="8687" y="2848"/>
                </a:lnTo>
                <a:lnTo>
                  <a:pt x="8437" y="2848"/>
                </a:lnTo>
                <a:lnTo>
                  <a:pt x="8072" y="1976"/>
                </a:lnTo>
                <a:lnTo>
                  <a:pt x="8060" y="1979"/>
                </a:lnTo>
                <a:lnTo>
                  <a:pt x="8060" y="3233"/>
                </a:lnTo>
                <a:lnTo>
                  <a:pt x="7708" y="3233"/>
                </a:lnTo>
                <a:close/>
                <a:moveTo>
                  <a:pt x="2147" y="5104"/>
                </a:moveTo>
                <a:lnTo>
                  <a:pt x="2238" y="5049"/>
                </a:lnTo>
                <a:lnTo>
                  <a:pt x="2328" y="5031"/>
                </a:lnTo>
                <a:lnTo>
                  <a:pt x="2437" y="5049"/>
                </a:lnTo>
                <a:lnTo>
                  <a:pt x="2508" y="5104"/>
                </a:lnTo>
                <a:lnTo>
                  <a:pt x="2563" y="5176"/>
                </a:lnTo>
                <a:lnTo>
                  <a:pt x="2581" y="5284"/>
                </a:lnTo>
                <a:lnTo>
                  <a:pt x="2563" y="5375"/>
                </a:lnTo>
                <a:lnTo>
                  <a:pt x="2508" y="5465"/>
                </a:lnTo>
                <a:lnTo>
                  <a:pt x="2437" y="5519"/>
                </a:lnTo>
                <a:lnTo>
                  <a:pt x="2328" y="5537"/>
                </a:lnTo>
                <a:lnTo>
                  <a:pt x="2238" y="5519"/>
                </a:lnTo>
                <a:lnTo>
                  <a:pt x="2147" y="5465"/>
                </a:lnTo>
                <a:lnTo>
                  <a:pt x="2092" y="5375"/>
                </a:lnTo>
                <a:lnTo>
                  <a:pt x="2074" y="5284"/>
                </a:lnTo>
                <a:lnTo>
                  <a:pt x="2092" y="5176"/>
                </a:lnTo>
                <a:lnTo>
                  <a:pt x="2147" y="5104"/>
                </a:lnTo>
                <a:close/>
                <a:moveTo>
                  <a:pt x="5060" y="5122"/>
                </a:moveTo>
                <a:lnTo>
                  <a:pt x="5024" y="4978"/>
                </a:lnTo>
                <a:lnTo>
                  <a:pt x="4951" y="4851"/>
                </a:lnTo>
                <a:lnTo>
                  <a:pt x="4861" y="4743"/>
                </a:lnTo>
                <a:lnTo>
                  <a:pt x="4752" y="4653"/>
                </a:lnTo>
                <a:lnTo>
                  <a:pt x="4608" y="4580"/>
                </a:lnTo>
                <a:lnTo>
                  <a:pt x="4462" y="4527"/>
                </a:lnTo>
                <a:lnTo>
                  <a:pt x="4318" y="4509"/>
                </a:lnTo>
                <a:lnTo>
                  <a:pt x="4155" y="4527"/>
                </a:lnTo>
                <a:lnTo>
                  <a:pt x="4010" y="4580"/>
                </a:lnTo>
                <a:lnTo>
                  <a:pt x="3884" y="4653"/>
                </a:lnTo>
                <a:lnTo>
                  <a:pt x="3775" y="4743"/>
                </a:lnTo>
                <a:lnTo>
                  <a:pt x="3685" y="4851"/>
                </a:lnTo>
                <a:lnTo>
                  <a:pt x="3613" y="4978"/>
                </a:lnTo>
                <a:lnTo>
                  <a:pt x="3558" y="5122"/>
                </a:lnTo>
                <a:lnTo>
                  <a:pt x="3540" y="5284"/>
                </a:lnTo>
                <a:lnTo>
                  <a:pt x="3558" y="5429"/>
                </a:lnTo>
                <a:lnTo>
                  <a:pt x="3613" y="5573"/>
                </a:lnTo>
                <a:lnTo>
                  <a:pt x="3685" y="5717"/>
                </a:lnTo>
                <a:lnTo>
                  <a:pt x="3775" y="5826"/>
                </a:lnTo>
                <a:lnTo>
                  <a:pt x="3884" y="5916"/>
                </a:lnTo>
                <a:lnTo>
                  <a:pt x="4010" y="5988"/>
                </a:lnTo>
                <a:lnTo>
                  <a:pt x="4155" y="6024"/>
                </a:lnTo>
                <a:lnTo>
                  <a:pt x="4318" y="6042"/>
                </a:lnTo>
                <a:lnTo>
                  <a:pt x="4462" y="6024"/>
                </a:lnTo>
                <a:lnTo>
                  <a:pt x="4608" y="5988"/>
                </a:lnTo>
                <a:lnTo>
                  <a:pt x="4752" y="5916"/>
                </a:lnTo>
                <a:lnTo>
                  <a:pt x="4861" y="5826"/>
                </a:lnTo>
                <a:lnTo>
                  <a:pt x="4951" y="5717"/>
                </a:lnTo>
                <a:lnTo>
                  <a:pt x="5024" y="5573"/>
                </a:lnTo>
                <a:lnTo>
                  <a:pt x="5060" y="5429"/>
                </a:lnTo>
                <a:lnTo>
                  <a:pt x="5078" y="5284"/>
                </a:lnTo>
                <a:lnTo>
                  <a:pt x="5060" y="5122"/>
                </a:lnTo>
                <a:close/>
                <a:moveTo>
                  <a:pt x="4499" y="5104"/>
                </a:moveTo>
                <a:lnTo>
                  <a:pt x="4553" y="5176"/>
                </a:lnTo>
                <a:lnTo>
                  <a:pt x="4571" y="5284"/>
                </a:lnTo>
                <a:lnTo>
                  <a:pt x="4553" y="5375"/>
                </a:lnTo>
                <a:lnTo>
                  <a:pt x="4499" y="5465"/>
                </a:lnTo>
                <a:lnTo>
                  <a:pt x="4408" y="5519"/>
                </a:lnTo>
                <a:lnTo>
                  <a:pt x="4318" y="5537"/>
                </a:lnTo>
                <a:lnTo>
                  <a:pt x="4209" y="5519"/>
                </a:lnTo>
                <a:lnTo>
                  <a:pt x="4137" y="5465"/>
                </a:lnTo>
                <a:lnTo>
                  <a:pt x="4083" y="5375"/>
                </a:lnTo>
                <a:lnTo>
                  <a:pt x="4065" y="5284"/>
                </a:lnTo>
                <a:lnTo>
                  <a:pt x="4083" y="5176"/>
                </a:lnTo>
                <a:lnTo>
                  <a:pt x="4137" y="5104"/>
                </a:lnTo>
                <a:lnTo>
                  <a:pt x="4209" y="5049"/>
                </a:lnTo>
                <a:lnTo>
                  <a:pt x="4318" y="5031"/>
                </a:lnTo>
                <a:lnTo>
                  <a:pt x="4408" y="5049"/>
                </a:lnTo>
                <a:lnTo>
                  <a:pt x="4499" y="5104"/>
                </a:lnTo>
                <a:close/>
                <a:moveTo>
                  <a:pt x="9764" y="5284"/>
                </a:moveTo>
                <a:lnTo>
                  <a:pt x="9746" y="5122"/>
                </a:lnTo>
                <a:lnTo>
                  <a:pt x="9709" y="4978"/>
                </a:lnTo>
                <a:lnTo>
                  <a:pt x="9638" y="4851"/>
                </a:lnTo>
                <a:lnTo>
                  <a:pt x="9547" y="4743"/>
                </a:lnTo>
                <a:lnTo>
                  <a:pt x="9419" y="4653"/>
                </a:lnTo>
                <a:lnTo>
                  <a:pt x="9293" y="4580"/>
                </a:lnTo>
                <a:lnTo>
                  <a:pt x="9148" y="4527"/>
                </a:lnTo>
                <a:lnTo>
                  <a:pt x="9004" y="4509"/>
                </a:lnTo>
                <a:lnTo>
                  <a:pt x="8841" y="4527"/>
                </a:lnTo>
                <a:lnTo>
                  <a:pt x="8696" y="4580"/>
                </a:lnTo>
                <a:lnTo>
                  <a:pt x="8570" y="4653"/>
                </a:lnTo>
                <a:lnTo>
                  <a:pt x="8461" y="4743"/>
                </a:lnTo>
                <a:lnTo>
                  <a:pt x="8353" y="4851"/>
                </a:lnTo>
                <a:lnTo>
                  <a:pt x="8280" y="4978"/>
                </a:lnTo>
                <a:lnTo>
                  <a:pt x="8244" y="5122"/>
                </a:lnTo>
                <a:lnTo>
                  <a:pt x="8225" y="5284"/>
                </a:lnTo>
                <a:lnTo>
                  <a:pt x="8244" y="5429"/>
                </a:lnTo>
                <a:lnTo>
                  <a:pt x="8280" y="5573"/>
                </a:lnTo>
                <a:lnTo>
                  <a:pt x="8353" y="5717"/>
                </a:lnTo>
                <a:lnTo>
                  <a:pt x="8461" y="5826"/>
                </a:lnTo>
                <a:lnTo>
                  <a:pt x="8570" y="5916"/>
                </a:lnTo>
                <a:lnTo>
                  <a:pt x="8696" y="5988"/>
                </a:lnTo>
                <a:lnTo>
                  <a:pt x="8841" y="6024"/>
                </a:lnTo>
                <a:lnTo>
                  <a:pt x="9004" y="6042"/>
                </a:lnTo>
                <a:lnTo>
                  <a:pt x="9148" y="6024"/>
                </a:lnTo>
                <a:lnTo>
                  <a:pt x="9293" y="5988"/>
                </a:lnTo>
                <a:lnTo>
                  <a:pt x="9419" y="5916"/>
                </a:lnTo>
                <a:lnTo>
                  <a:pt x="9547" y="5826"/>
                </a:lnTo>
                <a:lnTo>
                  <a:pt x="9638" y="5717"/>
                </a:lnTo>
                <a:lnTo>
                  <a:pt x="9709" y="5573"/>
                </a:lnTo>
                <a:lnTo>
                  <a:pt x="9746" y="5429"/>
                </a:lnTo>
                <a:lnTo>
                  <a:pt x="9764" y="5284"/>
                </a:lnTo>
                <a:close/>
                <a:moveTo>
                  <a:pt x="9184" y="5104"/>
                </a:moveTo>
                <a:lnTo>
                  <a:pt x="9239" y="5176"/>
                </a:lnTo>
                <a:lnTo>
                  <a:pt x="9257" y="5284"/>
                </a:lnTo>
                <a:lnTo>
                  <a:pt x="9239" y="5375"/>
                </a:lnTo>
                <a:lnTo>
                  <a:pt x="9184" y="5465"/>
                </a:lnTo>
                <a:lnTo>
                  <a:pt x="9094" y="5519"/>
                </a:lnTo>
                <a:lnTo>
                  <a:pt x="9004" y="5537"/>
                </a:lnTo>
                <a:lnTo>
                  <a:pt x="8896" y="5519"/>
                </a:lnTo>
                <a:lnTo>
                  <a:pt x="8823" y="5465"/>
                </a:lnTo>
                <a:lnTo>
                  <a:pt x="8768" y="5375"/>
                </a:lnTo>
                <a:lnTo>
                  <a:pt x="8732" y="5284"/>
                </a:lnTo>
                <a:lnTo>
                  <a:pt x="8768" y="5176"/>
                </a:lnTo>
                <a:lnTo>
                  <a:pt x="8823" y="5104"/>
                </a:lnTo>
                <a:lnTo>
                  <a:pt x="8896" y="5049"/>
                </a:lnTo>
                <a:lnTo>
                  <a:pt x="9004" y="5031"/>
                </a:lnTo>
                <a:lnTo>
                  <a:pt x="9094" y="5049"/>
                </a:lnTo>
                <a:lnTo>
                  <a:pt x="9184" y="5104"/>
                </a:lnTo>
                <a:close/>
                <a:moveTo>
                  <a:pt x="13581" y="5284"/>
                </a:moveTo>
                <a:lnTo>
                  <a:pt x="13599" y="5429"/>
                </a:lnTo>
                <a:lnTo>
                  <a:pt x="13636" y="5573"/>
                </a:lnTo>
                <a:lnTo>
                  <a:pt x="13707" y="5717"/>
                </a:lnTo>
                <a:lnTo>
                  <a:pt x="13798" y="5826"/>
                </a:lnTo>
                <a:lnTo>
                  <a:pt x="13924" y="5916"/>
                </a:lnTo>
                <a:lnTo>
                  <a:pt x="14052" y="5988"/>
                </a:lnTo>
                <a:lnTo>
                  <a:pt x="14196" y="6024"/>
                </a:lnTo>
                <a:lnTo>
                  <a:pt x="14341" y="6042"/>
                </a:lnTo>
                <a:lnTo>
                  <a:pt x="14504" y="6024"/>
                </a:lnTo>
                <a:lnTo>
                  <a:pt x="14648" y="5988"/>
                </a:lnTo>
                <a:lnTo>
                  <a:pt x="14775" y="5916"/>
                </a:lnTo>
                <a:lnTo>
                  <a:pt x="14883" y="5826"/>
                </a:lnTo>
                <a:lnTo>
                  <a:pt x="14992" y="5717"/>
                </a:lnTo>
                <a:lnTo>
                  <a:pt x="15065" y="5573"/>
                </a:lnTo>
                <a:lnTo>
                  <a:pt x="15100" y="5429"/>
                </a:lnTo>
                <a:lnTo>
                  <a:pt x="15118" y="5284"/>
                </a:lnTo>
                <a:lnTo>
                  <a:pt x="15100" y="5122"/>
                </a:lnTo>
                <a:lnTo>
                  <a:pt x="15065" y="4978"/>
                </a:lnTo>
                <a:lnTo>
                  <a:pt x="14992" y="4851"/>
                </a:lnTo>
                <a:lnTo>
                  <a:pt x="14883" y="4743"/>
                </a:lnTo>
                <a:lnTo>
                  <a:pt x="14775" y="4653"/>
                </a:lnTo>
                <a:lnTo>
                  <a:pt x="14648" y="4580"/>
                </a:lnTo>
                <a:lnTo>
                  <a:pt x="14504" y="4527"/>
                </a:lnTo>
                <a:lnTo>
                  <a:pt x="14341" y="4509"/>
                </a:lnTo>
                <a:lnTo>
                  <a:pt x="14196" y="4527"/>
                </a:lnTo>
                <a:lnTo>
                  <a:pt x="14052" y="4580"/>
                </a:lnTo>
                <a:lnTo>
                  <a:pt x="13924" y="4653"/>
                </a:lnTo>
                <a:lnTo>
                  <a:pt x="13798" y="4743"/>
                </a:lnTo>
                <a:lnTo>
                  <a:pt x="13707" y="4851"/>
                </a:lnTo>
                <a:lnTo>
                  <a:pt x="13636" y="4978"/>
                </a:lnTo>
                <a:lnTo>
                  <a:pt x="13599" y="5122"/>
                </a:lnTo>
                <a:lnTo>
                  <a:pt x="13581" y="5284"/>
                </a:lnTo>
                <a:close/>
                <a:moveTo>
                  <a:pt x="14250" y="5519"/>
                </a:moveTo>
                <a:lnTo>
                  <a:pt x="14160" y="5465"/>
                </a:lnTo>
                <a:lnTo>
                  <a:pt x="14106" y="5375"/>
                </a:lnTo>
                <a:lnTo>
                  <a:pt x="14088" y="5284"/>
                </a:lnTo>
                <a:lnTo>
                  <a:pt x="14106" y="5176"/>
                </a:lnTo>
                <a:lnTo>
                  <a:pt x="14160" y="5104"/>
                </a:lnTo>
                <a:lnTo>
                  <a:pt x="14250" y="5049"/>
                </a:lnTo>
                <a:lnTo>
                  <a:pt x="14341" y="5031"/>
                </a:lnTo>
                <a:lnTo>
                  <a:pt x="14449" y="5049"/>
                </a:lnTo>
                <a:lnTo>
                  <a:pt x="14522" y="5104"/>
                </a:lnTo>
                <a:lnTo>
                  <a:pt x="14576" y="5176"/>
                </a:lnTo>
                <a:lnTo>
                  <a:pt x="14612" y="5284"/>
                </a:lnTo>
                <a:lnTo>
                  <a:pt x="14576" y="5375"/>
                </a:lnTo>
                <a:lnTo>
                  <a:pt x="14522" y="5465"/>
                </a:lnTo>
                <a:lnTo>
                  <a:pt x="14449" y="5519"/>
                </a:lnTo>
                <a:lnTo>
                  <a:pt x="14341" y="5537"/>
                </a:lnTo>
                <a:lnTo>
                  <a:pt x="14250" y="5519"/>
                </a:lnTo>
                <a:close/>
                <a:moveTo>
                  <a:pt x="2798" y="4346"/>
                </a:moveTo>
                <a:lnTo>
                  <a:pt x="2943" y="4418"/>
                </a:lnTo>
                <a:lnTo>
                  <a:pt x="3070" y="4527"/>
                </a:lnTo>
                <a:lnTo>
                  <a:pt x="3160" y="4635"/>
                </a:lnTo>
                <a:lnTo>
                  <a:pt x="3250" y="4780"/>
                </a:lnTo>
                <a:lnTo>
                  <a:pt x="3323" y="4924"/>
                </a:lnTo>
                <a:lnTo>
                  <a:pt x="3396" y="4780"/>
                </a:lnTo>
                <a:lnTo>
                  <a:pt x="3467" y="4635"/>
                </a:lnTo>
                <a:lnTo>
                  <a:pt x="3576" y="4527"/>
                </a:lnTo>
                <a:lnTo>
                  <a:pt x="3702" y="4418"/>
                </a:lnTo>
                <a:lnTo>
                  <a:pt x="3848" y="4346"/>
                </a:lnTo>
                <a:lnTo>
                  <a:pt x="3956" y="4292"/>
                </a:lnTo>
                <a:lnTo>
                  <a:pt x="2690" y="4292"/>
                </a:lnTo>
                <a:lnTo>
                  <a:pt x="2798" y="4346"/>
                </a:lnTo>
                <a:close/>
                <a:moveTo>
                  <a:pt x="1478" y="4292"/>
                </a:moveTo>
                <a:lnTo>
                  <a:pt x="754" y="4292"/>
                </a:lnTo>
                <a:lnTo>
                  <a:pt x="754" y="5320"/>
                </a:lnTo>
                <a:lnTo>
                  <a:pt x="1279" y="5320"/>
                </a:lnTo>
                <a:lnTo>
                  <a:pt x="1279" y="5284"/>
                </a:lnTo>
                <a:lnTo>
                  <a:pt x="1279" y="5176"/>
                </a:lnTo>
                <a:lnTo>
                  <a:pt x="1297" y="5068"/>
                </a:lnTo>
                <a:lnTo>
                  <a:pt x="1351" y="4869"/>
                </a:lnTo>
                <a:lnTo>
                  <a:pt x="1460" y="4689"/>
                </a:lnTo>
                <a:lnTo>
                  <a:pt x="1586" y="4527"/>
                </a:lnTo>
                <a:lnTo>
                  <a:pt x="1731" y="4400"/>
                </a:lnTo>
                <a:lnTo>
                  <a:pt x="1912" y="4310"/>
                </a:lnTo>
                <a:lnTo>
                  <a:pt x="1961" y="4292"/>
                </a:lnTo>
                <a:lnTo>
                  <a:pt x="1478" y="4292"/>
                </a:lnTo>
                <a:close/>
                <a:moveTo>
                  <a:pt x="9746" y="4527"/>
                </a:moveTo>
                <a:lnTo>
                  <a:pt x="9872" y="4689"/>
                </a:lnTo>
                <a:lnTo>
                  <a:pt x="9981" y="4869"/>
                </a:lnTo>
                <a:lnTo>
                  <a:pt x="10035" y="5068"/>
                </a:lnTo>
                <a:lnTo>
                  <a:pt x="10053" y="5176"/>
                </a:lnTo>
                <a:lnTo>
                  <a:pt x="10053" y="5284"/>
                </a:lnTo>
                <a:lnTo>
                  <a:pt x="10090" y="5302"/>
                </a:lnTo>
                <a:lnTo>
                  <a:pt x="10270" y="5320"/>
                </a:lnTo>
                <a:lnTo>
                  <a:pt x="13038" y="5320"/>
                </a:lnTo>
                <a:lnTo>
                  <a:pt x="13291" y="5320"/>
                </a:lnTo>
                <a:lnTo>
                  <a:pt x="13291" y="5284"/>
                </a:lnTo>
                <a:lnTo>
                  <a:pt x="13291" y="5176"/>
                </a:lnTo>
                <a:lnTo>
                  <a:pt x="13310" y="5068"/>
                </a:lnTo>
                <a:lnTo>
                  <a:pt x="13382" y="4869"/>
                </a:lnTo>
                <a:lnTo>
                  <a:pt x="13472" y="4689"/>
                </a:lnTo>
                <a:lnTo>
                  <a:pt x="13599" y="4527"/>
                </a:lnTo>
                <a:lnTo>
                  <a:pt x="13762" y="4400"/>
                </a:lnTo>
                <a:lnTo>
                  <a:pt x="13942" y="4310"/>
                </a:lnTo>
                <a:lnTo>
                  <a:pt x="14142" y="4238"/>
                </a:lnTo>
                <a:lnTo>
                  <a:pt x="14232" y="4238"/>
                </a:lnTo>
                <a:lnTo>
                  <a:pt x="14341" y="4220"/>
                </a:lnTo>
                <a:lnTo>
                  <a:pt x="14449" y="4238"/>
                </a:lnTo>
                <a:lnTo>
                  <a:pt x="14558" y="4238"/>
                </a:lnTo>
                <a:lnTo>
                  <a:pt x="14757" y="4310"/>
                </a:lnTo>
                <a:lnTo>
                  <a:pt x="14938" y="4400"/>
                </a:lnTo>
                <a:lnTo>
                  <a:pt x="15100" y="4527"/>
                </a:lnTo>
                <a:lnTo>
                  <a:pt x="15227" y="4689"/>
                </a:lnTo>
                <a:lnTo>
                  <a:pt x="15318" y="4869"/>
                </a:lnTo>
                <a:lnTo>
                  <a:pt x="15390" y="5068"/>
                </a:lnTo>
                <a:lnTo>
                  <a:pt x="15408" y="5176"/>
                </a:lnTo>
                <a:lnTo>
                  <a:pt x="15408" y="5284"/>
                </a:lnTo>
                <a:lnTo>
                  <a:pt x="15408" y="5320"/>
                </a:lnTo>
                <a:lnTo>
                  <a:pt x="15770" y="5320"/>
                </a:lnTo>
                <a:lnTo>
                  <a:pt x="15842" y="5302"/>
                </a:lnTo>
                <a:lnTo>
                  <a:pt x="15915" y="5266"/>
                </a:lnTo>
                <a:lnTo>
                  <a:pt x="15987" y="5213"/>
                </a:lnTo>
                <a:lnTo>
                  <a:pt x="16041" y="5140"/>
                </a:lnTo>
                <a:lnTo>
                  <a:pt x="16077" y="5049"/>
                </a:lnTo>
                <a:lnTo>
                  <a:pt x="16114" y="4942"/>
                </a:lnTo>
                <a:lnTo>
                  <a:pt x="16132" y="4815"/>
                </a:lnTo>
                <a:lnTo>
                  <a:pt x="16150" y="4671"/>
                </a:lnTo>
                <a:lnTo>
                  <a:pt x="16132" y="4544"/>
                </a:lnTo>
                <a:lnTo>
                  <a:pt x="16114" y="4436"/>
                </a:lnTo>
                <a:lnTo>
                  <a:pt x="16095" y="4328"/>
                </a:lnTo>
                <a:lnTo>
                  <a:pt x="16059" y="4238"/>
                </a:lnTo>
                <a:lnTo>
                  <a:pt x="16006" y="4166"/>
                </a:lnTo>
                <a:lnTo>
                  <a:pt x="15951" y="4111"/>
                </a:lnTo>
                <a:lnTo>
                  <a:pt x="15897" y="4076"/>
                </a:lnTo>
                <a:lnTo>
                  <a:pt x="15824" y="4058"/>
                </a:lnTo>
                <a:lnTo>
                  <a:pt x="15824" y="3191"/>
                </a:lnTo>
                <a:lnTo>
                  <a:pt x="15807" y="3102"/>
                </a:lnTo>
                <a:lnTo>
                  <a:pt x="15789" y="3047"/>
                </a:lnTo>
                <a:lnTo>
                  <a:pt x="15752" y="2993"/>
                </a:lnTo>
                <a:lnTo>
                  <a:pt x="15698" y="2938"/>
                </a:lnTo>
                <a:lnTo>
                  <a:pt x="15571" y="2867"/>
                </a:lnTo>
                <a:lnTo>
                  <a:pt x="15408" y="2776"/>
                </a:lnTo>
                <a:lnTo>
                  <a:pt x="14558" y="2487"/>
                </a:lnTo>
                <a:lnTo>
                  <a:pt x="14232" y="1478"/>
                </a:lnTo>
                <a:lnTo>
                  <a:pt x="14160" y="1315"/>
                </a:lnTo>
                <a:lnTo>
                  <a:pt x="14124" y="1243"/>
                </a:lnTo>
                <a:lnTo>
                  <a:pt x="14070" y="1189"/>
                </a:lnTo>
                <a:lnTo>
                  <a:pt x="14033" y="1135"/>
                </a:lnTo>
                <a:lnTo>
                  <a:pt x="13961" y="1098"/>
                </a:lnTo>
                <a:lnTo>
                  <a:pt x="13889" y="1080"/>
                </a:lnTo>
                <a:lnTo>
                  <a:pt x="13816" y="1062"/>
                </a:lnTo>
                <a:lnTo>
                  <a:pt x="13382" y="1062"/>
                </a:lnTo>
                <a:lnTo>
                  <a:pt x="13154" y="1062"/>
                </a:lnTo>
                <a:lnTo>
                  <a:pt x="12944" y="1062"/>
                </a:lnTo>
                <a:lnTo>
                  <a:pt x="12749" y="1062"/>
                </a:lnTo>
                <a:lnTo>
                  <a:pt x="12570" y="1062"/>
                </a:lnTo>
                <a:lnTo>
                  <a:pt x="12405" y="1062"/>
                </a:lnTo>
                <a:lnTo>
                  <a:pt x="12255" y="1062"/>
                </a:lnTo>
                <a:lnTo>
                  <a:pt x="12117" y="1062"/>
                </a:lnTo>
                <a:lnTo>
                  <a:pt x="11991" y="1062"/>
                </a:lnTo>
                <a:lnTo>
                  <a:pt x="11877" y="1062"/>
                </a:lnTo>
                <a:lnTo>
                  <a:pt x="11775" y="1062"/>
                </a:lnTo>
                <a:lnTo>
                  <a:pt x="11683" y="1062"/>
                </a:lnTo>
                <a:lnTo>
                  <a:pt x="11600" y="1062"/>
                </a:lnTo>
                <a:lnTo>
                  <a:pt x="11526" y="1062"/>
                </a:lnTo>
                <a:lnTo>
                  <a:pt x="11460" y="1062"/>
                </a:lnTo>
                <a:lnTo>
                  <a:pt x="11402" y="1062"/>
                </a:lnTo>
                <a:lnTo>
                  <a:pt x="11350" y="1062"/>
                </a:lnTo>
                <a:lnTo>
                  <a:pt x="11327" y="1063"/>
                </a:lnTo>
                <a:lnTo>
                  <a:pt x="11306" y="1065"/>
                </a:lnTo>
                <a:lnTo>
                  <a:pt x="11289" y="1068"/>
                </a:lnTo>
                <a:lnTo>
                  <a:pt x="11275" y="1072"/>
                </a:lnTo>
                <a:lnTo>
                  <a:pt x="11268" y="1075"/>
                </a:lnTo>
                <a:lnTo>
                  <a:pt x="11263" y="1077"/>
                </a:lnTo>
                <a:lnTo>
                  <a:pt x="11257" y="1081"/>
                </a:lnTo>
                <a:lnTo>
                  <a:pt x="11253" y="1084"/>
                </a:lnTo>
                <a:lnTo>
                  <a:pt x="11248" y="1088"/>
                </a:lnTo>
                <a:lnTo>
                  <a:pt x="11244" y="1092"/>
                </a:lnTo>
                <a:lnTo>
                  <a:pt x="11241" y="1096"/>
                </a:lnTo>
                <a:lnTo>
                  <a:pt x="11238" y="1101"/>
                </a:lnTo>
                <a:lnTo>
                  <a:pt x="11234" y="1112"/>
                </a:lnTo>
                <a:lnTo>
                  <a:pt x="11231" y="1124"/>
                </a:lnTo>
                <a:lnTo>
                  <a:pt x="11230" y="1138"/>
                </a:lnTo>
                <a:lnTo>
                  <a:pt x="11229" y="1152"/>
                </a:lnTo>
                <a:lnTo>
                  <a:pt x="11228" y="1185"/>
                </a:lnTo>
                <a:lnTo>
                  <a:pt x="11229" y="1223"/>
                </a:lnTo>
                <a:lnTo>
                  <a:pt x="11229" y="4292"/>
                </a:lnTo>
                <a:lnTo>
                  <a:pt x="9352" y="4292"/>
                </a:lnTo>
                <a:lnTo>
                  <a:pt x="9401" y="4310"/>
                </a:lnTo>
                <a:lnTo>
                  <a:pt x="9583" y="4400"/>
                </a:lnTo>
                <a:lnTo>
                  <a:pt x="9746" y="4527"/>
                </a:lnTo>
                <a:close/>
                <a:moveTo>
                  <a:pt x="12351" y="2344"/>
                </a:moveTo>
                <a:lnTo>
                  <a:pt x="12351" y="1531"/>
                </a:lnTo>
                <a:lnTo>
                  <a:pt x="13545" y="1531"/>
                </a:lnTo>
                <a:lnTo>
                  <a:pt x="13636" y="1549"/>
                </a:lnTo>
                <a:lnTo>
                  <a:pt x="13689" y="1585"/>
                </a:lnTo>
                <a:lnTo>
                  <a:pt x="13744" y="1640"/>
                </a:lnTo>
                <a:lnTo>
                  <a:pt x="13780" y="1712"/>
                </a:lnTo>
                <a:lnTo>
                  <a:pt x="14052" y="2487"/>
                </a:lnTo>
                <a:lnTo>
                  <a:pt x="12351" y="2344"/>
                </a:lnTo>
                <a:close/>
                <a:moveTo>
                  <a:pt x="5060" y="4527"/>
                </a:moveTo>
                <a:lnTo>
                  <a:pt x="5186" y="4689"/>
                </a:lnTo>
                <a:lnTo>
                  <a:pt x="5295" y="4869"/>
                </a:lnTo>
                <a:lnTo>
                  <a:pt x="5350" y="5068"/>
                </a:lnTo>
                <a:lnTo>
                  <a:pt x="5367" y="5176"/>
                </a:lnTo>
                <a:lnTo>
                  <a:pt x="5367" y="5284"/>
                </a:lnTo>
                <a:lnTo>
                  <a:pt x="5367" y="5320"/>
                </a:lnTo>
                <a:lnTo>
                  <a:pt x="7937" y="5320"/>
                </a:lnTo>
                <a:lnTo>
                  <a:pt x="7937" y="5284"/>
                </a:lnTo>
                <a:lnTo>
                  <a:pt x="7937" y="5176"/>
                </a:lnTo>
                <a:lnTo>
                  <a:pt x="7955" y="5068"/>
                </a:lnTo>
                <a:lnTo>
                  <a:pt x="8027" y="4869"/>
                </a:lnTo>
                <a:lnTo>
                  <a:pt x="8117" y="4689"/>
                </a:lnTo>
                <a:lnTo>
                  <a:pt x="8244" y="4527"/>
                </a:lnTo>
                <a:lnTo>
                  <a:pt x="8407" y="4400"/>
                </a:lnTo>
                <a:lnTo>
                  <a:pt x="8588" y="4310"/>
                </a:lnTo>
                <a:lnTo>
                  <a:pt x="8637" y="4292"/>
                </a:lnTo>
                <a:lnTo>
                  <a:pt x="4685" y="4292"/>
                </a:lnTo>
                <a:lnTo>
                  <a:pt x="4734" y="4310"/>
                </a:lnTo>
                <a:lnTo>
                  <a:pt x="4915" y="4400"/>
                </a:lnTo>
                <a:lnTo>
                  <a:pt x="5060" y="45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FFFFFF"/>
              </a:solidFill>
            </a:endParaRPr>
          </a:p>
        </p:txBody>
      </p:sp>
      <p:cxnSp>
        <p:nvCxnSpPr>
          <p:cNvPr id="34" name="Соединительная линия уступом 33"/>
          <p:cNvCxnSpPr/>
          <p:nvPr/>
        </p:nvCxnSpPr>
        <p:spPr>
          <a:xfrm rot="5400000">
            <a:off x="6333324" y="3191087"/>
            <a:ext cx="427611" cy="327608"/>
          </a:xfrm>
          <a:prstGeom prst="bentConnector3">
            <a:avLst>
              <a:gd name="adj1" fmla="val 100831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Соединительная линия уступом 35"/>
          <p:cNvCxnSpPr/>
          <p:nvPr/>
        </p:nvCxnSpPr>
        <p:spPr>
          <a:xfrm flipV="1">
            <a:off x="6023847" y="4149080"/>
            <a:ext cx="647477" cy="125723"/>
          </a:xfrm>
          <a:prstGeom prst="bentConnector3">
            <a:avLst>
              <a:gd name="adj1" fmla="val 50000"/>
            </a:avLst>
          </a:prstGeom>
          <a:ln w="34925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Picture126"/>
          <p:cNvSpPr>
            <a:spLocks noEditPoints="1"/>
          </p:cNvSpPr>
          <p:nvPr/>
        </p:nvSpPr>
        <p:spPr bwMode="auto">
          <a:xfrm>
            <a:off x="5868144" y="3248980"/>
            <a:ext cx="440128" cy="437805"/>
          </a:xfrm>
          <a:custGeom>
            <a:avLst/>
            <a:gdLst>
              <a:gd name="T0" fmla="*/ 456 w 729"/>
              <a:gd name="T1" fmla="*/ 395 h 912"/>
              <a:gd name="T2" fmla="*/ 273 w 729"/>
              <a:gd name="T3" fmla="*/ 443 h 912"/>
              <a:gd name="T4" fmla="*/ 259 w 729"/>
              <a:gd name="T5" fmla="*/ 450 h 912"/>
              <a:gd name="T6" fmla="*/ 232 w 729"/>
              <a:gd name="T7" fmla="*/ 465 h 912"/>
              <a:gd name="T8" fmla="*/ 207 w 729"/>
              <a:gd name="T9" fmla="*/ 484 h 912"/>
              <a:gd name="T10" fmla="*/ 185 w 729"/>
              <a:gd name="T11" fmla="*/ 505 h 912"/>
              <a:gd name="T12" fmla="*/ 91 w 729"/>
              <a:gd name="T13" fmla="*/ 517 h 912"/>
              <a:gd name="T14" fmla="*/ 175 w 729"/>
              <a:gd name="T15" fmla="*/ 821 h 912"/>
              <a:gd name="T16" fmla="*/ 183 w 729"/>
              <a:gd name="T17" fmla="*/ 832 h 912"/>
              <a:gd name="T18" fmla="*/ 203 w 729"/>
              <a:gd name="T19" fmla="*/ 850 h 912"/>
              <a:gd name="T20" fmla="*/ 223 w 729"/>
              <a:gd name="T21" fmla="*/ 867 h 912"/>
              <a:gd name="T22" fmla="*/ 246 w 729"/>
              <a:gd name="T23" fmla="*/ 881 h 912"/>
              <a:gd name="T24" fmla="*/ 270 w 729"/>
              <a:gd name="T25" fmla="*/ 893 h 912"/>
              <a:gd name="T26" fmla="*/ 296 w 729"/>
              <a:gd name="T27" fmla="*/ 902 h 912"/>
              <a:gd name="T28" fmla="*/ 323 w 729"/>
              <a:gd name="T29" fmla="*/ 909 h 912"/>
              <a:gd name="T30" fmla="*/ 351 w 729"/>
              <a:gd name="T31" fmla="*/ 912 h 912"/>
              <a:gd name="T32" fmla="*/ 365 w 729"/>
              <a:gd name="T33" fmla="*/ 912 h 912"/>
              <a:gd name="T34" fmla="*/ 393 w 729"/>
              <a:gd name="T35" fmla="*/ 911 h 912"/>
              <a:gd name="T36" fmla="*/ 420 w 729"/>
              <a:gd name="T37" fmla="*/ 906 h 912"/>
              <a:gd name="T38" fmla="*/ 447 w 729"/>
              <a:gd name="T39" fmla="*/ 898 h 912"/>
              <a:gd name="T40" fmla="*/ 472 w 729"/>
              <a:gd name="T41" fmla="*/ 887 h 912"/>
              <a:gd name="T42" fmla="*/ 495 w 729"/>
              <a:gd name="T43" fmla="*/ 874 h 912"/>
              <a:gd name="T44" fmla="*/ 517 w 729"/>
              <a:gd name="T45" fmla="*/ 858 h 912"/>
              <a:gd name="T46" fmla="*/ 536 w 729"/>
              <a:gd name="T47" fmla="*/ 841 h 912"/>
              <a:gd name="T48" fmla="*/ 554 w 729"/>
              <a:gd name="T49" fmla="*/ 821 h 912"/>
              <a:gd name="T50" fmla="*/ 638 w 729"/>
              <a:gd name="T51" fmla="*/ 517 h 912"/>
              <a:gd name="T52" fmla="*/ 554 w 729"/>
              <a:gd name="T53" fmla="*/ 517 h 912"/>
              <a:gd name="T54" fmla="*/ 534 w 729"/>
              <a:gd name="T55" fmla="*/ 494 h 912"/>
              <a:gd name="T56" fmla="*/ 510 w 729"/>
              <a:gd name="T57" fmla="*/ 474 h 912"/>
              <a:gd name="T58" fmla="*/ 483 w 729"/>
              <a:gd name="T59" fmla="*/ 457 h 912"/>
              <a:gd name="T60" fmla="*/ 456 w 729"/>
              <a:gd name="T61" fmla="*/ 443 h 912"/>
              <a:gd name="T62" fmla="*/ 0 w 729"/>
              <a:gd name="T63" fmla="*/ 852 h 912"/>
              <a:gd name="T64" fmla="*/ 61 w 729"/>
              <a:gd name="T65" fmla="*/ 486 h 912"/>
              <a:gd name="T66" fmla="*/ 0 w 729"/>
              <a:gd name="T67" fmla="*/ 852 h 912"/>
              <a:gd name="T68" fmla="*/ 669 w 729"/>
              <a:gd name="T69" fmla="*/ 852 h 912"/>
              <a:gd name="T70" fmla="*/ 729 w 729"/>
              <a:gd name="T71" fmla="*/ 486 h 912"/>
              <a:gd name="T72" fmla="*/ 487 w 729"/>
              <a:gd name="T73" fmla="*/ 304 h 912"/>
              <a:gd name="T74" fmla="*/ 243 w 729"/>
              <a:gd name="T75" fmla="*/ 365 h 912"/>
              <a:gd name="T76" fmla="*/ 487 w 729"/>
              <a:gd name="T77" fmla="*/ 304 h 912"/>
              <a:gd name="T78" fmla="*/ 30 w 729"/>
              <a:gd name="T79" fmla="*/ 0 h 912"/>
              <a:gd name="T80" fmla="*/ 77 w 729"/>
              <a:gd name="T81" fmla="*/ 61 h 912"/>
              <a:gd name="T82" fmla="*/ 303 w 729"/>
              <a:gd name="T83" fmla="*/ 274 h 912"/>
              <a:gd name="T84" fmla="*/ 426 w 729"/>
              <a:gd name="T85" fmla="*/ 251 h 912"/>
              <a:gd name="T86" fmla="*/ 699 w 729"/>
              <a:gd name="T87" fmla="*/ 61 h 912"/>
              <a:gd name="T88" fmla="*/ 426 w 729"/>
              <a:gd name="T89" fmla="*/ 172 h 912"/>
              <a:gd name="T90" fmla="*/ 303 w 729"/>
              <a:gd name="T91" fmla="*/ 152 h 912"/>
              <a:gd name="T92" fmla="*/ 173 w 729"/>
              <a:gd name="T93" fmla="*/ 61 h 912"/>
              <a:gd name="T94" fmla="*/ 426 w 729"/>
              <a:gd name="T95" fmla="*/ 172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9" h="912">
                <a:moveTo>
                  <a:pt x="456" y="443"/>
                </a:moveTo>
                <a:lnTo>
                  <a:pt x="456" y="395"/>
                </a:lnTo>
                <a:lnTo>
                  <a:pt x="273" y="395"/>
                </a:lnTo>
                <a:lnTo>
                  <a:pt x="273" y="443"/>
                </a:lnTo>
                <a:lnTo>
                  <a:pt x="273" y="443"/>
                </a:lnTo>
                <a:lnTo>
                  <a:pt x="259" y="450"/>
                </a:lnTo>
                <a:lnTo>
                  <a:pt x="246" y="457"/>
                </a:lnTo>
                <a:lnTo>
                  <a:pt x="232" y="465"/>
                </a:lnTo>
                <a:lnTo>
                  <a:pt x="220" y="474"/>
                </a:lnTo>
                <a:lnTo>
                  <a:pt x="207" y="484"/>
                </a:lnTo>
                <a:lnTo>
                  <a:pt x="196" y="494"/>
                </a:lnTo>
                <a:lnTo>
                  <a:pt x="185" y="505"/>
                </a:lnTo>
                <a:lnTo>
                  <a:pt x="175" y="517"/>
                </a:lnTo>
                <a:lnTo>
                  <a:pt x="91" y="517"/>
                </a:lnTo>
                <a:lnTo>
                  <a:pt x="91" y="821"/>
                </a:lnTo>
                <a:lnTo>
                  <a:pt x="175" y="821"/>
                </a:lnTo>
                <a:lnTo>
                  <a:pt x="175" y="821"/>
                </a:lnTo>
                <a:lnTo>
                  <a:pt x="183" y="832"/>
                </a:lnTo>
                <a:lnTo>
                  <a:pt x="193" y="841"/>
                </a:lnTo>
                <a:lnTo>
                  <a:pt x="203" y="850"/>
                </a:lnTo>
                <a:lnTo>
                  <a:pt x="212" y="858"/>
                </a:lnTo>
                <a:lnTo>
                  <a:pt x="223" y="867"/>
                </a:lnTo>
                <a:lnTo>
                  <a:pt x="235" y="874"/>
                </a:lnTo>
                <a:lnTo>
                  <a:pt x="246" y="881"/>
                </a:lnTo>
                <a:lnTo>
                  <a:pt x="257" y="887"/>
                </a:lnTo>
                <a:lnTo>
                  <a:pt x="270" y="893"/>
                </a:lnTo>
                <a:lnTo>
                  <a:pt x="283" y="898"/>
                </a:lnTo>
                <a:lnTo>
                  <a:pt x="296" y="902"/>
                </a:lnTo>
                <a:lnTo>
                  <a:pt x="309" y="906"/>
                </a:lnTo>
                <a:lnTo>
                  <a:pt x="323" y="909"/>
                </a:lnTo>
                <a:lnTo>
                  <a:pt x="337" y="911"/>
                </a:lnTo>
                <a:lnTo>
                  <a:pt x="351" y="912"/>
                </a:lnTo>
                <a:lnTo>
                  <a:pt x="365" y="912"/>
                </a:lnTo>
                <a:lnTo>
                  <a:pt x="365" y="912"/>
                </a:lnTo>
                <a:lnTo>
                  <a:pt x="378" y="912"/>
                </a:lnTo>
                <a:lnTo>
                  <a:pt x="393" y="911"/>
                </a:lnTo>
                <a:lnTo>
                  <a:pt x="406" y="909"/>
                </a:lnTo>
                <a:lnTo>
                  <a:pt x="420" y="906"/>
                </a:lnTo>
                <a:lnTo>
                  <a:pt x="434" y="902"/>
                </a:lnTo>
                <a:lnTo>
                  <a:pt x="447" y="898"/>
                </a:lnTo>
                <a:lnTo>
                  <a:pt x="459" y="893"/>
                </a:lnTo>
                <a:lnTo>
                  <a:pt x="472" y="887"/>
                </a:lnTo>
                <a:lnTo>
                  <a:pt x="483" y="881"/>
                </a:lnTo>
                <a:lnTo>
                  <a:pt x="495" y="874"/>
                </a:lnTo>
                <a:lnTo>
                  <a:pt x="506" y="867"/>
                </a:lnTo>
                <a:lnTo>
                  <a:pt x="517" y="858"/>
                </a:lnTo>
                <a:lnTo>
                  <a:pt x="526" y="850"/>
                </a:lnTo>
                <a:lnTo>
                  <a:pt x="536" y="841"/>
                </a:lnTo>
                <a:lnTo>
                  <a:pt x="546" y="832"/>
                </a:lnTo>
                <a:lnTo>
                  <a:pt x="554" y="821"/>
                </a:lnTo>
                <a:lnTo>
                  <a:pt x="638" y="821"/>
                </a:lnTo>
                <a:lnTo>
                  <a:pt x="638" y="517"/>
                </a:lnTo>
                <a:lnTo>
                  <a:pt x="554" y="517"/>
                </a:lnTo>
                <a:lnTo>
                  <a:pt x="554" y="517"/>
                </a:lnTo>
                <a:lnTo>
                  <a:pt x="545" y="505"/>
                </a:lnTo>
                <a:lnTo>
                  <a:pt x="534" y="494"/>
                </a:lnTo>
                <a:lnTo>
                  <a:pt x="522" y="484"/>
                </a:lnTo>
                <a:lnTo>
                  <a:pt x="510" y="474"/>
                </a:lnTo>
                <a:lnTo>
                  <a:pt x="497" y="465"/>
                </a:lnTo>
                <a:lnTo>
                  <a:pt x="483" y="457"/>
                </a:lnTo>
                <a:lnTo>
                  <a:pt x="471" y="450"/>
                </a:lnTo>
                <a:lnTo>
                  <a:pt x="456" y="443"/>
                </a:lnTo>
                <a:lnTo>
                  <a:pt x="456" y="443"/>
                </a:lnTo>
                <a:close/>
                <a:moveTo>
                  <a:pt x="0" y="852"/>
                </a:moveTo>
                <a:lnTo>
                  <a:pt x="61" y="852"/>
                </a:lnTo>
                <a:lnTo>
                  <a:pt x="61" y="486"/>
                </a:lnTo>
                <a:lnTo>
                  <a:pt x="0" y="486"/>
                </a:lnTo>
                <a:lnTo>
                  <a:pt x="0" y="852"/>
                </a:lnTo>
                <a:close/>
                <a:moveTo>
                  <a:pt x="669" y="486"/>
                </a:moveTo>
                <a:lnTo>
                  <a:pt x="669" y="852"/>
                </a:lnTo>
                <a:lnTo>
                  <a:pt x="729" y="852"/>
                </a:lnTo>
                <a:lnTo>
                  <a:pt x="729" y="486"/>
                </a:lnTo>
                <a:lnTo>
                  <a:pt x="669" y="486"/>
                </a:lnTo>
                <a:close/>
                <a:moveTo>
                  <a:pt x="487" y="304"/>
                </a:moveTo>
                <a:lnTo>
                  <a:pt x="243" y="304"/>
                </a:lnTo>
                <a:lnTo>
                  <a:pt x="243" y="365"/>
                </a:lnTo>
                <a:lnTo>
                  <a:pt x="487" y="365"/>
                </a:lnTo>
                <a:lnTo>
                  <a:pt x="487" y="304"/>
                </a:lnTo>
                <a:close/>
                <a:moveTo>
                  <a:pt x="699" y="0"/>
                </a:moveTo>
                <a:lnTo>
                  <a:pt x="30" y="0"/>
                </a:lnTo>
                <a:lnTo>
                  <a:pt x="30" y="61"/>
                </a:lnTo>
                <a:lnTo>
                  <a:pt x="77" y="61"/>
                </a:lnTo>
                <a:lnTo>
                  <a:pt x="303" y="251"/>
                </a:lnTo>
                <a:lnTo>
                  <a:pt x="303" y="274"/>
                </a:lnTo>
                <a:lnTo>
                  <a:pt x="426" y="274"/>
                </a:lnTo>
                <a:lnTo>
                  <a:pt x="426" y="251"/>
                </a:lnTo>
                <a:lnTo>
                  <a:pt x="652" y="61"/>
                </a:lnTo>
                <a:lnTo>
                  <a:pt x="699" y="61"/>
                </a:lnTo>
                <a:lnTo>
                  <a:pt x="699" y="0"/>
                </a:lnTo>
                <a:close/>
                <a:moveTo>
                  <a:pt x="426" y="172"/>
                </a:moveTo>
                <a:lnTo>
                  <a:pt x="426" y="152"/>
                </a:lnTo>
                <a:lnTo>
                  <a:pt x="303" y="152"/>
                </a:lnTo>
                <a:lnTo>
                  <a:pt x="303" y="172"/>
                </a:lnTo>
                <a:lnTo>
                  <a:pt x="173" y="61"/>
                </a:lnTo>
                <a:lnTo>
                  <a:pt x="557" y="61"/>
                </a:lnTo>
                <a:lnTo>
                  <a:pt x="426" y="1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87943" y="4222140"/>
            <a:ext cx="1098122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FFFFFF"/>
                </a:solidFill>
              </a:rPr>
              <a:t>Реализация</a:t>
            </a: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6815935" y="3707051"/>
            <a:ext cx="1944216" cy="94608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51" name="bitum_01"/>
          <p:cNvSpPr>
            <a:spLocks noEditPoints="1"/>
          </p:cNvSpPr>
          <p:nvPr/>
        </p:nvSpPr>
        <p:spPr bwMode="auto">
          <a:xfrm>
            <a:off x="8039823" y="3916106"/>
            <a:ext cx="684076" cy="540059"/>
          </a:xfrm>
          <a:custGeom>
            <a:avLst/>
            <a:gdLst>
              <a:gd name="T0" fmla="*/ 779 w 16128"/>
              <a:gd name="T1" fmla="*/ 3970 h 12384"/>
              <a:gd name="T2" fmla="*/ 515 w 16128"/>
              <a:gd name="T3" fmla="*/ 4505 h 12384"/>
              <a:gd name="T4" fmla="*/ 291 w 16128"/>
              <a:gd name="T5" fmla="*/ 5054 h 12384"/>
              <a:gd name="T6" fmla="*/ 125 w 16128"/>
              <a:gd name="T7" fmla="*/ 5603 h 12384"/>
              <a:gd name="T8" fmla="*/ 25 w 16128"/>
              <a:gd name="T9" fmla="*/ 6152 h 12384"/>
              <a:gd name="T10" fmla="*/ 2 w 16128"/>
              <a:gd name="T11" fmla="*/ 6703 h 12384"/>
              <a:gd name="T12" fmla="*/ 69 w 16128"/>
              <a:gd name="T13" fmla="*/ 7254 h 12384"/>
              <a:gd name="T14" fmla="*/ 218 w 16128"/>
              <a:gd name="T15" fmla="*/ 7749 h 12384"/>
              <a:gd name="T16" fmla="*/ 429 w 16128"/>
              <a:gd name="T17" fmla="*/ 8174 h 12384"/>
              <a:gd name="T18" fmla="*/ 703 w 16128"/>
              <a:gd name="T19" fmla="*/ 8548 h 12384"/>
              <a:gd name="T20" fmla="*/ 1029 w 16128"/>
              <a:gd name="T21" fmla="*/ 8869 h 12384"/>
              <a:gd name="T22" fmla="*/ 1320 w 16128"/>
              <a:gd name="T23" fmla="*/ 9082 h 12384"/>
              <a:gd name="T24" fmla="*/ 1743 w 16128"/>
              <a:gd name="T25" fmla="*/ 9304 h 12384"/>
              <a:gd name="T26" fmla="*/ 2308 w 16128"/>
              <a:gd name="T27" fmla="*/ 9483 h 12384"/>
              <a:gd name="T28" fmla="*/ 2811 w 16128"/>
              <a:gd name="T29" fmla="*/ 9550 h 12384"/>
              <a:gd name="T30" fmla="*/ 3219 w 16128"/>
              <a:gd name="T31" fmla="*/ 9546 h 12384"/>
              <a:gd name="T32" fmla="*/ 3586 w 16128"/>
              <a:gd name="T33" fmla="*/ 9503 h 12384"/>
              <a:gd name="T34" fmla="*/ 3980 w 16128"/>
              <a:gd name="T35" fmla="*/ 9406 h 12384"/>
              <a:gd name="T36" fmla="*/ 4374 w 16128"/>
              <a:gd name="T37" fmla="*/ 9251 h 12384"/>
              <a:gd name="T38" fmla="*/ 4736 w 16128"/>
              <a:gd name="T39" fmla="*/ 9042 h 12384"/>
              <a:gd name="T40" fmla="*/ 5059 w 16128"/>
              <a:gd name="T41" fmla="*/ 8782 h 12384"/>
              <a:gd name="T42" fmla="*/ 5395 w 16128"/>
              <a:gd name="T43" fmla="*/ 8400 h 12384"/>
              <a:gd name="T44" fmla="*/ 5687 w 16128"/>
              <a:gd name="T45" fmla="*/ 7894 h 12384"/>
              <a:gd name="T46" fmla="*/ 5888 w 16128"/>
              <a:gd name="T47" fmla="*/ 7301 h 12384"/>
              <a:gd name="T48" fmla="*/ 5987 w 16128"/>
              <a:gd name="T49" fmla="*/ 6624 h 12384"/>
              <a:gd name="T50" fmla="*/ 5969 w 16128"/>
              <a:gd name="T51" fmla="*/ 6011 h 12384"/>
              <a:gd name="T52" fmla="*/ 5837 w 16128"/>
              <a:gd name="T53" fmla="*/ 5427 h 12384"/>
              <a:gd name="T54" fmla="*/ 5608 w 16128"/>
              <a:gd name="T55" fmla="*/ 4807 h 12384"/>
              <a:gd name="T56" fmla="*/ 5304 w 16128"/>
              <a:gd name="T57" fmla="*/ 4169 h 12384"/>
              <a:gd name="T58" fmla="*/ 5024 w 16128"/>
              <a:gd name="T59" fmla="*/ 3661 h 12384"/>
              <a:gd name="T60" fmla="*/ 4770 w 16128"/>
              <a:gd name="T61" fmla="*/ 3239 h 12384"/>
              <a:gd name="T62" fmla="*/ 4520 w 16128"/>
              <a:gd name="T63" fmla="*/ 2850 h 12384"/>
              <a:gd name="T64" fmla="*/ 4276 w 16128"/>
              <a:gd name="T65" fmla="*/ 2488 h 12384"/>
              <a:gd name="T66" fmla="*/ 3756 w 16128"/>
              <a:gd name="T67" fmla="*/ 1764 h 12384"/>
              <a:gd name="T68" fmla="*/ 3160 w 16128"/>
              <a:gd name="T69" fmla="*/ 994 h 12384"/>
              <a:gd name="T70" fmla="*/ 2538 w 16128"/>
              <a:gd name="T71" fmla="*/ 1336 h 12384"/>
              <a:gd name="T72" fmla="*/ 1680 w 16128"/>
              <a:gd name="T73" fmla="*/ 2511 h 12384"/>
              <a:gd name="T74" fmla="*/ 10527 w 16128"/>
              <a:gd name="T75" fmla="*/ 0 h 12384"/>
              <a:gd name="T76" fmla="*/ 2045 w 16128"/>
              <a:gd name="T77" fmla="*/ 10246 h 12384"/>
              <a:gd name="T78" fmla="*/ 1458 w 16128"/>
              <a:gd name="T79" fmla="*/ 10053 h 12384"/>
              <a:gd name="T80" fmla="*/ 2275 w 16128"/>
              <a:gd name="T81" fmla="*/ 10295 h 12384"/>
              <a:gd name="T82" fmla="*/ 5847 w 16128"/>
              <a:gd name="T83" fmla="*/ 3517 h 12384"/>
              <a:gd name="T84" fmla="*/ 6299 w 16128"/>
              <a:gd name="T85" fmla="*/ 4425 h 12384"/>
              <a:gd name="T86" fmla="*/ 6629 w 16128"/>
              <a:gd name="T87" fmla="*/ 5316 h 12384"/>
              <a:gd name="T88" fmla="*/ 6787 w 16128"/>
              <a:gd name="T89" fmla="*/ 6153 h 12384"/>
              <a:gd name="T90" fmla="*/ 6754 w 16128"/>
              <a:gd name="T91" fmla="*/ 7008 h 12384"/>
              <a:gd name="T92" fmla="*/ 6578 w 16128"/>
              <a:gd name="T93" fmla="*/ 7802 h 12384"/>
              <a:gd name="T94" fmla="*/ 6279 w 16128"/>
              <a:gd name="T95" fmla="*/ 8499 h 12384"/>
              <a:gd name="T96" fmla="*/ 5868 w 16128"/>
              <a:gd name="T97" fmla="*/ 9092 h 12384"/>
              <a:gd name="T98" fmla="*/ 5398 w 16128"/>
              <a:gd name="T99" fmla="*/ 9546 h 12384"/>
              <a:gd name="T100" fmla="*/ 4873 w 16128"/>
              <a:gd name="T101" fmla="*/ 9895 h 12384"/>
              <a:gd name="T102" fmla="*/ 4290 w 16128"/>
              <a:gd name="T103" fmla="*/ 10149 h 12384"/>
              <a:gd name="T104" fmla="*/ 3660 w 16128"/>
              <a:gd name="T105" fmla="*/ 10304 h 12384"/>
              <a:gd name="T106" fmla="*/ 13265 w 16128"/>
              <a:gd name="T107" fmla="*/ 12384 h 12384"/>
              <a:gd name="T108" fmla="*/ 8504 w 16128"/>
              <a:gd name="T109" fmla="*/ 2566 h 12384"/>
              <a:gd name="T110" fmla="*/ 7427 w 16128"/>
              <a:gd name="T111" fmla="*/ 9818 h 12384"/>
              <a:gd name="T112" fmla="*/ 4876 w 16128"/>
              <a:gd name="T113" fmla="*/ 1959 h 12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128" h="12384">
                <a:moveTo>
                  <a:pt x="1259" y="3152"/>
                </a:moveTo>
                <a:lnTo>
                  <a:pt x="1183" y="3273"/>
                </a:lnTo>
                <a:lnTo>
                  <a:pt x="1108" y="3397"/>
                </a:lnTo>
                <a:lnTo>
                  <a:pt x="1033" y="3521"/>
                </a:lnTo>
                <a:lnTo>
                  <a:pt x="959" y="3648"/>
                </a:lnTo>
                <a:lnTo>
                  <a:pt x="886" y="3776"/>
                </a:lnTo>
                <a:lnTo>
                  <a:pt x="814" y="3906"/>
                </a:lnTo>
                <a:lnTo>
                  <a:pt x="779" y="3970"/>
                </a:lnTo>
                <a:lnTo>
                  <a:pt x="745" y="4036"/>
                </a:lnTo>
                <a:lnTo>
                  <a:pt x="711" y="4103"/>
                </a:lnTo>
                <a:lnTo>
                  <a:pt x="676" y="4169"/>
                </a:lnTo>
                <a:lnTo>
                  <a:pt x="643" y="4236"/>
                </a:lnTo>
                <a:lnTo>
                  <a:pt x="611" y="4302"/>
                </a:lnTo>
                <a:lnTo>
                  <a:pt x="578" y="4369"/>
                </a:lnTo>
                <a:lnTo>
                  <a:pt x="546" y="4437"/>
                </a:lnTo>
                <a:lnTo>
                  <a:pt x="515" y="4505"/>
                </a:lnTo>
                <a:lnTo>
                  <a:pt x="485" y="4573"/>
                </a:lnTo>
                <a:lnTo>
                  <a:pt x="455" y="4640"/>
                </a:lnTo>
                <a:lnTo>
                  <a:pt x="425" y="4709"/>
                </a:lnTo>
                <a:lnTo>
                  <a:pt x="397" y="4778"/>
                </a:lnTo>
                <a:lnTo>
                  <a:pt x="370" y="4847"/>
                </a:lnTo>
                <a:lnTo>
                  <a:pt x="343" y="4916"/>
                </a:lnTo>
                <a:lnTo>
                  <a:pt x="317" y="4986"/>
                </a:lnTo>
                <a:lnTo>
                  <a:pt x="291" y="5054"/>
                </a:lnTo>
                <a:lnTo>
                  <a:pt x="267" y="5124"/>
                </a:lnTo>
                <a:lnTo>
                  <a:pt x="243" y="5194"/>
                </a:lnTo>
                <a:lnTo>
                  <a:pt x="221" y="5264"/>
                </a:lnTo>
                <a:lnTo>
                  <a:pt x="200" y="5332"/>
                </a:lnTo>
                <a:lnTo>
                  <a:pt x="179" y="5399"/>
                </a:lnTo>
                <a:lnTo>
                  <a:pt x="160" y="5466"/>
                </a:lnTo>
                <a:lnTo>
                  <a:pt x="142" y="5535"/>
                </a:lnTo>
                <a:lnTo>
                  <a:pt x="125" y="5603"/>
                </a:lnTo>
                <a:lnTo>
                  <a:pt x="109" y="5671"/>
                </a:lnTo>
                <a:lnTo>
                  <a:pt x="94" y="5740"/>
                </a:lnTo>
                <a:lnTo>
                  <a:pt x="80" y="5807"/>
                </a:lnTo>
                <a:lnTo>
                  <a:pt x="67" y="5876"/>
                </a:lnTo>
                <a:lnTo>
                  <a:pt x="54" y="5945"/>
                </a:lnTo>
                <a:lnTo>
                  <a:pt x="43" y="6014"/>
                </a:lnTo>
                <a:lnTo>
                  <a:pt x="34" y="6083"/>
                </a:lnTo>
                <a:lnTo>
                  <a:pt x="25" y="6152"/>
                </a:lnTo>
                <a:lnTo>
                  <a:pt x="18" y="6220"/>
                </a:lnTo>
                <a:lnTo>
                  <a:pt x="12" y="6289"/>
                </a:lnTo>
                <a:lnTo>
                  <a:pt x="7" y="6358"/>
                </a:lnTo>
                <a:lnTo>
                  <a:pt x="3" y="6427"/>
                </a:lnTo>
                <a:lnTo>
                  <a:pt x="1" y="6496"/>
                </a:lnTo>
                <a:lnTo>
                  <a:pt x="0" y="6564"/>
                </a:lnTo>
                <a:lnTo>
                  <a:pt x="0" y="6634"/>
                </a:lnTo>
                <a:lnTo>
                  <a:pt x="2" y="6703"/>
                </a:lnTo>
                <a:lnTo>
                  <a:pt x="5" y="6772"/>
                </a:lnTo>
                <a:lnTo>
                  <a:pt x="10" y="6841"/>
                </a:lnTo>
                <a:lnTo>
                  <a:pt x="16" y="6910"/>
                </a:lnTo>
                <a:lnTo>
                  <a:pt x="23" y="6978"/>
                </a:lnTo>
                <a:lnTo>
                  <a:pt x="32" y="7047"/>
                </a:lnTo>
                <a:lnTo>
                  <a:pt x="42" y="7116"/>
                </a:lnTo>
                <a:lnTo>
                  <a:pt x="54" y="7185"/>
                </a:lnTo>
                <a:lnTo>
                  <a:pt x="69" y="7254"/>
                </a:lnTo>
                <a:lnTo>
                  <a:pt x="84" y="7323"/>
                </a:lnTo>
                <a:lnTo>
                  <a:pt x="101" y="7391"/>
                </a:lnTo>
                <a:lnTo>
                  <a:pt x="119" y="7459"/>
                </a:lnTo>
                <a:lnTo>
                  <a:pt x="136" y="7519"/>
                </a:lnTo>
                <a:lnTo>
                  <a:pt x="155" y="7578"/>
                </a:lnTo>
                <a:lnTo>
                  <a:pt x="174" y="7635"/>
                </a:lnTo>
                <a:lnTo>
                  <a:pt x="196" y="7693"/>
                </a:lnTo>
                <a:lnTo>
                  <a:pt x="218" y="7749"/>
                </a:lnTo>
                <a:lnTo>
                  <a:pt x="240" y="7804"/>
                </a:lnTo>
                <a:lnTo>
                  <a:pt x="264" y="7860"/>
                </a:lnTo>
                <a:lnTo>
                  <a:pt x="289" y="7914"/>
                </a:lnTo>
                <a:lnTo>
                  <a:pt x="316" y="7967"/>
                </a:lnTo>
                <a:lnTo>
                  <a:pt x="343" y="8020"/>
                </a:lnTo>
                <a:lnTo>
                  <a:pt x="371" y="8072"/>
                </a:lnTo>
                <a:lnTo>
                  <a:pt x="399" y="8123"/>
                </a:lnTo>
                <a:lnTo>
                  <a:pt x="429" y="8174"/>
                </a:lnTo>
                <a:lnTo>
                  <a:pt x="461" y="8223"/>
                </a:lnTo>
                <a:lnTo>
                  <a:pt x="493" y="8273"/>
                </a:lnTo>
                <a:lnTo>
                  <a:pt x="525" y="8320"/>
                </a:lnTo>
                <a:lnTo>
                  <a:pt x="559" y="8368"/>
                </a:lnTo>
                <a:lnTo>
                  <a:pt x="594" y="8415"/>
                </a:lnTo>
                <a:lnTo>
                  <a:pt x="629" y="8460"/>
                </a:lnTo>
                <a:lnTo>
                  <a:pt x="665" y="8505"/>
                </a:lnTo>
                <a:lnTo>
                  <a:pt x="703" y="8548"/>
                </a:lnTo>
                <a:lnTo>
                  <a:pt x="741" y="8592"/>
                </a:lnTo>
                <a:lnTo>
                  <a:pt x="780" y="8634"/>
                </a:lnTo>
                <a:lnTo>
                  <a:pt x="820" y="8676"/>
                </a:lnTo>
                <a:lnTo>
                  <a:pt x="860" y="8716"/>
                </a:lnTo>
                <a:lnTo>
                  <a:pt x="901" y="8756"/>
                </a:lnTo>
                <a:lnTo>
                  <a:pt x="943" y="8794"/>
                </a:lnTo>
                <a:lnTo>
                  <a:pt x="986" y="8832"/>
                </a:lnTo>
                <a:lnTo>
                  <a:pt x="1029" y="8869"/>
                </a:lnTo>
                <a:lnTo>
                  <a:pt x="1074" y="8905"/>
                </a:lnTo>
                <a:lnTo>
                  <a:pt x="1119" y="8940"/>
                </a:lnTo>
                <a:lnTo>
                  <a:pt x="1164" y="8974"/>
                </a:lnTo>
                <a:lnTo>
                  <a:pt x="1195" y="8997"/>
                </a:lnTo>
                <a:lnTo>
                  <a:pt x="1226" y="9019"/>
                </a:lnTo>
                <a:lnTo>
                  <a:pt x="1257" y="9040"/>
                </a:lnTo>
                <a:lnTo>
                  <a:pt x="1288" y="9060"/>
                </a:lnTo>
                <a:lnTo>
                  <a:pt x="1320" y="9082"/>
                </a:lnTo>
                <a:lnTo>
                  <a:pt x="1352" y="9102"/>
                </a:lnTo>
                <a:lnTo>
                  <a:pt x="1384" y="9121"/>
                </a:lnTo>
                <a:lnTo>
                  <a:pt x="1417" y="9140"/>
                </a:lnTo>
                <a:lnTo>
                  <a:pt x="1481" y="9177"/>
                </a:lnTo>
                <a:lnTo>
                  <a:pt x="1544" y="9211"/>
                </a:lnTo>
                <a:lnTo>
                  <a:pt x="1610" y="9243"/>
                </a:lnTo>
                <a:lnTo>
                  <a:pt x="1676" y="9275"/>
                </a:lnTo>
                <a:lnTo>
                  <a:pt x="1743" y="9304"/>
                </a:lnTo>
                <a:lnTo>
                  <a:pt x="1811" y="9333"/>
                </a:lnTo>
                <a:lnTo>
                  <a:pt x="1880" y="9359"/>
                </a:lnTo>
                <a:lnTo>
                  <a:pt x="1949" y="9384"/>
                </a:lnTo>
                <a:lnTo>
                  <a:pt x="2020" y="9407"/>
                </a:lnTo>
                <a:lnTo>
                  <a:pt x="2091" y="9429"/>
                </a:lnTo>
                <a:lnTo>
                  <a:pt x="2162" y="9449"/>
                </a:lnTo>
                <a:lnTo>
                  <a:pt x="2235" y="9467"/>
                </a:lnTo>
                <a:lnTo>
                  <a:pt x="2308" y="9483"/>
                </a:lnTo>
                <a:lnTo>
                  <a:pt x="2382" y="9499"/>
                </a:lnTo>
                <a:lnTo>
                  <a:pt x="2456" y="9512"/>
                </a:lnTo>
                <a:lnTo>
                  <a:pt x="2531" y="9523"/>
                </a:lnTo>
                <a:lnTo>
                  <a:pt x="2587" y="9530"/>
                </a:lnTo>
                <a:lnTo>
                  <a:pt x="2643" y="9536"/>
                </a:lnTo>
                <a:lnTo>
                  <a:pt x="2698" y="9542"/>
                </a:lnTo>
                <a:lnTo>
                  <a:pt x="2755" y="9546"/>
                </a:lnTo>
                <a:lnTo>
                  <a:pt x="2811" y="9550"/>
                </a:lnTo>
                <a:lnTo>
                  <a:pt x="2869" y="9552"/>
                </a:lnTo>
                <a:lnTo>
                  <a:pt x="2925" y="9553"/>
                </a:lnTo>
                <a:lnTo>
                  <a:pt x="2983" y="9554"/>
                </a:lnTo>
                <a:lnTo>
                  <a:pt x="3030" y="9554"/>
                </a:lnTo>
                <a:lnTo>
                  <a:pt x="3077" y="9553"/>
                </a:lnTo>
                <a:lnTo>
                  <a:pt x="3125" y="9551"/>
                </a:lnTo>
                <a:lnTo>
                  <a:pt x="3172" y="9549"/>
                </a:lnTo>
                <a:lnTo>
                  <a:pt x="3219" y="9546"/>
                </a:lnTo>
                <a:lnTo>
                  <a:pt x="3266" y="9543"/>
                </a:lnTo>
                <a:lnTo>
                  <a:pt x="3312" y="9539"/>
                </a:lnTo>
                <a:lnTo>
                  <a:pt x="3359" y="9534"/>
                </a:lnTo>
                <a:lnTo>
                  <a:pt x="3404" y="9529"/>
                </a:lnTo>
                <a:lnTo>
                  <a:pt x="3450" y="9523"/>
                </a:lnTo>
                <a:lnTo>
                  <a:pt x="3496" y="9517"/>
                </a:lnTo>
                <a:lnTo>
                  <a:pt x="3541" y="9510"/>
                </a:lnTo>
                <a:lnTo>
                  <a:pt x="3586" y="9503"/>
                </a:lnTo>
                <a:lnTo>
                  <a:pt x="3631" y="9493"/>
                </a:lnTo>
                <a:lnTo>
                  <a:pt x="3675" y="9485"/>
                </a:lnTo>
                <a:lnTo>
                  <a:pt x="3720" y="9475"/>
                </a:lnTo>
                <a:lnTo>
                  <a:pt x="3773" y="9463"/>
                </a:lnTo>
                <a:lnTo>
                  <a:pt x="3825" y="9450"/>
                </a:lnTo>
                <a:lnTo>
                  <a:pt x="3877" y="9437"/>
                </a:lnTo>
                <a:lnTo>
                  <a:pt x="3929" y="9422"/>
                </a:lnTo>
                <a:lnTo>
                  <a:pt x="3980" y="9406"/>
                </a:lnTo>
                <a:lnTo>
                  <a:pt x="4031" y="9389"/>
                </a:lnTo>
                <a:lnTo>
                  <a:pt x="4081" y="9372"/>
                </a:lnTo>
                <a:lnTo>
                  <a:pt x="4131" y="9354"/>
                </a:lnTo>
                <a:lnTo>
                  <a:pt x="4180" y="9335"/>
                </a:lnTo>
                <a:lnTo>
                  <a:pt x="4230" y="9315"/>
                </a:lnTo>
                <a:lnTo>
                  <a:pt x="4278" y="9294"/>
                </a:lnTo>
                <a:lnTo>
                  <a:pt x="4326" y="9273"/>
                </a:lnTo>
                <a:lnTo>
                  <a:pt x="4374" y="9251"/>
                </a:lnTo>
                <a:lnTo>
                  <a:pt x="4421" y="9227"/>
                </a:lnTo>
                <a:lnTo>
                  <a:pt x="4467" y="9203"/>
                </a:lnTo>
                <a:lnTo>
                  <a:pt x="4514" y="9179"/>
                </a:lnTo>
                <a:lnTo>
                  <a:pt x="4559" y="9153"/>
                </a:lnTo>
                <a:lnTo>
                  <a:pt x="4604" y="9126"/>
                </a:lnTo>
                <a:lnTo>
                  <a:pt x="4648" y="9099"/>
                </a:lnTo>
                <a:lnTo>
                  <a:pt x="4692" y="9071"/>
                </a:lnTo>
                <a:lnTo>
                  <a:pt x="4736" y="9042"/>
                </a:lnTo>
                <a:lnTo>
                  <a:pt x="4778" y="9013"/>
                </a:lnTo>
                <a:lnTo>
                  <a:pt x="4820" y="8982"/>
                </a:lnTo>
                <a:lnTo>
                  <a:pt x="4862" y="8951"/>
                </a:lnTo>
                <a:lnTo>
                  <a:pt x="4902" y="8919"/>
                </a:lnTo>
                <a:lnTo>
                  <a:pt x="4942" y="8885"/>
                </a:lnTo>
                <a:lnTo>
                  <a:pt x="4983" y="8852"/>
                </a:lnTo>
                <a:lnTo>
                  <a:pt x="5021" y="8817"/>
                </a:lnTo>
                <a:lnTo>
                  <a:pt x="5059" y="8782"/>
                </a:lnTo>
                <a:lnTo>
                  <a:pt x="5097" y="8746"/>
                </a:lnTo>
                <a:lnTo>
                  <a:pt x="5135" y="8709"/>
                </a:lnTo>
                <a:lnTo>
                  <a:pt x="5171" y="8671"/>
                </a:lnTo>
                <a:lnTo>
                  <a:pt x="5218" y="8620"/>
                </a:lnTo>
                <a:lnTo>
                  <a:pt x="5264" y="8567"/>
                </a:lnTo>
                <a:lnTo>
                  <a:pt x="5309" y="8513"/>
                </a:lnTo>
                <a:lnTo>
                  <a:pt x="5352" y="8457"/>
                </a:lnTo>
                <a:lnTo>
                  <a:pt x="5395" y="8400"/>
                </a:lnTo>
                <a:lnTo>
                  <a:pt x="5436" y="8342"/>
                </a:lnTo>
                <a:lnTo>
                  <a:pt x="5476" y="8282"/>
                </a:lnTo>
                <a:lnTo>
                  <a:pt x="5515" y="8221"/>
                </a:lnTo>
                <a:lnTo>
                  <a:pt x="5552" y="8159"/>
                </a:lnTo>
                <a:lnTo>
                  <a:pt x="5588" y="8095"/>
                </a:lnTo>
                <a:lnTo>
                  <a:pt x="5623" y="8029"/>
                </a:lnTo>
                <a:lnTo>
                  <a:pt x="5656" y="7962"/>
                </a:lnTo>
                <a:lnTo>
                  <a:pt x="5687" y="7894"/>
                </a:lnTo>
                <a:lnTo>
                  <a:pt x="5717" y="7825"/>
                </a:lnTo>
                <a:lnTo>
                  <a:pt x="5747" y="7754"/>
                </a:lnTo>
                <a:lnTo>
                  <a:pt x="5774" y="7682"/>
                </a:lnTo>
                <a:lnTo>
                  <a:pt x="5800" y="7609"/>
                </a:lnTo>
                <a:lnTo>
                  <a:pt x="5824" y="7534"/>
                </a:lnTo>
                <a:lnTo>
                  <a:pt x="5847" y="7457"/>
                </a:lnTo>
                <a:lnTo>
                  <a:pt x="5869" y="7380"/>
                </a:lnTo>
                <a:lnTo>
                  <a:pt x="5888" y="7301"/>
                </a:lnTo>
                <a:lnTo>
                  <a:pt x="5906" y="7221"/>
                </a:lnTo>
                <a:lnTo>
                  <a:pt x="5923" y="7139"/>
                </a:lnTo>
                <a:lnTo>
                  <a:pt x="5937" y="7057"/>
                </a:lnTo>
                <a:lnTo>
                  <a:pt x="5950" y="6973"/>
                </a:lnTo>
                <a:lnTo>
                  <a:pt x="5962" y="6887"/>
                </a:lnTo>
                <a:lnTo>
                  <a:pt x="5972" y="6801"/>
                </a:lnTo>
                <a:lnTo>
                  <a:pt x="5980" y="6713"/>
                </a:lnTo>
                <a:lnTo>
                  <a:pt x="5987" y="6624"/>
                </a:lnTo>
                <a:lnTo>
                  <a:pt x="5991" y="6534"/>
                </a:lnTo>
                <a:lnTo>
                  <a:pt x="5994" y="6442"/>
                </a:lnTo>
                <a:lnTo>
                  <a:pt x="5995" y="6349"/>
                </a:lnTo>
                <a:lnTo>
                  <a:pt x="5994" y="6283"/>
                </a:lnTo>
                <a:lnTo>
                  <a:pt x="5991" y="6216"/>
                </a:lnTo>
                <a:lnTo>
                  <a:pt x="5986" y="6148"/>
                </a:lnTo>
                <a:lnTo>
                  <a:pt x="5978" y="6080"/>
                </a:lnTo>
                <a:lnTo>
                  <a:pt x="5969" y="6011"/>
                </a:lnTo>
                <a:lnTo>
                  <a:pt x="5959" y="5940"/>
                </a:lnTo>
                <a:lnTo>
                  <a:pt x="5947" y="5869"/>
                </a:lnTo>
                <a:lnTo>
                  <a:pt x="5933" y="5797"/>
                </a:lnTo>
                <a:lnTo>
                  <a:pt x="5917" y="5724"/>
                </a:lnTo>
                <a:lnTo>
                  <a:pt x="5899" y="5652"/>
                </a:lnTo>
                <a:lnTo>
                  <a:pt x="5880" y="5577"/>
                </a:lnTo>
                <a:lnTo>
                  <a:pt x="5860" y="5503"/>
                </a:lnTo>
                <a:lnTo>
                  <a:pt x="5837" y="5427"/>
                </a:lnTo>
                <a:lnTo>
                  <a:pt x="5813" y="5351"/>
                </a:lnTo>
                <a:lnTo>
                  <a:pt x="5788" y="5275"/>
                </a:lnTo>
                <a:lnTo>
                  <a:pt x="5761" y="5198"/>
                </a:lnTo>
                <a:lnTo>
                  <a:pt x="5734" y="5121"/>
                </a:lnTo>
                <a:lnTo>
                  <a:pt x="5703" y="5043"/>
                </a:lnTo>
                <a:lnTo>
                  <a:pt x="5673" y="4964"/>
                </a:lnTo>
                <a:lnTo>
                  <a:pt x="5641" y="4886"/>
                </a:lnTo>
                <a:lnTo>
                  <a:pt x="5608" y="4807"/>
                </a:lnTo>
                <a:lnTo>
                  <a:pt x="5573" y="4729"/>
                </a:lnTo>
                <a:lnTo>
                  <a:pt x="5538" y="4649"/>
                </a:lnTo>
                <a:lnTo>
                  <a:pt x="5502" y="4570"/>
                </a:lnTo>
                <a:lnTo>
                  <a:pt x="5463" y="4490"/>
                </a:lnTo>
                <a:lnTo>
                  <a:pt x="5425" y="4410"/>
                </a:lnTo>
                <a:lnTo>
                  <a:pt x="5386" y="4329"/>
                </a:lnTo>
                <a:lnTo>
                  <a:pt x="5345" y="4249"/>
                </a:lnTo>
                <a:lnTo>
                  <a:pt x="5304" y="4169"/>
                </a:lnTo>
                <a:lnTo>
                  <a:pt x="5262" y="4088"/>
                </a:lnTo>
                <a:lnTo>
                  <a:pt x="5218" y="4008"/>
                </a:lnTo>
                <a:lnTo>
                  <a:pt x="5174" y="3928"/>
                </a:lnTo>
                <a:lnTo>
                  <a:pt x="5145" y="3874"/>
                </a:lnTo>
                <a:lnTo>
                  <a:pt x="5115" y="3821"/>
                </a:lnTo>
                <a:lnTo>
                  <a:pt x="5085" y="3767"/>
                </a:lnTo>
                <a:lnTo>
                  <a:pt x="5054" y="3714"/>
                </a:lnTo>
                <a:lnTo>
                  <a:pt x="5024" y="3661"/>
                </a:lnTo>
                <a:lnTo>
                  <a:pt x="4993" y="3608"/>
                </a:lnTo>
                <a:lnTo>
                  <a:pt x="4961" y="3554"/>
                </a:lnTo>
                <a:lnTo>
                  <a:pt x="4930" y="3502"/>
                </a:lnTo>
                <a:lnTo>
                  <a:pt x="4898" y="3449"/>
                </a:lnTo>
                <a:lnTo>
                  <a:pt x="4867" y="3397"/>
                </a:lnTo>
                <a:lnTo>
                  <a:pt x="4834" y="3344"/>
                </a:lnTo>
                <a:lnTo>
                  <a:pt x="4802" y="3291"/>
                </a:lnTo>
                <a:lnTo>
                  <a:pt x="4770" y="3239"/>
                </a:lnTo>
                <a:lnTo>
                  <a:pt x="4737" y="3187"/>
                </a:lnTo>
                <a:lnTo>
                  <a:pt x="4704" y="3134"/>
                </a:lnTo>
                <a:lnTo>
                  <a:pt x="4671" y="3083"/>
                </a:lnTo>
                <a:lnTo>
                  <a:pt x="4641" y="3036"/>
                </a:lnTo>
                <a:lnTo>
                  <a:pt x="4611" y="2990"/>
                </a:lnTo>
                <a:lnTo>
                  <a:pt x="4580" y="2943"/>
                </a:lnTo>
                <a:lnTo>
                  <a:pt x="4550" y="2897"/>
                </a:lnTo>
                <a:lnTo>
                  <a:pt x="4520" y="2850"/>
                </a:lnTo>
                <a:lnTo>
                  <a:pt x="4490" y="2805"/>
                </a:lnTo>
                <a:lnTo>
                  <a:pt x="4459" y="2758"/>
                </a:lnTo>
                <a:lnTo>
                  <a:pt x="4429" y="2712"/>
                </a:lnTo>
                <a:lnTo>
                  <a:pt x="4398" y="2667"/>
                </a:lnTo>
                <a:lnTo>
                  <a:pt x="4368" y="2622"/>
                </a:lnTo>
                <a:lnTo>
                  <a:pt x="4337" y="2577"/>
                </a:lnTo>
                <a:lnTo>
                  <a:pt x="4306" y="2532"/>
                </a:lnTo>
                <a:lnTo>
                  <a:pt x="4276" y="2488"/>
                </a:lnTo>
                <a:lnTo>
                  <a:pt x="4246" y="2444"/>
                </a:lnTo>
                <a:lnTo>
                  <a:pt x="4214" y="2400"/>
                </a:lnTo>
                <a:lnTo>
                  <a:pt x="4184" y="2356"/>
                </a:lnTo>
                <a:lnTo>
                  <a:pt x="4098" y="2233"/>
                </a:lnTo>
                <a:lnTo>
                  <a:pt x="4011" y="2111"/>
                </a:lnTo>
                <a:lnTo>
                  <a:pt x="3924" y="1993"/>
                </a:lnTo>
                <a:lnTo>
                  <a:pt x="3839" y="1877"/>
                </a:lnTo>
                <a:lnTo>
                  <a:pt x="3756" y="1764"/>
                </a:lnTo>
                <a:lnTo>
                  <a:pt x="3674" y="1655"/>
                </a:lnTo>
                <a:lnTo>
                  <a:pt x="3594" y="1549"/>
                </a:lnTo>
                <a:lnTo>
                  <a:pt x="3515" y="1446"/>
                </a:lnTo>
                <a:lnTo>
                  <a:pt x="3439" y="1348"/>
                </a:lnTo>
                <a:lnTo>
                  <a:pt x="3365" y="1253"/>
                </a:lnTo>
                <a:lnTo>
                  <a:pt x="3294" y="1163"/>
                </a:lnTo>
                <a:lnTo>
                  <a:pt x="3226" y="1076"/>
                </a:lnTo>
                <a:lnTo>
                  <a:pt x="3160" y="994"/>
                </a:lnTo>
                <a:lnTo>
                  <a:pt x="3098" y="917"/>
                </a:lnTo>
                <a:lnTo>
                  <a:pt x="3039" y="845"/>
                </a:lnTo>
                <a:lnTo>
                  <a:pt x="2984" y="777"/>
                </a:lnTo>
                <a:lnTo>
                  <a:pt x="2907" y="871"/>
                </a:lnTo>
                <a:lnTo>
                  <a:pt x="2823" y="975"/>
                </a:lnTo>
                <a:lnTo>
                  <a:pt x="2734" y="1087"/>
                </a:lnTo>
                <a:lnTo>
                  <a:pt x="2639" y="1207"/>
                </a:lnTo>
                <a:lnTo>
                  <a:pt x="2538" y="1336"/>
                </a:lnTo>
                <a:lnTo>
                  <a:pt x="2433" y="1473"/>
                </a:lnTo>
                <a:lnTo>
                  <a:pt x="2324" y="1615"/>
                </a:lnTo>
                <a:lnTo>
                  <a:pt x="2213" y="1765"/>
                </a:lnTo>
                <a:lnTo>
                  <a:pt x="2098" y="1922"/>
                </a:lnTo>
                <a:lnTo>
                  <a:pt x="1980" y="2084"/>
                </a:lnTo>
                <a:lnTo>
                  <a:pt x="1861" y="2251"/>
                </a:lnTo>
                <a:lnTo>
                  <a:pt x="1741" y="2423"/>
                </a:lnTo>
                <a:lnTo>
                  <a:pt x="1680" y="2511"/>
                </a:lnTo>
                <a:lnTo>
                  <a:pt x="1620" y="2600"/>
                </a:lnTo>
                <a:lnTo>
                  <a:pt x="1559" y="2689"/>
                </a:lnTo>
                <a:lnTo>
                  <a:pt x="1499" y="2780"/>
                </a:lnTo>
                <a:lnTo>
                  <a:pt x="1438" y="2872"/>
                </a:lnTo>
                <a:lnTo>
                  <a:pt x="1378" y="2964"/>
                </a:lnTo>
                <a:lnTo>
                  <a:pt x="1318" y="3058"/>
                </a:lnTo>
                <a:lnTo>
                  <a:pt x="1259" y="3152"/>
                </a:lnTo>
                <a:close/>
                <a:moveTo>
                  <a:pt x="10527" y="0"/>
                </a:moveTo>
                <a:lnTo>
                  <a:pt x="14641" y="12384"/>
                </a:lnTo>
                <a:lnTo>
                  <a:pt x="16128" y="12384"/>
                </a:lnTo>
                <a:lnTo>
                  <a:pt x="11076" y="0"/>
                </a:lnTo>
                <a:lnTo>
                  <a:pt x="10527" y="0"/>
                </a:lnTo>
                <a:close/>
                <a:moveTo>
                  <a:pt x="2275" y="10295"/>
                </a:moveTo>
                <a:lnTo>
                  <a:pt x="2197" y="10280"/>
                </a:lnTo>
                <a:lnTo>
                  <a:pt x="2121" y="10264"/>
                </a:lnTo>
                <a:lnTo>
                  <a:pt x="2045" y="10246"/>
                </a:lnTo>
                <a:lnTo>
                  <a:pt x="1970" y="10227"/>
                </a:lnTo>
                <a:lnTo>
                  <a:pt x="1895" y="10207"/>
                </a:lnTo>
                <a:lnTo>
                  <a:pt x="1820" y="10185"/>
                </a:lnTo>
                <a:lnTo>
                  <a:pt x="1746" y="10161"/>
                </a:lnTo>
                <a:lnTo>
                  <a:pt x="1673" y="10136"/>
                </a:lnTo>
                <a:lnTo>
                  <a:pt x="1601" y="10111"/>
                </a:lnTo>
                <a:lnTo>
                  <a:pt x="1529" y="10082"/>
                </a:lnTo>
                <a:lnTo>
                  <a:pt x="1458" y="10053"/>
                </a:lnTo>
                <a:lnTo>
                  <a:pt x="1387" y="10023"/>
                </a:lnTo>
                <a:lnTo>
                  <a:pt x="1317" y="9991"/>
                </a:lnTo>
                <a:lnTo>
                  <a:pt x="1248" y="9958"/>
                </a:lnTo>
                <a:lnTo>
                  <a:pt x="1179" y="9924"/>
                </a:lnTo>
                <a:lnTo>
                  <a:pt x="1112" y="9887"/>
                </a:lnTo>
                <a:lnTo>
                  <a:pt x="94" y="12384"/>
                </a:lnTo>
                <a:lnTo>
                  <a:pt x="1581" y="12384"/>
                </a:lnTo>
                <a:lnTo>
                  <a:pt x="2275" y="10295"/>
                </a:lnTo>
                <a:close/>
                <a:moveTo>
                  <a:pt x="6204" y="0"/>
                </a:moveTo>
                <a:lnTo>
                  <a:pt x="5457" y="2850"/>
                </a:lnTo>
                <a:lnTo>
                  <a:pt x="5524" y="2959"/>
                </a:lnTo>
                <a:lnTo>
                  <a:pt x="5590" y="3070"/>
                </a:lnTo>
                <a:lnTo>
                  <a:pt x="5656" y="3181"/>
                </a:lnTo>
                <a:lnTo>
                  <a:pt x="5720" y="3292"/>
                </a:lnTo>
                <a:lnTo>
                  <a:pt x="5785" y="3405"/>
                </a:lnTo>
                <a:lnTo>
                  <a:pt x="5847" y="3517"/>
                </a:lnTo>
                <a:lnTo>
                  <a:pt x="5909" y="3630"/>
                </a:lnTo>
                <a:lnTo>
                  <a:pt x="5969" y="3744"/>
                </a:lnTo>
                <a:lnTo>
                  <a:pt x="6028" y="3857"/>
                </a:lnTo>
                <a:lnTo>
                  <a:pt x="6085" y="3970"/>
                </a:lnTo>
                <a:lnTo>
                  <a:pt x="6142" y="4084"/>
                </a:lnTo>
                <a:lnTo>
                  <a:pt x="6196" y="4198"/>
                </a:lnTo>
                <a:lnTo>
                  <a:pt x="6249" y="4312"/>
                </a:lnTo>
                <a:lnTo>
                  <a:pt x="6299" y="4425"/>
                </a:lnTo>
                <a:lnTo>
                  <a:pt x="6348" y="4537"/>
                </a:lnTo>
                <a:lnTo>
                  <a:pt x="6395" y="4651"/>
                </a:lnTo>
                <a:lnTo>
                  <a:pt x="6440" y="4763"/>
                </a:lnTo>
                <a:lnTo>
                  <a:pt x="6482" y="4874"/>
                </a:lnTo>
                <a:lnTo>
                  <a:pt x="6523" y="4986"/>
                </a:lnTo>
                <a:lnTo>
                  <a:pt x="6560" y="5097"/>
                </a:lnTo>
                <a:lnTo>
                  <a:pt x="6596" y="5206"/>
                </a:lnTo>
                <a:lnTo>
                  <a:pt x="6629" y="5316"/>
                </a:lnTo>
                <a:lnTo>
                  <a:pt x="6659" y="5424"/>
                </a:lnTo>
                <a:lnTo>
                  <a:pt x="6686" y="5532"/>
                </a:lnTo>
                <a:lnTo>
                  <a:pt x="6711" y="5638"/>
                </a:lnTo>
                <a:lnTo>
                  <a:pt x="6732" y="5744"/>
                </a:lnTo>
                <a:lnTo>
                  <a:pt x="6751" y="5848"/>
                </a:lnTo>
                <a:lnTo>
                  <a:pt x="6767" y="5951"/>
                </a:lnTo>
                <a:lnTo>
                  <a:pt x="6779" y="6052"/>
                </a:lnTo>
                <a:lnTo>
                  <a:pt x="6787" y="6153"/>
                </a:lnTo>
                <a:lnTo>
                  <a:pt x="6793" y="6252"/>
                </a:lnTo>
                <a:lnTo>
                  <a:pt x="6794" y="6349"/>
                </a:lnTo>
                <a:lnTo>
                  <a:pt x="6793" y="6462"/>
                </a:lnTo>
                <a:lnTo>
                  <a:pt x="6790" y="6575"/>
                </a:lnTo>
                <a:lnTo>
                  <a:pt x="6784" y="6685"/>
                </a:lnTo>
                <a:lnTo>
                  <a:pt x="6776" y="6793"/>
                </a:lnTo>
                <a:lnTo>
                  <a:pt x="6766" y="6901"/>
                </a:lnTo>
                <a:lnTo>
                  <a:pt x="6754" y="7008"/>
                </a:lnTo>
                <a:lnTo>
                  <a:pt x="6738" y="7112"/>
                </a:lnTo>
                <a:lnTo>
                  <a:pt x="6722" y="7215"/>
                </a:lnTo>
                <a:lnTo>
                  <a:pt x="6703" y="7316"/>
                </a:lnTo>
                <a:lnTo>
                  <a:pt x="6682" y="7417"/>
                </a:lnTo>
                <a:lnTo>
                  <a:pt x="6659" y="7516"/>
                </a:lnTo>
                <a:lnTo>
                  <a:pt x="6635" y="7612"/>
                </a:lnTo>
                <a:lnTo>
                  <a:pt x="6607" y="7708"/>
                </a:lnTo>
                <a:lnTo>
                  <a:pt x="6578" y="7802"/>
                </a:lnTo>
                <a:lnTo>
                  <a:pt x="6547" y="7894"/>
                </a:lnTo>
                <a:lnTo>
                  <a:pt x="6515" y="7985"/>
                </a:lnTo>
                <a:lnTo>
                  <a:pt x="6479" y="8074"/>
                </a:lnTo>
                <a:lnTo>
                  <a:pt x="6443" y="8163"/>
                </a:lnTo>
                <a:lnTo>
                  <a:pt x="6405" y="8249"/>
                </a:lnTo>
                <a:lnTo>
                  <a:pt x="6365" y="8334"/>
                </a:lnTo>
                <a:lnTo>
                  <a:pt x="6322" y="8417"/>
                </a:lnTo>
                <a:lnTo>
                  <a:pt x="6279" y="8499"/>
                </a:lnTo>
                <a:lnTo>
                  <a:pt x="6232" y="8579"/>
                </a:lnTo>
                <a:lnTo>
                  <a:pt x="6185" y="8656"/>
                </a:lnTo>
                <a:lnTo>
                  <a:pt x="6137" y="8733"/>
                </a:lnTo>
                <a:lnTo>
                  <a:pt x="6086" y="8808"/>
                </a:lnTo>
                <a:lnTo>
                  <a:pt x="6034" y="8881"/>
                </a:lnTo>
                <a:lnTo>
                  <a:pt x="5979" y="8953"/>
                </a:lnTo>
                <a:lnTo>
                  <a:pt x="5924" y="9023"/>
                </a:lnTo>
                <a:lnTo>
                  <a:pt x="5868" y="9092"/>
                </a:lnTo>
                <a:lnTo>
                  <a:pt x="5809" y="9158"/>
                </a:lnTo>
                <a:lnTo>
                  <a:pt x="5749" y="9223"/>
                </a:lnTo>
                <a:lnTo>
                  <a:pt x="5693" y="9281"/>
                </a:lnTo>
                <a:lnTo>
                  <a:pt x="5637" y="9337"/>
                </a:lnTo>
                <a:lnTo>
                  <a:pt x="5578" y="9391"/>
                </a:lnTo>
                <a:lnTo>
                  <a:pt x="5520" y="9445"/>
                </a:lnTo>
                <a:lnTo>
                  <a:pt x="5459" y="9496"/>
                </a:lnTo>
                <a:lnTo>
                  <a:pt x="5398" y="9546"/>
                </a:lnTo>
                <a:lnTo>
                  <a:pt x="5336" y="9595"/>
                </a:lnTo>
                <a:lnTo>
                  <a:pt x="5273" y="9642"/>
                </a:lnTo>
                <a:lnTo>
                  <a:pt x="5208" y="9689"/>
                </a:lnTo>
                <a:lnTo>
                  <a:pt x="5144" y="9733"/>
                </a:lnTo>
                <a:lnTo>
                  <a:pt x="5077" y="9776"/>
                </a:lnTo>
                <a:lnTo>
                  <a:pt x="5010" y="9817"/>
                </a:lnTo>
                <a:lnTo>
                  <a:pt x="4942" y="9857"/>
                </a:lnTo>
                <a:lnTo>
                  <a:pt x="4873" y="9895"/>
                </a:lnTo>
                <a:lnTo>
                  <a:pt x="4803" y="9933"/>
                </a:lnTo>
                <a:lnTo>
                  <a:pt x="4733" y="9968"/>
                </a:lnTo>
                <a:lnTo>
                  <a:pt x="4661" y="10003"/>
                </a:lnTo>
                <a:lnTo>
                  <a:pt x="4588" y="10035"/>
                </a:lnTo>
                <a:lnTo>
                  <a:pt x="4515" y="10065"/>
                </a:lnTo>
                <a:lnTo>
                  <a:pt x="4440" y="10095"/>
                </a:lnTo>
                <a:lnTo>
                  <a:pt x="4366" y="10123"/>
                </a:lnTo>
                <a:lnTo>
                  <a:pt x="4290" y="10149"/>
                </a:lnTo>
                <a:lnTo>
                  <a:pt x="4213" y="10174"/>
                </a:lnTo>
                <a:lnTo>
                  <a:pt x="4137" y="10197"/>
                </a:lnTo>
                <a:lnTo>
                  <a:pt x="4059" y="10219"/>
                </a:lnTo>
                <a:lnTo>
                  <a:pt x="3981" y="10239"/>
                </a:lnTo>
                <a:lnTo>
                  <a:pt x="3901" y="10258"/>
                </a:lnTo>
                <a:lnTo>
                  <a:pt x="3821" y="10275"/>
                </a:lnTo>
                <a:lnTo>
                  <a:pt x="3741" y="10290"/>
                </a:lnTo>
                <a:lnTo>
                  <a:pt x="3660" y="10304"/>
                </a:lnTo>
                <a:lnTo>
                  <a:pt x="3578" y="10316"/>
                </a:lnTo>
                <a:lnTo>
                  <a:pt x="3497" y="10326"/>
                </a:lnTo>
                <a:lnTo>
                  <a:pt x="2956" y="12384"/>
                </a:lnTo>
                <a:lnTo>
                  <a:pt x="7325" y="12384"/>
                </a:lnTo>
                <a:lnTo>
                  <a:pt x="7365" y="11357"/>
                </a:lnTo>
                <a:lnTo>
                  <a:pt x="8856" y="11357"/>
                </a:lnTo>
                <a:lnTo>
                  <a:pt x="8898" y="12384"/>
                </a:lnTo>
                <a:lnTo>
                  <a:pt x="13265" y="12384"/>
                </a:lnTo>
                <a:lnTo>
                  <a:pt x="10018" y="0"/>
                </a:lnTo>
                <a:lnTo>
                  <a:pt x="8402" y="0"/>
                </a:lnTo>
                <a:lnTo>
                  <a:pt x="8443" y="1027"/>
                </a:lnTo>
                <a:lnTo>
                  <a:pt x="7779" y="1027"/>
                </a:lnTo>
                <a:lnTo>
                  <a:pt x="7820" y="0"/>
                </a:lnTo>
                <a:lnTo>
                  <a:pt x="6204" y="0"/>
                </a:lnTo>
                <a:close/>
                <a:moveTo>
                  <a:pt x="7717" y="2566"/>
                </a:moveTo>
                <a:lnTo>
                  <a:pt x="8504" y="2566"/>
                </a:lnTo>
                <a:lnTo>
                  <a:pt x="8619" y="5423"/>
                </a:lnTo>
                <a:lnTo>
                  <a:pt x="7603" y="5423"/>
                </a:lnTo>
                <a:lnTo>
                  <a:pt x="7717" y="2566"/>
                </a:lnTo>
                <a:close/>
                <a:moveTo>
                  <a:pt x="7427" y="9818"/>
                </a:moveTo>
                <a:lnTo>
                  <a:pt x="7542" y="6961"/>
                </a:lnTo>
                <a:lnTo>
                  <a:pt x="8680" y="6961"/>
                </a:lnTo>
                <a:lnTo>
                  <a:pt x="8795" y="9818"/>
                </a:lnTo>
                <a:lnTo>
                  <a:pt x="7427" y="9818"/>
                </a:lnTo>
                <a:close/>
                <a:moveTo>
                  <a:pt x="5146" y="0"/>
                </a:moveTo>
                <a:lnTo>
                  <a:pt x="4540" y="1486"/>
                </a:lnTo>
                <a:lnTo>
                  <a:pt x="4594" y="1562"/>
                </a:lnTo>
                <a:lnTo>
                  <a:pt x="4650" y="1639"/>
                </a:lnTo>
                <a:lnTo>
                  <a:pt x="4706" y="1718"/>
                </a:lnTo>
                <a:lnTo>
                  <a:pt x="4763" y="1797"/>
                </a:lnTo>
                <a:lnTo>
                  <a:pt x="4819" y="1878"/>
                </a:lnTo>
                <a:lnTo>
                  <a:pt x="4876" y="1959"/>
                </a:lnTo>
                <a:lnTo>
                  <a:pt x="4932" y="2042"/>
                </a:lnTo>
                <a:lnTo>
                  <a:pt x="4990" y="2126"/>
                </a:lnTo>
                <a:lnTo>
                  <a:pt x="5695" y="0"/>
                </a:lnTo>
                <a:lnTo>
                  <a:pt x="514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cxnSp>
        <p:nvCxnSpPr>
          <p:cNvPr id="54" name="Соединительная линия уступом 53"/>
          <p:cNvCxnSpPr/>
          <p:nvPr/>
        </p:nvCxnSpPr>
        <p:spPr>
          <a:xfrm rot="10800000" flipV="1">
            <a:off x="5439875" y="3573015"/>
            <a:ext cx="367949" cy="275075"/>
          </a:xfrm>
          <a:prstGeom prst="bentConnector3">
            <a:avLst>
              <a:gd name="adj1" fmla="val 99703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proiz_bitum"/>
          <p:cNvSpPr>
            <a:spLocks noChangeAspect="1" noEditPoints="1"/>
          </p:cNvSpPr>
          <p:nvPr/>
        </p:nvSpPr>
        <p:spPr bwMode="auto">
          <a:xfrm>
            <a:off x="7473841" y="1664664"/>
            <a:ext cx="819865" cy="648072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56" name="TextBox 55"/>
          <p:cNvSpPr txBox="1">
            <a:spLocks noChangeAspect="1"/>
          </p:cNvSpPr>
          <p:nvPr/>
        </p:nvSpPr>
        <p:spPr>
          <a:xfrm>
            <a:off x="7567478" y="2348740"/>
            <a:ext cx="76032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004077"/>
                </a:solidFill>
              </a:rPr>
              <a:t>Лукойл</a:t>
            </a: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7402838" y="1484784"/>
            <a:ext cx="985586" cy="125997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58" name="proiz_bitum"/>
          <p:cNvSpPr>
            <a:spLocks noChangeAspect="1" noEditPoints="1"/>
          </p:cNvSpPr>
          <p:nvPr/>
        </p:nvSpPr>
        <p:spPr bwMode="auto">
          <a:xfrm>
            <a:off x="6321713" y="1664664"/>
            <a:ext cx="819865" cy="648072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59" name="TextBox 58"/>
          <p:cNvSpPr txBox="1">
            <a:spLocks noChangeAspect="1"/>
          </p:cNvSpPr>
          <p:nvPr/>
        </p:nvSpPr>
        <p:spPr>
          <a:xfrm>
            <a:off x="6426488" y="2348880"/>
            <a:ext cx="760326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004077"/>
                </a:solidFill>
              </a:rPr>
              <a:t>ГПН-БМ</a:t>
            </a: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6250710" y="1484784"/>
            <a:ext cx="985586" cy="125997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61" name="proiz_bitum"/>
          <p:cNvSpPr>
            <a:spLocks noChangeAspect="1" noEditPoints="1"/>
          </p:cNvSpPr>
          <p:nvPr/>
        </p:nvSpPr>
        <p:spPr bwMode="auto">
          <a:xfrm>
            <a:off x="5169585" y="1664664"/>
            <a:ext cx="819865" cy="648072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62" name="TextBox 61"/>
          <p:cNvSpPr txBox="1">
            <a:spLocks noChangeAspect="1"/>
          </p:cNvSpPr>
          <p:nvPr/>
        </p:nvSpPr>
        <p:spPr>
          <a:xfrm>
            <a:off x="5192111" y="2348740"/>
            <a:ext cx="914583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004077"/>
                </a:solidFill>
              </a:rPr>
              <a:t>РН-Битум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5098582" y="1484784"/>
            <a:ext cx="985586" cy="125997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cxnSp>
        <p:nvCxnSpPr>
          <p:cNvPr id="64" name="Прямая соединительная линия 63"/>
          <p:cNvCxnSpPr/>
          <p:nvPr/>
        </p:nvCxnSpPr>
        <p:spPr>
          <a:xfrm>
            <a:off x="5570492" y="3036312"/>
            <a:ext cx="2304256" cy="2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/>
          <p:cNvCxnSpPr/>
          <p:nvPr/>
        </p:nvCxnSpPr>
        <p:spPr>
          <a:xfrm flipV="1">
            <a:off x="5570492" y="2856292"/>
            <a:ext cx="0" cy="18004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/>
          <p:cNvCxnSpPr/>
          <p:nvPr/>
        </p:nvCxnSpPr>
        <p:spPr>
          <a:xfrm flipV="1">
            <a:off x="6710933" y="2856292"/>
            <a:ext cx="0" cy="18004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/>
          <p:cNvCxnSpPr/>
          <p:nvPr/>
        </p:nvCxnSpPr>
        <p:spPr>
          <a:xfrm flipV="1">
            <a:off x="7884368" y="2852936"/>
            <a:ext cx="0" cy="180045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33518" y="4818836"/>
            <a:ext cx="4338482" cy="1528624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 smtClean="0">
                <a:solidFill>
                  <a:srgbClr val="004077"/>
                </a:solidFill>
              </a:rPr>
              <a:t>Может ли </a:t>
            </a:r>
            <a:r>
              <a:rPr lang="ru-RU" sz="1600" b="1" dirty="0" smtClean="0">
                <a:solidFill>
                  <a:srgbClr val="F7A600"/>
                </a:solidFill>
              </a:rPr>
              <a:t>в </a:t>
            </a:r>
            <a:r>
              <a:rPr lang="ru-RU" sz="1600" b="1" dirty="0">
                <a:solidFill>
                  <a:srgbClr val="F7A600"/>
                </a:solidFill>
              </a:rPr>
              <a:t>качестве </a:t>
            </a:r>
            <a:r>
              <a:rPr lang="ru-RU" sz="1600" b="1" dirty="0" smtClean="0">
                <a:solidFill>
                  <a:srgbClr val="F7A600"/>
                </a:solidFill>
              </a:rPr>
              <a:t>Заявителя </a:t>
            </a:r>
            <a:r>
              <a:rPr lang="ru-RU" sz="1600" b="1" dirty="0">
                <a:solidFill>
                  <a:srgbClr val="F7A600"/>
                </a:solidFill>
              </a:rPr>
              <a:t>выступать собственник продукции</a:t>
            </a:r>
            <a:r>
              <a:rPr lang="ru-RU" sz="1600" b="1" dirty="0">
                <a:solidFill>
                  <a:srgbClr val="004077"/>
                </a:solidFill>
              </a:rPr>
              <a:t>, передающий на ответственное хранение продукт и </a:t>
            </a:r>
            <a:r>
              <a:rPr lang="ru-RU" sz="1600" b="1" dirty="0">
                <a:solidFill>
                  <a:srgbClr val="F7A600"/>
                </a:solidFill>
              </a:rPr>
              <a:t>осуществляющий проверку качества </a:t>
            </a:r>
            <a:r>
              <a:rPr lang="ru-RU" sz="1600" b="1" dirty="0">
                <a:solidFill>
                  <a:srgbClr val="004077"/>
                </a:solidFill>
              </a:rPr>
              <a:t>отгружаемой продукции </a:t>
            </a:r>
            <a:r>
              <a:rPr lang="ru-RU" sz="1600" b="1" dirty="0" smtClean="0">
                <a:solidFill>
                  <a:srgbClr val="004077"/>
                </a:solidFill>
              </a:rPr>
              <a:t/>
            </a:r>
            <a:br>
              <a:rPr lang="ru-RU" sz="1600" b="1" dirty="0" smtClean="0">
                <a:solidFill>
                  <a:srgbClr val="004077"/>
                </a:solidFill>
              </a:rPr>
            </a:br>
            <a:r>
              <a:rPr lang="ru-RU" sz="1600" b="1" dirty="0" smtClean="0">
                <a:solidFill>
                  <a:srgbClr val="004077"/>
                </a:solidFill>
              </a:rPr>
              <a:t>с </a:t>
            </a:r>
            <a:r>
              <a:rPr lang="ru-RU" sz="1600" b="1" dirty="0">
                <a:solidFill>
                  <a:srgbClr val="004077"/>
                </a:solidFill>
              </a:rPr>
              <a:t>привлечением 3-х лиц на терминале хранения</a:t>
            </a:r>
            <a:r>
              <a:rPr lang="ru-RU" sz="1600" b="1" dirty="0" smtClean="0">
                <a:solidFill>
                  <a:srgbClr val="004077"/>
                </a:solidFill>
              </a:rPr>
              <a:t>?</a:t>
            </a:r>
            <a:endParaRPr lang="ru-RU" sz="1300" b="1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Picture118"/>
          <p:cNvSpPr>
            <a:spLocks noChangeAspect="1" noEditPoints="1"/>
          </p:cNvSpPr>
          <p:nvPr>
            <p:custDataLst>
              <p:tags r:id="rId5"/>
            </p:custDataLst>
          </p:nvPr>
        </p:nvSpPr>
        <p:spPr bwMode="auto">
          <a:xfrm>
            <a:off x="539552" y="3835839"/>
            <a:ext cx="871652" cy="632727"/>
          </a:xfrm>
          <a:custGeom>
            <a:avLst/>
            <a:gdLst>
              <a:gd name="T0" fmla="*/ 1644 w 1700"/>
              <a:gd name="T1" fmla="*/ 610 h 1234"/>
              <a:gd name="T2" fmla="*/ 1586 w 1700"/>
              <a:gd name="T3" fmla="*/ 270 h 1234"/>
              <a:gd name="T4" fmla="*/ 1512 w 1700"/>
              <a:gd name="T5" fmla="*/ 214 h 1234"/>
              <a:gd name="T6" fmla="*/ 1474 w 1700"/>
              <a:gd name="T7" fmla="*/ 198 h 1234"/>
              <a:gd name="T8" fmla="*/ 1494 w 1700"/>
              <a:gd name="T9" fmla="*/ 150 h 1234"/>
              <a:gd name="T10" fmla="*/ 1512 w 1700"/>
              <a:gd name="T11" fmla="*/ 100 h 1234"/>
              <a:gd name="T12" fmla="*/ 1428 w 1700"/>
              <a:gd name="T13" fmla="*/ 72 h 1234"/>
              <a:gd name="T14" fmla="*/ 1304 w 1700"/>
              <a:gd name="T15" fmla="*/ 44 h 1234"/>
              <a:gd name="T16" fmla="*/ 1238 w 1700"/>
              <a:gd name="T17" fmla="*/ 34 h 1234"/>
              <a:gd name="T18" fmla="*/ 992 w 1700"/>
              <a:gd name="T19" fmla="*/ 8 h 1234"/>
              <a:gd name="T20" fmla="*/ 812 w 1700"/>
              <a:gd name="T21" fmla="*/ 0 h 1234"/>
              <a:gd name="T22" fmla="*/ 612 w 1700"/>
              <a:gd name="T23" fmla="*/ 10 h 1234"/>
              <a:gd name="T24" fmla="*/ 312 w 1700"/>
              <a:gd name="T25" fmla="*/ 48 h 1234"/>
              <a:gd name="T26" fmla="*/ 162 w 1700"/>
              <a:gd name="T27" fmla="*/ 82 h 1234"/>
              <a:gd name="T28" fmla="*/ 112 w 1700"/>
              <a:gd name="T29" fmla="*/ 158 h 1234"/>
              <a:gd name="T30" fmla="*/ 170 w 1700"/>
              <a:gd name="T31" fmla="*/ 136 h 1234"/>
              <a:gd name="T32" fmla="*/ 138 w 1700"/>
              <a:gd name="T33" fmla="*/ 204 h 1234"/>
              <a:gd name="T34" fmla="*/ 112 w 1700"/>
              <a:gd name="T35" fmla="*/ 270 h 1234"/>
              <a:gd name="T36" fmla="*/ 0 w 1700"/>
              <a:gd name="T37" fmla="*/ 1234 h 1234"/>
              <a:gd name="T38" fmla="*/ 1644 w 1700"/>
              <a:gd name="T39" fmla="*/ 1122 h 1234"/>
              <a:gd name="T40" fmla="*/ 396 w 1700"/>
              <a:gd name="T41" fmla="*/ 204 h 1234"/>
              <a:gd name="T42" fmla="*/ 510 w 1700"/>
              <a:gd name="T43" fmla="*/ 1122 h 1234"/>
              <a:gd name="T44" fmla="*/ 1076 w 1700"/>
              <a:gd name="T45" fmla="*/ 72 h 1234"/>
              <a:gd name="T46" fmla="*/ 1246 w 1700"/>
              <a:gd name="T47" fmla="*/ 92 h 1234"/>
              <a:gd name="T48" fmla="*/ 1164 w 1700"/>
              <a:gd name="T49" fmla="*/ 138 h 1234"/>
              <a:gd name="T50" fmla="*/ 1020 w 1700"/>
              <a:gd name="T51" fmla="*/ 124 h 1234"/>
              <a:gd name="T52" fmla="*/ 850 w 1700"/>
              <a:gd name="T53" fmla="*/ 114 h 1234"/>
              <a:gd name="T54" fmla="*/ 934 w 1700"/>
              <a:gd name="T55" fmla="*/ 60 h 1234"/>
              <a:gd name="T56" fmla="*/ 794 w 1700"/>
              <a:gd name="T57" fmla="*/ 114 h 1234"/>
              <a:gd name="T58" fmla="*/ 624 w 1700"/>
              <a:gd name="T59" fmla="*/ 122 h 1234"/>
              <a:gd name="T60" fmla="*/ 710 w 1700"/>
              <a:gd name="T61" fmla="*/ 60 h 1234"/>
              <a:gd name="T62" fmla="*/ 566 w 1700"/>
              <a:gd name="T63" fmla="*/ 126 h 1234"/>
              <a:gd name="T64" fmla="*/ 396 w 1700"/>
              <a:gd name="T65" fmla="*/ 146 h 1234"/>
              <a:gd name="T66" fmla="*/ 480 w 1700"/>
              <a:gd name="T67" fmla="*/ 80 h 1234"/>
              <a:gd name="T68" fmla="*/ 1512 w 1700"/>
              <a:gd name="T69" fmla="*/ 838 h 1234"/>
              <a:gd name="T70" fmla="*/ 1512 w 1700"/>
              <a:gd name="T71" fmla="*/ 952 h 1234"/>
              <a:gd name="T72" fmla="*/ 1512 w 1700"/>
              <a:gd name="T73" fmla="*/ 780 h 1234"/>
              <a:gd name="T74" fmla="*/ 1586 w 1700"/>
              <a:gd name="T75" fmla="*/ 780 h 1234"/>
              <a:gd name="T76" fmla="*/ 1586 w 1700"/>
              <a:gd name="T77" fmla="*/ 498 h 1234"/>
              <a:gd name="T78" fmla="*/ 1586 w 1700"/>
              <a:gd name="T79" fmla="*/ 328 h 1234"/>
              <a:gd name="T80" fmla="*/ 1512 w 1700"/>
              <a:gd name="T81" fmla="*/ 328 h 1234"/>
              <a:gd name="T82" fmla="*/ 1416 w 1700"/>
              <a:gd name="T83" fmla="*/ 182 h 1234"/>
              <a:gd name="T84" fmla="*/ 1304 w 1700"/>
              <a:gd name="T85" fmla="*/ 158 h 1234"/>
              <a:gd name="T86" fmla="*/ 1364 w 1700"/>
              <a:gd name="T87" fmla="*/ 114 h 1234"/>
              <a:gd name="T88" fmla="*/ 226 w 1700"/>
              <a:gd name="T89" fmla="*/ 122 h 1234"/>
              <a:gd name="T90" fmla="*/ 340 w 1700"/>
              <a:gd name="T91" fmla="*/ 98 h 1234"/>
              <a:gd name="T92" fmla="*/ 280 w 1700"/>
              <a:gd name="T93" fmla="*/ 166 h 1234"/>
              <a:gd name="T94" fmla="*/ 226 w 1700"/>
              <a:gd name="T95" fmla="*/ 328 h 1234"/>
              <a:gd name="T96" fmla="*/ 226 w 1700"/>
              <a:gd name="T97" fmla="*/ 234 h 1234"/>
              <a:gd name="T98" fmla="*/ 226 w 1700"/>
              <a:gd name="T99" fmla="*/ 1122 h 1234"/>
              <a:gd name="T100" fmla="*/ 1512 w 1700"/>
              <a:gd name="T101" fmla="*/ 1008 h 1234"/>
              <a:gd name="T102" fmla="*/ 1512 w 1700"/>
              <a:gd name="T103" fmla="*/ 1122 h 1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00" h="1234">
                <a:moveTo>
                  <a:pt x="1644" y="1122"/>
                </a:moveTo>
                <a:lnTo>
                  <a:pt x="1644" y="668"/>
                </a:lnTo>
                <a:lnTo>
                  <a:pt x="1644" y="610"/>
                </a:lnTo>
                <a:lnTo>
                  <a:pt x="1644" y="214"/>
                </a:lnTo>
                <a:lnTo>
                  <a:pt x="1586" y="214"/>
                </a:lnTo>
                <a:lnTo>
                  <a:pt x="1586" y="270"/>
                </a:lnTo>
                <a:lnTo>
                  <a:pt x="1512" y="270"/>
                </a:lnTo>
                <a:lnTo>
                  <a:pt x="1512" y="228"/>
                </a:lnTo>
                <a:lnTo>
                  <a:pt x="1512" y="214"/>
                </a:lnTo>
                <a:lnTo>
                  <a:pt x="1512" y="214"/>
                </a:lnTo>
                <a:lnTo>
                  <a:pt x="1494" y="206"/>
                </a:lnTo>
                <a:lnTo>
                  <a:pt x="1474" y="198"/>
                </a:lnTo>
                <a:lnTo>
                  <a:pt x="1474" y="142"/>
                </a:lnTo>
                <a:lnTo>
                  <a:pt x="1474" y="142"/>
                </a:lnTo>
                <a:lnTo>
                  <a:pt x="1494" y="150"/>
                </a:lnTo>
                <a:lnTo>
                  <a:pt x="1512" y="158"/>
                </a:lnTo>
                <a:lnTo>
                  <a:pt x="1512" y="100"/>
                </a:lnTo>
                <a:lnTo>
                  <a:pt x="1512" y="100"/>
                </a:lnTo>
                <a:lnTo>
                  <a:pt x="1496" y="94"/>
                </a:lnTo>
                <a:lnTo>
                  <a:pt x="1476" y="86"/>
                </a:lnTo>
                <a:lnTo>
                  <a:pt x="1428" y="72"/>
                </a:lnTo>
                <a:lnTo>
                  <a:pt x="1370" y="58"/>
                </a:lnTo>
                <a:lnTo>
                  <a:pt x="1304" y="46"/>
                </a:lnTo>
                <a:lnTo>
                  <a:pt x="1304" y="44"/>
                </a:lnTo>
                <a:lnTo>
                  <a:pt x="1294" y="44"/>
                </a:lnTo>
                <a:lnTo>
                  <a:pt x="1294" y="44"/>
                </a:lnTo>
                <a:lnTo>
                  <a:pt x="1238" y="34"/>
                </a:lnTo>
                <a:lnTo>
                  <a:pt x="1178" y="26"/>
                </a:lnTo>
                <a:lnTo>
                  <a:pt x="1054" y="12"/>
                </a:lnTo>
                <a:lnTo>
                  <a:pt x="992" y="8"/>
                </a:lnTo>
                <a:lnTo>
                  <a:pt x="930" y="4"/>
                </a:lnTo>
                <a:lnTo>
                  <a:pt x="870" y="2"/>
                </a:lnTo>
                <a:lnTo>
                  <a:pt x="812" y="0"/>
                </a:lnTo>
                <a:lnTo>
                  <a:pt x="812" y="0"/>
                </a:lnTo>
                <a:lnTo>
                  <a:pt x="714" y="2"/>
                </a:lnTo>
                <a:lnTo>
                  <a:pt x="612" y="10"/>
                </a:lnTo>
                <a:lnTo>
                  <a:pt x="508" y="20"/>
                </a:lnTo>
                <a:lnTo>
                  <a:pt x="406" y="32"/>
                </a:lnTo>
                <a:lnTo>
                  <a:pt x="312" y="48"/>
                </a:lnTo>
                <a:lnTo>
                  <a:pt x="230" y="64"/>
                </a:lnTo>
                <a:lnTo>
                  <a:pt x="192" y="72"/>
                </a:lnTo>
                <a:lnTo>
                  <a:pt x="162" y="82"/>
                </a:lnTo>
                <a:lnTo>
                  <a:pt x="134" y="92"/>
                </a:lnTo>
                <a:lnTo>
                  <a:pt x="112" y="100"/>
                </a:lnTo>
                <a:lnTo>
                  <a:pt x="112" y="158"/>
                </a:lnTo>
                <a:lnTo>
                  <a:pt x="112" y="158"/>
                </a:lnTo>
                <a:lnTo>
                  <a:pt x="138" y="146"/>
                </a:lnTo>
                <a:lnTo>
                  <a:pt x="170" y="136"/>
                </a:lnTo>
                <a:lnTo>
                  <a:pt x="170" y="192"/>
                </a:lnTo>
                <a:lnTo>
                  <a:pt x="170" y="192"/>
                </a:lnTo>
                <a:lnTo>
                  <a:pt x="138" y="204"/>
                </a:lnTo>
                <a:lnTo>
                  <a:pt x="112" y="214"/>
                </a:lnTo>
                <a:lnTo>
                  <a:pt x="112" y="228"/>
                </a:lnTo>
                <a:lnTo>
                  <a:pt x="112" y="270"/>
                </a:lnTo>
                <a:lnTo>
                  <a:pt x="112" y="1122"/>
                </a:lnTo>
                <a:lnTo>
                  <a:pt x="0" y="1122"/>
                </a:lnTo>
                <a:lnTo>
                  <a:pt x="0" y="1234"/>
                </a:lnTo>
                <a:lnTo>
                  <a:pt x="1700" y="1234"/>
                </a:lnTo>
                <a:lnTo>
                  <a:pt x="1700" y="1122"/>
                </a:lnTo>
                <a:lnTo>
                  <a:pt x="1644" y="1122"/>
                </a:lnTo>
                <a:close/>
                <a:moveTo>
                  <a:pt x="396" y="1122"/>
                </a:moveTo>
                <a:lnTo>
                  <a:pt x="396" y="270"/>
                </a:lnTo>
                <a:lnTo>
                  <a:pt x="396" y="204"/>
                </a:lnTo>
                <a:lnTo>
                  <a:pt x="396" y="204"/>
                </a:lnTo>
                <a:lnTo>
                  <a:pt x="510" y="190"/>
                </a:lnTo>
                <a:lnTo>
                  <a:pt x="510" y="1122"/>
                </a:lnTo>
                <a:lnTo>
                  <a:pt x="396" y="1122"/>
                </a:lnTo>
                <a:close/>
                <a:moveTo>
                  <a:pt x="1076" y="128"/>
                </a:moveTo>
                <a:lnTo>
                  <a:pt x="1076" y="72"/>
                </a:lnTo>
                <a:lnTo>
                  <a:pt x="1076" y="72"/>
                </a:lnTo>
                <a:lnTo>
                  <a:pt x="1164" y="82"/>
                </a:lnTo>
                <a:lnTo>
                  <a:pt x="1246" y="92"/>
                </a:lnTo>
                <a:lnTo>
                  <a:pt x="1246" y="150"/>
                </a:lnTo>
                <a:lnTo>
                  <a:pt x="1246" y="150"/>
                </a:lnTo>
                <a:lnTo>
                  <a:pt x="1164" y="138"/>
                </a:lnTo>
                <a:lnTo>
                  <a:pt x="1076" y="128"/>
                </a:lnTo>
                <a:lnTo>
                  <a:pt x="1076" y="128"/>
                </a:lnTo>
                <a:close/>
                <a:moveTo>
                  <a:pt x="1020" y="124"/>
                </a:moveTo>
                <a:lnTo>
                  <a:pt x="1020" y="124"/>
                </a:lnTo>
                <a:lnTo>
                  <a:pt x="934" y="118"/>
                </a:lnTo>
                <a:lnTo>
                  <a:pt x="850" y="114"/>
                </a:lnTo>
                <a:lnTo>
                  <a:pt x="850" y="58"/>
                </a:lnTo>
                <a:lnTo>
                  <a:pt x="850" y="58"/>
                </a:lnTo>
                <a:lnTo>
                  <a:pt x="934" y="60"/>
                </a:lnTo>
                <a:lnTo>
                  <a:pt x="1020" y="66"/>
                </a:lnTo>
                <a:lnTo>
                  <a:pt x="1020" y="124"/>
                </a:lnTo>
                <a:close/>
                <a:moveTo>
                  <a:pt x="794" y="114"/>
                </a:moveTo>
                <a:lnTo>
                  <a:pt x="794" y="114"/>
                </a:lnTo>
                <a:lnTo>
                  <a:pt x="710" y="116"/>
                </a:lnTo>
                <a:lnTo>
                  <a:pt x="624" y="122"/>
                </a:lnTo>
                <a:lnTo>
                  <a:pt x="624" y="66"/>
                </a:lnTo>
                <a:lnTo>
                  <a:pt x="624" y="66"/>
                </a:lnTo>
                <a:lnTo>
                  <a:pt x="710" y="60"/>
                </a:lnTo>
                <a:lnTo>
                  <a:pt x="794" y="58"/>
                </a:lnTo>
                <a:lnTo>
                  <a:pt x="794" y="114"/>
                </a:lnTo>
                <a:close/>
                <a:moveTo>
                  <a:pt x="566" y="126"/>
                </a:moveTo>
                <a:lnTo>
                  <a:pt x="566" y="126"/>
                </a:lnTo>
                <a:lnTo>
                  <a:pt x="480" y="136"/>
                </a:lnTo>
                <a:lnTo>
                  <a:pt x="396" y="146"/>
                </a:lnTo>
                <a:lnTo>
                  <a:pt x="396" y="90"/>
                </a:lnTo>
                <a:lnTo>
                  <a:pt x="396" y="90"/>
                </a:lnTo>
                <a:lnTo>
                  <a:pt x="480" y="80"/>
                </a:lnTo>
                <a:lnTo>
                  <a:pt x="566" y="70"/>
                </a:lnTo>
                <a:lnTo>
                  <a:pt x="566" y="126"/>
                </a:lnTo>
                <a:close/>
                <a:moveTo>
                  <a:pt x="1512" y="838"/>
                </a:moveTo>
                <a:lnTo>
                  <a:pt x="1586" y="838"/>
                </a:lnTo>
                <a:lnTo>
                  <a:pt x="1586" y="952"/>
                </a:lnTo>
                <a:lnTo>
                  <a:pt x="1512" y="952"/>
                </a:lnTo>
                <a:lnTo>
                  <a:pt x="1512" y="838"/>
                </a:lnTo>
                <a:close/>
                <a:moveTo>
                  <a:pt x="1586" y="780"/>
                </a:moveTo>
                <a:lnTo>
                  <a:pt x="1512" y="780"/>
                </a:lnTo>
                <a:lnTo>
                  <a:pt x="1512" y="668"/>
                </a:lnTo>
                <a:lnTo>
                  <a:pt x="1586" y="668"/>
                </a:lnTo>
                <a:lnTo>
                  <a:pt x="1586" y="780"/>
                </a:lnTo>
                <a:close/>
                <a:moveTo>
                  <a:pt x="1512" y="610"/>
                </a:moveTo>
                <a:lnTo>
                  <a:pt x="1512" y="498"/>
                </a:lnTo>
                <a:lnTo>
                  <a:pt x="1586" y="498"/>
                </a:lnTo>
                <a:lnTo>
                  <a:pt x="1586" y="610"/>
                </a:lnTo>
                <a:lnTo>
                  <a:pt x="1512" y="610"/>
                </a:lnTo>
                <a:close/>
                <a:moveTo>
                  <a:pt x="1586" y="328"/>
                </a:moveTo>
                <a:lnTo>
                  <a:pt x="1586" y="440"/>
                </a:lnTo>
                <a:lnTo>
                  <a:pt x="1512" y="440"/>
                </a:lnTo>
                <a:lnTo>
                  <a:pt x="1512" y="328"/>
                </a:lnTo>
                <a:lnTo>
                  <a:pt x="1586" y="328"/>
                </a:lnTo>
                <a:close/>
                <a:moveTo>
                  <a:pt x="1416" y="126"/>
                </a:moveTo>
                <a:lnTo>
                  <a:pt x="1416" y="182"/>
                </a:lnTo>
                <a:lnTo>
                  <a:pt x="1416" y="182"/>
                </a:lnTo>
                <a:lnTo>
                  <a:pt x="1364" y="170"/>
                </a:lnTo>
                <a:lnTo>
                  <a:pt x="1304" y="158"/>
                </a:lnTo>
                <a:lnTo>
                  <a:pt x="1304" y="102"/>
                </a:lnTo>
                <a:lnTo>
                  <a:pt x="1304" y="102"/>
                </a:lnTo>
                <a:lnTo>
                  <a:pt x="1364" y="114"/>
                </a:lnTo>
                <a:lnTo>
                  <a:pt x="1416" y="126"/>
                </a:lnTo>
                <a:lnTo>
                  <a:pt x="1416" y="126"/>
                </a:lnTo>
                <a:close/>
                <a:moveTo>
                  <a:pt x="226" y="122"/>
                </a:moveTo>
                <a:lnTo>
                  <a:pt x="226" y="122"/>
                </a:lnTo>
                <a:lnTo>
                  <a:pt x="280" y="110"/>
                </a:lnTo>
                <a:lnTo>
                  <a:pt x="340" y="98"/>
                </a:lnTo>
                <a:lnTo>
                  <a:pt x="340" y="156"/>
                </a:lnTo>
                <a:lnTo>
                  <a:pt x="340" y="156"/>
                </a:lnTo>
                <a:lnTo>
                  <a:pt x="280" y="166"/>
                </a:lnTo>
                <a:lnTo>
                  <a:pt x="226" y="178"/>
                </a:lnTo>
                <a:lnTo>
                  <a:pt x="226" y="122"/>
                </a:lnTo>
                <a:close/>
                <a:moveTo>
                  <a:pt x="226" y="328"/>
                </a:moveTo>
                <a:lnTo>
                  <a:pt x="226" y="328"/>
                </a:lnTo>
                <a:lnTo>
                  <a:pt x="226" y="234"/>
                </a:lnTo>
                <a:lnTo>
                  <a:pt x="226" y="234"/>
                </a:lnTo>
                <a:lnTo>
                  <a:pt x="282" y="222"/>
                </a:lnTo>
                <a:lnTo>
                  <a:pt x="282" y="1122"/>
                </a:lnTo>
                <a:lnTo>
                  <a:pt x="226" y="1122"/>
                </a:lnTo>
                <a:lnTo>
                  <a:pt x="226" y="328"/>
                </a:lnTo>
                <a:close/>
                <a:moveTo>
                  <a:pt x="1512" y="1122"/>
                </a:moveTo>
                <a:lnTo>
                  <a:pt x="1512" y="1008"/>
                </a:lnTo>
                <a:lnTo>
                  <a:pt x="1586" y="1008"/>
                </a:lnTo>
                <a:lnTo>
                  <a:pt x="1586" y="1122"/>
                </a:lnTo>
                <a:lnTo>
                  <a:pt x="1512" y="112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0" name="bitumovoz"/>
          <p:cNvSpPr>
            <a:spLocks noChangeAspect="1" noEditPoints="1"/>
          </p:cNvSpPr>
          <p:nvPr>
            <p:custDataLst>
              <p:tags r:id="rId6"/>
            </p:custDataLst>
          </p:nvPr>
        </p:nvSpPr>
        <p:spPr bwMode="auto">
          <a:xfrm>
            <a:off x="2699792" y="3910408"/>
            <a:ext cx="926688" cy="346684"/>
          </a:xfrm>
          <a:custGeom>
            <a:avLst/>
            <a:gdLst>
              <a:gd name="T0" fmla="*/ 1894 w 16150"/>
              <a:gd name="T1" fmla="*/ 4653 h 6042"/>
              <a:gd name="T2" fmla="*/ 2038 w 16150"/>
              <a:gd name="T3" fmla="*/ 5988 h 6042"/>
              <a:gd name="T4" fmla="*/ 3088 w 16150"/>
              <a:gd name="T5" fmla="*/ 5122 h 6042"/>
              <a:gd name="T6" fmla="*/ 2286 w 16150"/>
              <a:gd name="T7" fmla="*/ 2894 h 6042"/>
              <a:gd name="T8" fmla="*/ 2467 w 16150"/>
              <a:gd name="T9" fmla="*/ 2754 h 6042"/>
              <a:gd name="T10" fmla="*/ 2476 w 16150"/>
              <a:gd name="T11" fmla="*/ 2434 h 6042"/>
              <a:gd name="T12" fmla="*/ 2306 w 16150"/>
              <a:gd name="T13" fmla="*/ 2282 h 6042"/>
              <a:gd name="T14" fmla="*/ 194 w 16150"/>
              <a:gd name="T15" fmla="*/ 849 h 6042"/>
              <a:gd name="T16" fmla="*/ 135 w 16150"/>
              <a:gd name="T17" fmla="*/ 3307 h 6042"/>
              <a:gd name="T18" fmla="*/ 1112 w 16150"/>
              <a:gd name="T19" fmla="*/ 3751 h 6042"/>
              <a:gd name="T20" fmla="*/ 10028 w 16150"/>
              <a:gd name="T21" fmla="*/ 3645 h 6042"/>
              <a:gd name="T22" fmla="*/ 10453 w 16150"/>
              <a:gd name="T23" fmla="*/ 1957 h 6042"/>
              <a:gd name="T24" fmla="*/ 9864 w 16150"/>
              <a:gd name="T25" fmla="*/ 588 h 6042"/>
              <a:gd name="T26" fmla="*/ 4846 w 16150"/>
              <a:gd name="T27" fmla="*/ 328 h 6042"/>
              <a:gd name="T28" fmla="*/ 473 w 16150"/>
              <a:gd name="T29" fmla="*/ 819 h 6042"/>
              <a:gd name="T30" fmla="*/ 609 w 16150"/>
              <a:gd name="T31" fmla="*/ 1639 h 6042"/>
              <a:gd name="T32" fmla="*/ 310 w 16150"/>
              <a:gd name="T33" fmla="*/ 2729 h 6042"/>
              <a:gd name="T34" fmla="*/ 1536 w 16150"/>
              <a:gd name="T35" fmla="*/ 3233 h 6042"/>
              <a:gd name="T36" fmla="*/ 2214 w 16150"/>
              <a:gd name="T37" fmla="*/ 1944 h 6042"/>
              <a:gd name="T38" fmla="*/ 2625 w 16150"/>
              <a:gd name="T39" fmla="*/ 2055 h 6042"/>
              <a:gd name="T40" fmla="*/ 2846 w 16150"/>
              <a:gd name="T41" fmla="*/ 2453 h 6042"/>
              <a:gd name="T42" fmla="*/ 2703 w 16150"/>
              <a:gd name="T43" fmla="*/ 3045 h 6042"/>
              <a:gd name="T44" fmla="*/ 2223 w 16150"/>
              <a:gd name="T45" fmla="*/ 3233 h 6042"/>
              <a:gd name="T46" fmla="*/ 3464 w 16150"/>
              <a:gd name="T47" fmla="*/ 1089 h 6042"/>
              <a:gd name="T48" fmla="*/ 5190 w 16150"/>
              <a:gd name="T49" fmla="*/ 3233 h 6042"/>
              <a:gd name="T50" fmla="*/ 6436 w 16150"/>
              <a:gd name="T51" fmla="*/ 1092 h 6042"/>
              <a:gd name="T52" fmla="*/ 7198 w 16150"/>
              <a:gd name="T53" fmla="*/ 2054 h 6042"/>
              <a:gd name="T54" fmla="*/ 6876 w 16150"/>
              <a:gd name="T55" fmla="*/ 2940 h 6042"/>
              <a:gd name="T56" fmla="*/ 6432 w 16150"/>
              <a:gd name="T57" fmla="*/ 2952 h 6042"/>
              <a:gd name="T58" fmla="*/ 6537 w 16150"/>
              <a:gd name="T59" fmla="*/ 2894 h 6042"/>
              <a:gd name="T60" fmla="*/ 8557 w 16150"/>
              <a:gd name="T61" fmla="*/ 2309 h 6042"/>
              <a:gd name="T62" fmla="*/ 8060 w 16150"/>
              <a:gd name="T63" fmla="*/ 1979 h 6042"/>
              <a:gd name="T64" fmla="*/ 2508 w 16150"/>
              <a:gd name="T65" fmla="*/ 5465 h 6042"/>
              <a:gd name="T66" fmla="*/ 4951 w 16150"/>
              <a:gd name="T67" fmla="*/ 4851 h 6042"/>
              <a:gd name="T68" fmla="*/ 3613 w 16150"/>
              <a:gd name="T69" fmla="*/ 4978 h 6042"/>
              <a:gd name="T70" fmla="*/ 4462 w 16150"/>
              <a:gd name="T71" fmla="*/ 6024 h 6042"/>
              <a:gd name="T72" fmla="*/ 4571 w 16150"/>
              <a:gd name="T73" fmla="*/ 5284 h 6042"/>
              <a:gd name="T74" fmla="*/ 4209 w 16150"/>
              <a:gd name="T75" fmla="*/ 5049 h 6042"/>
              <a:gd name="T76" fmla="*/ 9148 w 16150"/>
              <a:gd name="T77" fmla="*/ 4527 h 6042"/>
              <a:gd name="T78" fmla="*/ 8280 w 16150"/>
              <a:gd name="T79" fmla="*/ 5573 h 6042"/>
              <a:gd name="T80" fmla="*/ 9638 w 16150"/>
              <a:gd name="T81" fmla="*/ 5717 h 6042"/>
              <a:gd name="T82" fmla="*/ 8896 w 16150"/>
              <a:gd name="T83" fmla="*/ 5519 h 6042"/>
              <a:gd name="T84" fmla="*/ 13599 w 16150"/>
              <a:gd name="T85" fmla="*/ 5429 h 6042"/>
              <a:gd name="T86" fmla="*/ 14883 w 16150"/>
              <a:gd name="T87" fmla="*/ 5826 h 6042"/>
              <a:gd name="T88" fmla="*/ 14504 w 16150"/>
              <a:gd name="T89" fmla="*/ 4527 h 6042"/>
              <a:gd name="T90" fmla="*/ 14160 w 16150"/>
              <a:gd name="T91" fmla="*/ 5465 h 6042"/>
              <a:gd name="T92" fmla="*/ 14576 w 16150"/>
              <a:gd name="T93" fmla="*/ 5375 h 6042"/>
              <a:gd name="T94" fmla="*/ 3396 w 16150"/>
              <a:gd name="T95" fmla="*/ 4780 h 6042"/>
              <a:gd name="T96" fmla="*/ 1279 w 16150"/>
              <a:gd name="T97" fmla="*/ 5320 h 6042"/>
              <a:gd name="T98" fmla="*/ 9746 w 16150"/>
              <a:gd name="T99" fmla="*/ 4527 h 6042"/>
              <a:gd name="T100" fmla="*/ 13291 w 16150"/>
              <a:gd name="T101" fmla="*/ 5176 h 6042"/>
              <a:gd name="T102" fmla="*/ 14558 w 16150"/>
              <a:gd name="T103" fmla="*/ 4238 h 6042"/>
              <a:gd name="T104" fmla="*/ 15842 w 16150"/>
              <a:gd name="T105" fmla="*/ 5302 h 6042"/>
              <a:gd name="T106" fmla="*/ 16059 w 16150"/>
              <a:gd name="T107" fmla="*/ 4238 h 6042"/>
              <a:gd name="T108" fmla="*/ 15408 w 16150"/>
              <a:gd name="T109" fmla="*/ 2776 h 6042"/>
              <a:gd name="T110" fmla="*/ 13154 w 16150"/>
              <a:gd name="T111" fmla="*/ 1062 h 6042"/>
              <a:gd name="T112" fmla="*/ 11600 w 16150"/>
              <a:gd name="T113" fmla="*/ 1062 h 6042"/>
              <a:gd name="T114" fmla="*/ 11257 w 16150"/>
              <a:gd name="T115" fmla="*/ 1081 h 6042"/>
              <a:gd name="T116" fmla="*/ 11229 w 16150"/>
              <a:gd name="T117" fmla="*/ 1223 h 6042"/>
              <a:gd name="T118" fmla="*/ 13744 w 16150"/>
              <a:gd name="T119" fmla="*/ 1640 h 6042"/>
              <a:gd name="T120" fmla="*/ 7937 w 16150"/>
              <a:gd name="T121" fmla="*/ 5320 h 6042"/>
              <a:gd name="T122" fmla="*/ 4734 w 16150"/>
              <a:gd name="T123" fmla="*/ 4310 h 60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6150" h="6042">
                <a:moveTo>
                  <a:pt x="3088" y="5122"/>
                </a:moveTo>
                <a:lnTo>
                  <a:pt x="3033" y="4978"/>
                </a:lnTo>
                <a:lnTo>
                  <a:pt x="2962" y="4851"/>
                </a:lnTo>
                <a:lnTo>
                  <a:pt x="2871" y="4743"/>
                </a:lnTo>
                <a:lnTo>
                  <a:pt x="2762" y="4653"/>
                </a:lnTo>
                <a:lnTo>
                  <a:pt x="2635" y="4580"/>
                </a:lnTo>
                <a:lnTo>
                  <a:pt x="2490" y="4527"/>
                </a:lnTo>
                <a:lnTo>
                  <a:pt x="2328" y="4509"/>
                </a:lnTo>
                <a:lnTo>
                  <a:pt x="2183" y="4527"/>
                </a:lnTo>
                <a:lnTo>
                  <a:pt x="2038" y="4580"/>
                </a:lnTo>
                <a:lnTo>
                  <a:pt x="1894" y="4653"/>
                </a:lnTo>
                <a:lnTo>
                  <a:pt x="1785" y="4743"/>
                </a:lnTo>
                <a:lnTo>
                  <a:pt x="1695" y="4851"/>
                </a:lnTo>
                <a:lnTo>
                  <a:pt x="1622" y="4978"/>
                </a:lnTo>
                <a:lnTo>
                  <a:pt x="1568" y="5122"/>
                </a:lnTo>
                <a:lnTo>
                  <a:pt x="1568" y="5284"/>
                </a:lnTo>
                <a:lnTo>
                  <a:pt x="1568" y="5429"/>
                </a:lnTo>
                <a:lnTo>
                  <a:pt x="1622" y="5573"/>
                </a:lnTo>
                <a:lnTo>
                  <a:pt x="1695" y="5717"/>
                </a:lnTo>
                <a:lnTo>
                  <a:pt x="1785" y="5826"/>
                </a:lnTo>
                <a:lnTo>
                  <a:pt x="1894" y="5916"/>
                </a:lnTo>
                <a:lnTo>
                  <a:pt x="2038" y="5988"/>
                </a:lnTo>
                <a:lnTo>
                  <a:pt x="2183" y="6024"/>
                </a:lnTo>
                <a:lnTo>
                  <a:pt x="2328" y="6042"/>
                </a:lnTo>
                <a:lnTo>
                  <a:pt x="2490" y="6024"/>
                </a:lnTo>
                <a:lnTo>
                  <a:pt x="2635" y="5988"/>
                </a:lnTo>
                <a:lnTo>
                  <a:pt x="2762" y="5916"/>
                </a:lnTo>
                <a:lnTo>
                  <a:pt x="2871" y="5826"/>
                </a:lnTo>
                <a:lnTo>
                  <a:pt x="2962" y="5717"/>
                </a:lnTo>
                <a:lnTo>
                  <a:pt x="3033" y="5573"/>
                </a:lnTo>
                <a:lnTo>
                  <a:pt x="3088" y="5429"/>
                </a:lnTo>
                <a:lnTo>
                  <a:pt x="3106" y="5284"/>
                </a:lnTo>
                <a:lnTo>
                  <a:pt x="3088" y="5122"/>
                </a:lnTo>
                <a:close/>
                <a:moveTo>
                  <a:pt x="1892" y="2266"/>
                </a:moveTo>
                <a:lnTo>
                  <a:pt x="1892" y="2906"/>
                </a:lnTo>
                <a:lnTo>
                  <a:pt x="2005" y="2908"/>
                </a:lnTo>
                <a:lnTo>
                  <a:pt x="2115" y="2910"/>
                </a:lnTo>
                <a:lnTo>
                  <a:pt x="2141" y="2909"/>
                </a:lnTo>
                <a:lnTo>
                  <a:pt x="2167" y="2909"/>
                </a:lnTo>
                <a:lnTo>
                  <a:pt x="2192" y="2907"/>
                </a:lnTo>
                <a:lnTo>
                  <a:pt x="2217" y="2905"/>
                </a:lnTo>
                <a:lnTo>
                  <a:pt x="2241" y="2902"/>
                </a:lnTo>
                <a:lnTo>
                  <a:pt x="2264" y="2899"/>
                </a:lnTo>
                <a:lnTo>
                  <a:pt x="2286" y="2894"/>
                </a:lnTo>
                <a:lnTo>
                  <a:pt x="2308" y="2889"/>
                </a:lnTo>
                <a:lnTo>
                  <a:pt x="2329" y="2882"/>
                </a:lnTo>
                <a:lnTo>
                  <a:pt x="2349" y="2874"/>
                </a:lnTo>
                <a:lnTo>
                  <a:pt x="2368" y="2865"/>
                </a:lnTo>
                <a:lnTo>
                  <a:pt x="2385" y="2854"/>
                </a:lnTo>
                <a:lnTo>
                  <a:pt x="2402" y="2842"/>
                </a:lnTo>
                <a:lnTo>
                  <a:pt x="2417" y="2828"/>
                </a:lnTo>
                <a:lnTo>
                  <a:pt x="2433" y="2812"/>
                </a:lnTo>
                <a:lnTo>
                  <a:pt x="2446" y="2795"/>
                </a:lnTo>
                <a:lnTo>
                  <a:pt x="2457" y="2775"/>
                </a:lnTo>
                <a:lnTo>
                  <a:pt x="2467" y="2754"/>
                </a:lnTo>
                <a:lnTo>
                  <a:pt x="2476" y="2731"/>
                </a:lnTo>
                <a:lnTo>
                  <a:pt x="2484" y="2706"/>
                </a:lnTo>
                <a:lnTo>
                  <a:pt x="2489" y="2678"/>
                </a:lnTo>
                <a:lnTo>
                  <a:pt x="2494" y="2648"/>
                </a:lnTo>
                <a:lnTo>
                  <a:pt x="2496" y="2615"/>
                </a:lnTo>
                <a:lnTo>
                  <a:pt x="2497" y="2580"/>
                </a:lnTo>
                <a:lnTo>
                  <a:pt x="2496" y="2546"/>
                </a:lnTo>
                <a:lnTo>
                  <a:pt x="2493" y="2515"/>
                </a:lnTo>
                <a:lnTo>
                  <a:pt x="2489" y="2485"/>
                </a:lnTo>
                <a:lnTo>
                  <a:pt x="2483" y="2459"/>
                </a:lnTo>
                <a:lnTo>
                  <a:pt x="2476" y="2434"/>
                </a:lnTo>
                <a:lnTo>
                  <a:pt x="2467" y="2412"/>
                </a:lnTo>
                <a:lnTo>
                  <a:pt x="2457" y="2392"/>
                </a:lnTo>
                <a:lnTo>
                  <a:pt x="2445" y="2373"/>
                </a:lnTo>
                <a:lnTo>
                  <a:pt x="2432" y="2357"/>
                </a:lnTo>
                <a:lnTo>
                  <a:pt x="2416" y="2342"/>
                </a:lnTo>
                <a:lnTo>
                  <a:pt x="2401" y="2328"/>
                </a:lnTo>
                <a:lnTo>
                  <a:pt x="2384" y="2316"/>
                </a:lnTo>
                <a:lnTo>
                  <a:pt x="2366" y="2306"/>
                </a:lnTo>
                <a:lnTo>
                  <a:pt x="2348" y="2297"/>
                </a:lnTo>
                <a:lnTo>
                  <a:pt x="2328" y="2289"/>
                </a:lnTo>
                <a:lnTo>
                  <a:pt x="2306" y="2282"/>
                </a:lnTo>
                <a:lnTo>
                  <a:pt x="2284" y="2277"/>
                </a:lnTo>
                <a:lnTo>
                  <a:pt x="2262" y="2273"/>
                </a:lnTo>
                <a:lnTo>
                  <a:pt x="2239" y="2269"/>
                </a:lnTo>
                <a:lnTo>
                  <a:pt x="2215" y="2267"/>
                </a:lnTo>
                <a:lnTo>
                  <a:pt x="2190" y="2265"/>
                </a:lnTo>
                <a:lnTo>
                  <a:pt x="2164" y="2263"/>
                </a:lnTo>
                <a:lnTo>
                  <a:pt x="2139" y="2263"/>
                </a:lnTo>
                <a:lnTo>
                  <a:pt x="2113" y="2262"/>
                </a:lnTo>
                <a:lnTo>
                  <a:pt x="2004" y="2264"/>
                </a:lnTo>
                <a:lnTo>
                  <a:pt x="1892" y="2266"/>
                </a:lnTo>
                <a:close/>
                <a:moveTo>
                  <a:pt x="194" y="849"/>
                </a:moveTo>
                <a:lnTo>
                  <a:pt x="135" y="1051"/>
                </a:lnTo>
                <a:lnTo>
                  <a:pt x="87" y="1302"/>
                </a:lnTo>
                <a:lnTo>
                  <a:pt x="48" y="1581"/>
                </a:lnTo>
                <a:lnTo>
                  <a:pt x="10" y="1880"/>
                </a:lnTo>
                <a:lnTo>
                  <a:pt x="0" y="2024"/>
                </a:lnTo>
                <a:lnTo>
                  <a:pt x="0" y="2179"/>
                </a:lnTo>
                <a:lnTo>
                  <a:pt x="0" y="2333"/>
                </a:lnTo>
                <a:lnTo>
                  <a:pt x="10" y="2487"/>
                </a:lnTo>
                <a:lnTo>
                  <a:pt x="48" y="2786"/>
                </a:lnTo>
                <a:lnTo>
                  <a:pt x="87" y="3066"/>
                </a:lnTo>
                <a:lnTo>
                  <a:pt x="135" y="3307"/>
                </a:lnTo>
                <a:lnTo>
                  <a:pt x="194" y="3519"/>
                </a:lnTo>
                <a:lnTo>
                  <a:pt x="232" y="3683"/>
                </a:lnTo>
                <a:lnTo>
                  <a:pt x="271" y="3827"/>
                </a:lnTo>
                <a:lnTo>
                  <a:pt x="551" y="3827"/>
                </a:lnTo>
                <a:lnTo>
                  <a:pt x="522" y="3751"/>
                </a:lnTo>
                <a:lnTo>
                  <a:pt x="473" y="3548"/>
                </a:lnTo>
                <a:lnTo>
                  <a:pt x="919" y="3548"/>
                </a:lnTo>
                <a:lnTo>
                  <a:pt x="967" y="3606"/>
                </a:lnTo>
                <a:lnTo>
                  <a:pt x="1005" y="3664"/>
                </a:lnTo>
                <a:lnTo>
                  <a:pt x="1064" y="3713"/>
                </a:lnTo>
                <a:lnTo>
                  <a:pt x="1112" y="3751"/>
                </a:lnTo>
                <a:lnTo>
                  <a:pt x="1170" y="3780"/>
                </a:lnTo>
                <a:lnTo>
                  <a:pt x="1218" y="3799"/>
                </a:lnTo>
                <a:lnTo>
                  <a:pt x="1286" y="3818"/>
                </a:lnTo>
                <a:lnTo>
                  <a:pt x="1343" y="3827"/>
                </a:lnTo>
                <a:lnTo>
                  <a:pt x="9671" y="3827"/>
                </a:lnTo>
                <a:lnTo>
                  <a:pt x="9718" y="3818"/>
                </a:lnTo>
                <a:lnTo>
                  <a:pt x="9767" y="3808"/>
                </a:lnTo>
                <a:lnTo>
                  <a:pt x="9815" y="3799"/>
                </a:lnTo>
                <a:lnTo>
                  <a:pt x="9864" y="3780"/>
                </a:lnTo>
                <a:lnTo>
                  <a:pt x="9950" y="3722"/>
                </a:lnTo>
                <a:lnTo>
                  <a:pt x="10028" y="3645"/>
                </a:lnTo>
                <a:lnTo>
                  <a:pt x="10096" y="3548"/>
                </a:lnTo>
                <a:lnTo>
                  <a:pt x="10163" y="3452"/>
                </a:lnTo>
                <a:lnTo>
                  <a:pt x="10222" y="3336"/>
                </a:lnTo>
                <a:lnTo>
                  <a:pt x="10269" y="3211"/>
                </a:lnTo>
                <a:lnTo>
                  <a:pt x="10318" y="3075"/>
                </a:lnTo>
                <a:lnTo>
                  <a:pt x="10357" y="2940"/>
                </a:lnTo>
                <a:lnTo>
                  <a:pt x="10396" y="2806"/>
                </a:lnTo>
                <a:lnTo>
                  <a:pt x="10425" y="2671"/>
                </a:lnTo>
                <a:lnTo>
                  <a:pt x="10453" y="2411"/>
                </a:lnTo>
                <a:lnTo>
                  <a:pt x="10473" y="2179"/>
                </a:lnTo>
                <a:lnTo>
                  <a:pt x="10453" y="1957"/>
                </a:lnTo>
                <a:lnTo>
                  <a:pt x="10425" y="1697"/>
                </a:lnTo>
                <a:lnTo>
                  <a:pt x="10396" y="1561"/>
                </a:lnTo>
                <a:lnTo>
                  <a:pt x="10357" y="1426"/>
                </a:lnTo>
                <a:lnTo>
                  <a:pt x="10318" y="1292"/>
                </a:lnTo>
                <a:lnTo>
                  <a:pt x="10269" y="1157"/>
                </a:lnTo>
                <a:lnTo>
                  <a:pt x="10222" y="1032"/>
                </a:lnTo>
                <a:lnTo>
                  <a:pt x="10163" y="916"/>
                </a:lnTo>
                <a:lnTo>
                  <a:pt x="10096" y="809"/>
                </a:lnTo>
                <a:lnTo>
                  <a:pt x="10028" y="723"/>
                </a:lnTo>
                <a:lnTo>
                  <a:pt x="9950" y="646"/>
                </a:lnTo>
                <a:lnTo>
                  <a:pt x="9864" y="588"/>
                </a:lnTo>
                <a:lnTo>
                  <a:pt x="9815" y="569"/>
                </a:lnTo>
                <a:lnTo>
                  <a:pt x="9767" y="559"/>
                </a:lnTo>
                <a:lnTo>
                  <a:pt x="9718" y="550"/>
                </a:lnTo>
                <a:lnTo>
                  <a:pt x="9671" y="540"/>
                </a:lnTo>
                <a:lnTo>
                  <a:pt x="5938" y="540"/>
                </a:lnTo>
                <a:lnTo>
                  <a:pt x="5938" y="328"/>
                </a:lnTo>
                <a:lnTo>
                  <a:pt x="6219" y="328"/>
                </a:lnTo>
                <a:lnTo>
                  <a:pt x="6219" y="0"/>
                </a:lnTo>
                <a:lnTo>
                  <a:pt x="4575" y="0"/>
                </a:lnTo>
                <a:lnTo>
                  <a:pt x="4575" y="328"/>
                </a:lnTo>
                <a:lnTo>
                  <a:pt x="4846" y="328"/>
                </a:lnTo>
                <a:lnTo>
                  <a:pt x="4846" y="540"/>
                </a:lnTo>
                <a:lnTo>
                  <a:pt x="1343" y="540"/>
                </a:lnTo>
                <a:lnTo>
                  <a:pt x="1286" y="550"/>
                </a:lnTo>
                <a:lnTo>
                  <a:pt x="1218" y="559"/>
                </a:lnTo>
                <a:lnTo>
                  <a:pt x="1170" y="588"/>
                </a:lnTo>
                <a:lnTo>
                  <a:pt x="1112" y="617"/>
                </a:lnTo>
                <a:lnTo>
                  <a:pt x="1064" y="655"/>
                </a:lnTo>
                <a:lnTo>
                  <a:pt x="1005" y="704"/>
                </a:lnTo>
                <a:lnTo>
                  <a:pt x="967" y="762"/>
                </a:lnTo>
                <a:lnTo>
                  <a:pt x="919" y="819"/>
                </a:lnTo>
                <a:lnTo>
                  <a:pt x="473" y="819"/>
                </a:lnTo>
                <a:lnTo>
                  <a:pt x="522" y="617"/>
                </a:lnTo>
                <a:lnTo>
                  <a:pt x="551" y="540"/>
                </a:lnTo>
                <a:lnTo>
                  <a:pt x="271" y="540"/>
                </a:lnTo>
                <a:lnTo>
                  <a:pt x="232" y="685"/>
                </a:lnTo>
                <a:lnTo>
                  <a:pt x="194" y="849"/>
                </a:lnTo>
                <a:close/>
                <a:moveTo>
                  <a:pt x="406" y="1089"/>
                </a:moveTo>
                <a:lnTo>
                  <a:pt x="773" y="1089"/>
                </a:lnTo>
                <a:lnTo>
                  <a:pt x="725" y="1224"/>
                </a:lnTo>
                <a:lnTo>
                  <a:pt x="677" y="1359"/>
                </a:lnTo>
                <a:lnTo>
                  <a:pt x="638" y="1495"/>
                </a:lnTo>
                <a:lnTo>
                  <a:pt x="609" y="1639"/>
                </a:lnTo>
                <a:lnTo>
                  <a:pt x="310" y="1639"/>
                </a:lnTo>
                <a:lnTo>
                  <a:pt x="357" y="1350"/>
                </a:lnTo>
                <a:lnTo>
                  <a:pt x="406" y="1089"/>
                </a:lnTo>
                <a:close/>
                <a:moveTo>
                  <a:pt x="609" y="2729"/>
                </a:moveTo>
                <a:lnTo>
                  <a:pt x="638" y="2873"/>
                </a:lnTo>
                <a:lnTo>
                  <a:pt x="677" y="3008"/>
                </a:lnTo>
                <a:lnTo>
                  <a:pt x="725" y="3143"/>
                </a:lnTo>
                <a:lnTo>
                  <a:pt x="773" y="3279"/>
                </a:lnTo>
                <a:lnTo>
                  <a:pt x="406" y="3279"/>
                </a:lnTo>
                <a:lnTo>
                  <a:pt x="357" y="3018"/>
                </a:lnTo>
                <a:lnTo>
                  <a:pt x="310" y="2729"/>
                </a:lnTo>
                <a:lnTo>
                  <a:pt x="609" y="2729"/>
                </a:lnTo>
                <a:close/>
                <a:moveTo>
                  <a:pt x="551" y="2314"/>
                </a:moveTo>
                <a:lnTo>
                  <a:pt x="570" y="2458"/>
                </a:lnTo>
                <a:lnTo>
                  <a:pt x="281" y="2458"/>
                </a:lnTo>
                <a:lnTo>
                  <a:pt x="271" y="2179"/>
                </a:lnTo>
                <a:lnTo>
                  <a:pt x="281" y="1909"/>
                </a:lnTo>
                <a:lnTo>
                  <a:pt x="570" y="1909"/>
                </a:lnTo>
                <a:lnTo>
                  <a:pt x="551" y="2054"/>
                </a:lnTo>
                <a:lnTo>
                  <a:pt x="551" y="2179"/>
                </a:lnTo>
                <a:lnTo>
                  <a:pt x="551" y="2314"/>
                </a:lnTo>
                <a:close/>
                <a:moveTo>
                  <a:pt x="1536" y="3233"/>
                </a:moveTo>
                <a:lnTo>
                  <a:pt x="1536" y="1089"/>
                </a:lnTo>
                <a:lnTo>
                  <a:pt x="2680" y="1089"/>
                </a:lnTo>
                <a:lnTo>
                  <a:pt x="2680" y="1415"/>
                </a:lnTo>
                <a:lnTo>
                  <a:pt x="1892" y="1415"/>
                </a:lnTo>
                <a:lnTo>
                  <a:pt x="1892" y="1939"/>
                </a:lnTo>
                <a:lnTo>
                  <a:pt x="1969" y="1939"/>
                </a:lnTo>
                <a:lnTo>
                  <a:pt x="2050" y="1939"/>
                </a:lnTo>
                <a:lnTo>
                  <a:pt x="2090" y="1939"/>
                </a:lnTo>
                <a:lnTo>
                  <a:pt x="2131" y="1940"/>
                </a:lnTo>
                <a:lnTo>
                  <a:pt x="2172" y="1942"/>
                </a:lnTo>
                <a:lnTo>
                  <a:pt x="2214" y="1944"/>
                </a:lnTo>
                <a:lnTo>
                  <a:pt x="2254" y="1947"/>
                </a:lnTo>
                <a:lnTo>
                  <a:pt x="2294" y="1951"/>
                </a:lnTo>
                <a:lnTo>
                  <a:pt x="2335" y="1956"/>
                </a:lnTo>
                <a:lnTo>
                  <a:pt x="2374" y="1962"/>
                </a:lnTo>
                <a:lnTo>
                  <a:pt x="2413" y="1970"/>
                </a:lnTo>
                <a:lnTo>
                  <a:pt x="2451" y="1979"/>
                </a:lnTo>
                <a:lnTo>
                  <a:pt x="2488" y="1991"/>
                </a:lnTo>
                <a:lnTo>
                  <a:pt x="2524" y="2003"/>
                </a:lnTo>
                <a:lnTo>
                  <a:pt x="2559" y="2018"/>
                </a:lnTo>
                <a:lnTo>
                  <a:pt x="2593" y="2035"/>
                </a:lnTo>
                <a:lnTo>
                  <a:pt x="2625" y="2055"/>
                </a:lnTo>
                <a:lnTo>
                  <a:pt x="2656" y="2077"/>
                </a:lnTo>
                <a:lnTo>
                  <a:pt x="2684" y="2101"/>
                </a:lnTo>
                <a:lnTo>
                  <a:pt x="2711" y="2127"/>
                </a:lnTo>
                <a:lnTo>
                  <a:pt x="2736" y="2157"/>
                </a:lnTo>
                <a:lnTo>
                  <a:pt x="2760" y="2189"/>
                </a:lnTo>
                <a:lnTo>
                  <a:pt x="2780" y="2225"/>
                </a:lnTo>
                <a:lnTo>
                  <a:pt x="2799" y="2264"/>
                </a:lnTo>
                <a:lnTo>
                  <a:pt x="2814" y="2305"/>
                </a:lnTo>
                <a:lnTo>
                  <a:pt x="2827" y="2352"/>
                </a:lnTo>
                <a:lnTo>
                  <a:pt x="2838" y="2400"/>
                </a:lnTo>
                <a:lnTo>
                  <a:pt x="2846" y="2453"/>
                </a:lnTo>
                <a:lnTo>
                  <a:pt x="2850" y="2510"/>
                </a:lnTo>
                <a:lnTo>
                  <a:pt x="2852" y="2571"/>
                </a:lnTo>
                <a:lnTo>
                  <a:pt x="2850" y="2642"/>
                </a:lnTo>
                <a:lnTo>
                  <a:pt x="2844" y="2709"/>
                </a:lnTo>
                <a:lnTo>
                  <a:pt x="2834" y="2770"/>
                </a:lnTo>
                <a:lnTo>
                  <a:pt x="2821" y="2828"/>
                </a:lnTo>
                <a:lnTo>
                  <a:pt x="2804" y="2879"/>
                </a:lnTo>
                <a:lnTo>
                  <a:pt x="2784" y="2927"/>
                </a:lnTo>
                <a:lnTo>
                  <a:pt x="2760" y="2971"/>
                </a:lnTo>
                <a:lnTo>
                  <a:pt x="2733" y="3010"/>
                </a:lnTo>
                <a:lnTo>
                  <a:pt x="2703" y="3045"/>
                </a:lnTo>
                <a:lnTo>
                  <a:pt x="2671" y="3076"/>
                </a:lnTo>
                <a:lnTo>
                  <a:pt x="2635" y="3105"/>
                </a:lnTo>
                <a:lnTo>
                  <a:pt x="2598" y="3130"/>
                </a:lnTo>
                <a:lnTo>
                  <a:pt x="2558" y="3152"/>
                </a:lnTo>
                <a:lnTo>
                  <a:pt x="2515" y="3170"/>
                </a:lnTo>
                <a:lnTo>
                  <a:pt x="2471" y="3186"/>
                </a:lnTo>
                <a:lnTo>
                  <a:pt x="2425" y="3200"/>
                </a:lnTo>
                <a:lnTo>
                  <a:pt x="2376" y="3211"/>
                </a:lnTo>
                <a:lnTo>
                  <a:pt x="2327" y="3220"/>
                </a:lnTo>
                <a:lnTo>
                  <a:pt x="2275" y="3227"/>
                </a:lnTo>
                <a:lnTo>
                  <a:pt x="2223" y="3233"/>
                </a:lnTo>
                <a:lnTo>
                  <a:pt x="2169" y="3237"/>
                </a:lnTo>
                <a:lnTo>
                  <a:pt x="2114" y="3239"/>
                </a:lnTo>
                <a:lnTo>
                  <a:pt x="2058" y="3241"/>
                </a:lnTo>
                <a:lnTo>
                  <a:pt x="2002" y="3241"/>
                </a:lnTo>
                <a:lnTo>
                  <a:pt x="1886" y="3240"/>
                </a:lnTo>
                <a:lnTo>
                  <a:pt x="1769" y="3237"/>
                </a:lnTo>
                <a:lnTo>
                  <a:pt x="1652" y="3234"/>
                </a:lnTo>
                <a:lnTo>
                  <a:pt x="1536" y="3233"/>
                </a:lnTo>
                <a:close/>
                <a:moveTo>
                  <a:pt x="3115" y="3233"/>
                </a:moveTo>
                <a:lnTo>
                  <a:pt x="3115" y="1089"/>
                </a:lnTo>
                <a:lnTo>
                  <a:pt x="3464" y="1089"/>
                </a:lnTo>
                <a:lnTo>
                  <a:pt x="3464" y="2525"/>
                </a:lnTo>
                <a:lnTo>
                  <a:pt x="3473" y="2528"/>
                </a:lnTo>
                <a:lnTo>
                  <a:pt x="4196" y="1089"/>
                </a:lnTo>
                <a:lnTo>
                  <a:pt x="4523" y="1089"/>
                </a:lnTo>
                <a:lnTo>
                  <a:pt x="4523" y="3233"/>
                </a:lnTo>
                <a:lnTo>
                  <a:pt x="4172" y="3233"/>
                </a:lnTo>
                <a:lnTo>
                  <a:pt x="4172" y="1834"/>
                </a:lnTo>
                <a:lnTo>
                  <a:pt x="4165" y="1834"/>
                </a:lnTo>
                <a:lnTo>
                  <a:pt x="3448" y="3233"/>
                </a:lnTo>
                <a:lnTo>
                  <a:pt x="3115" y="3233"/>
                </a:lnTo>
                <a:close/>
                <a:moveTo>
                  <a:pt x="5190" y="3233"/>
                </a:moveTo>
                <a:lnTo>
                  <a:pt x="5190" y="1409"/>
                </a:lnTo>
                <a:lnTo>
                  <a:pt x="4718" y="1409"/>
                </a:lnTo>
                <a:lnTo>
                  <a:pt x="4718" y="1089"/>
                </a:lnTo>
                <a:lnTo>
                  <a:pt x="6018" y="1089"/>
                </a:lnTo>
                <a:lnTo>
                  <a:pt x="6018" y="1409"/>
                </a:lnTo>
                <a:lnTo>
                  <a:pt x="5542" y="1409"/>
                </a:lnTo>
                <a:lnTo>
                  <a:pt x="5542" y="3233"/>
                </a:lnTo>
                <a:lnTo>
                  <a:pt x="5190" y="3233"/>
                </a:lnTo>
                <a:close/>
                <a:moveTo>
                  <a:pt x="6630" y="2706"/>
                </a:moveTo>
                <a:lnTo>
                  <a:pt x="6070" y="1092"/>
                </a:lnTo>
                <a:lnTo>
                  <a:pt x="6436" y="1092"/>
                </a:lnTo>
                <a:lnTo>
                  <a:pt x="6794" y="2260"/>
                </a:lnTo>
                <a:lnTo>
                  <a:pt x="6809" y="2260"/>
                </a:lnTo>
                <a:lnTo>
                  <a:pt x="7139" y="1092"/>
                </a:lnTo>
                <a:lnTo>
                  <a:pt x="7486" y="1092"/>
                </a:lnTo>
                <a:lnTo>
                  <a:pt x="7457" y="1185"/>
                </a:lnTo>
                <a:lnTo>
                  <a:pt x="7423" y="1298"/>
                </a:lnTo>
                <a:lnTo>
                  <a:pt x="7385" y="1427"/>
                </a:lnTo>
                <a:lnTo>
                  <a:pt x="7343" y="1571"/>
                </a:lnTo>
                <a:lnTo>
                  <a:pt x="7297" y="1726"/>
                </a:lnTo>
                <a:lnTo>
                  <a:pt x="7248" y="1889"/>
                </a:lnTo>
                <a:lnTo>
                  <a:pt x="7198" y="2054"/>
                </a:lnTo>
                <a:lnTo>
                  <a:pt x="7145" y="2220"/>
                </a:lnTo>
                <a:lnTo>
                  <a:pt x="7119" y="2302"/>
                </a:lnTo>
                <a:lnTo>
                  <a:pt x="7092" y="2384"/>
                </a:lnTo>
                <a:lnTo>
                  <a:pt x="7065" y="2463"/>
                </a:lnTo>
                <a:lnTo>
                  <a:pt x="7037" y="2541"/>
                </a:lnTo>
                <a:lnTo>
                  <a:pt x="7010" y="2615"/>
                </a:lnTo>
                <a:lnTo>
                  <a:pt x="6983" y="2688"/>
                </a:lnTo>
                <a:lnTo>
                  <a:pt x="6956" y="2757"/>
                </a:lnTo>
                <a:lnTo>
                  <a:pt x="6928" y="2823"/>
                </a:lnTo>
                <a:lnTo>
                  <a:pt x="6902" y="2884"/>
                </a:lnTo>
                <a:lnTo>
                  <a:pt x="6876" y="2940"/>
                </a:lnTo>
                <a:lnTo>
                  <a:pt x="6850" y="2993"/>
                </a:lnTo>
                <a:lnTo>
                  <a:pt x="6824" y="3039"/>
                </a:lnTo>
                <a:lnTo>
                  <a:pt x="6799" y="3080"/>
                </a:lnTo>
                <a:lnTo>
                  <a:pt x="6775" y="3115"/>
                </a:lnTo>
                <a:lnTo>
                  <a:pt x="6752" y="3143"/>
                </a:lnTo>
                <a:lnTo>
                  <a:pt x="6728" y="3164"/>
                </a:lnTo>
                <a:lnTo>
                  <a:pt x="6268" y="3245"/>
                </a:lnTo>
                <a:lnTo>
                  <a:pt x="6268" y="2956"/>
                </a:lnTo>
                <a:lnTo>
                  <a:pt x="6346" y="2956"/>
                </a:lnTo>
                <a:lnTo>
                  <a:pt x="6407" y="2955"/>
                </a:lnTo>
                <a:lnTo>
                  <a:pt x="6432" y="2952"/>
                </a:lnTo>
                <a:lnTo>
                  <a:pt x="6454" y="2948"/>
                </a:lnTo>
                <a:lnTo>
                  <a:pt x="6464" y="2946"/>
                </a:lnTo>
                <a:lnTo>
                  <a:pt x="6474" y="2942"/>
                </a:lnTo>
                <a:lnTo>
                  <a:pt x="6483" y="2938"/>
                </a:lnTo>
                <a:lnTo>
                  <a:pt x="6491" y="2934"/>
                </a:lnTo>
                <a:lnTo>
                  <a:pt x="6499" y="2929"/>
                </a:lnTo>
                <a:lnTo>
                  <a:pt x="6507" y="2923"/>
                </a:lnTo>
                <a:lnTo>
                  <a:pt x="6516" y="2917"/>
                </a:lnTo>
                <a:lnTo>
                  <a:pt x="6523" y="2910"/>
                </a:lnTo>
                <a:lnTo>
                  <a:pt x="6530" y="2902"/>
                </a:lnTo>
                <a:lnTo>
                  <a:pt x="6537" y="2894"/>
                </a:lnTo>
                <a:lnTo>
                  <a:pt x="6544" y="2884"/>
                </a:lnTo>
                <a:lnTo>
                  <a:pt x="6551" y="2874"/>
                </a:lnTo>
                <a:lnTo>
                  <a:pt x="6565" y="2850"/>
                </a:lnTo>
                <a:lnTo>
                  <a:pt x="6580" y="2822"/>
                </a:lnTo>
                <a:lnTo>
                  <a:pt x="6596" y="2788"/>
                </a:lnTo>
                <a:lnTo>
                  <a:pt x="6614" y="2751"/>
                </a:lnTo>
                <a:lnTo>
                  <a:pt x="6630" y="2706"/>
                </a:lnTo>
                <a:close/>
                <a:moveTo>
                  <a:pt x="7708" y="3233"/>
                </a:moveTo>
                <a:lnTo>
                  <a:pt x="7708" y="1089"/>
                </a:lnTo>
                <a:lnTo>
                  <a:pt x="8045" y="1089"/>
                </a:lnTo>
                <a:lnTo>
                  <a:pt x="8557" y="2309"/>
                </a:lnTo>
                <a:lnTo>
                  <a:pt x="8570" y="2309"/>
                </a:lnTo>
                <a:lnTo>
                  <a:pt x="9073" y="1089"/>
                </a:lnTo>
                <a:lnTo>
                  <a:pt x="9412" y="1089"/>
                </a:lnTo>
                <a:lnTo>
                  <a:pt x="9412" y="3233"/>
                </a:lnTo>
                <a:lnTo>
                  <a:pt x="9061" y="3233"/>
                </a:lnTo>
                <a:lnTo>
                  <a:pt x="9061" y="1979"/>
                </a:lnTo>
                <a:lnTo>
                  <a:pt x="9048" y="1979"/>
                </a:lnTo>
                <a:lnTo>
                  <a:pt x="8687" y="2848"/>
                </a:lnTo>
                <a:lnTo>
                  <a:pt x="8437" y="2848"/>
                </a:lnTo>
                <a:lnTo>
                  <a:pt x="8072" y="1976"/>
                </a:lnTo>
                <a:lnTo>
                  <a:pt x="8060" y="1979"/>
                </a:lnTo>
                <a:lnTo>
                  <a:pt x="8060" y="3233"/>
                </a:lnTo>
                <a:lnTo>
                  <a:pt x="7708" y="3233"/>
                </a:lnTo>
                <a:close/>
                <a:moveTo>
                  <a:pt x="2147" y="5104"/>
                </a:moveTo>
                <a:lnTo>
                  <a:pt x="2238" y="5049"/>
                </a:lnTo>
                <a:lnTo>
                  <a:pt x="2328" y="5031"/>
                </a:lnTo>
                <a:lnTo>
                  <a:pt x="2437" y="5049"/>
                </a:lnTo>
                <a:lnTo>
                  <a:pt x="2508" y="5104"/>
                </a:lnTo>
                <a:lnTo>
                  <a:pt x="2563" y="5176"/>
                </a:lnTo>
                <a:lnTo>
                  <a:pt x="2581" y="5284"/>
                </a:lnTo>
                <a:lnTo>
                  <a:pt x="2563" y="5375"/>
                </a:lnTo>
                <a:lnTo>
                  <a:pt x="2508" y="5465"/>
                </a:lnTo>
                <a:lnTo>
                  <a:pt x="2437" y="5519"/>
                </a:lnTo>
                <a:lnTo>
                  <a:pt x="2328" y="5537"/>
                </a:lnTo>
                <a:lnTo>
                  <a:pt x="2238" y="5519"/>
                </a:lnTo>
                <a:lnTo>
                  <a:pt x="2147" y="5465"/>
                </a:lnTo>
                <a:lnTo>
                  <a:pt x="2092" y="5375"/>
                </a:lnTo>
                <a:lnTo>
                  <a:pt x="2074" y="5284"/>
                </a:lnTo>
                <a:lnTo>
                  <a:pt x="2092" y="5176"/>
                </a:lnTo>
                <a:lnTo>
                  <a:pt x="2147" y="5104"/>
                </a:lnTo>
                <a:close/>
                <a:moveTo>
                  <a:pt x="5060" y="5122"/>
                </a:moveTo>
                <a:lnTo>
                  <a:pt x="5024" y="4978"/>
                </a:lnTo>
                <a:lnTo>
                  <a:pt x="4951" y="4851"/>
                </a:lnTo>
                <a:lnTo>
                  <a:pt x="4861" y="4743"/>
                </a:lnTo>
                <a:lnTo>
                  <a:pt x="4752" y="4653"/>
                </a:lnTo>
                <a:lnTo>
                  <a:pt x="4608" y="4580"/>
                </a:lnTo>
                <a:lnTo>
                  <a:pt x="4462" y="4527"/>
                </a:lnTo>
                <a:lnTo>
                  <a:pt x="4318" y="4509"/>
                </a:lnTo>
                <a:lnTo>
                  <a:pt x="4155" y="4527"/>
                </a:lnTo>
                <a:lnTo>
                  <a:pt x="4010" y="4580"/>
                </a:lnTo>
                <a:lnTo>
                  <a:pt x="3884" y="4653"/>
                </a:lnTo>
                <a:lnTo>
                  <a:pt x="3775" y="4743"/>
                </a:lnTo>
                <a:lnTo>
                  <a:pt x="3685" y="4851"/>
                </a:lnTo>
                <a:lnTo>
                  <a:pt x="3613" y="4978"/>
                </a:lnTo>
                <a:lnTo>
                  <a:pt x="3558" y="5122"/>
                </a:lnTo>
                <a:lnTo>
                  <a:pt x="3540" y="5284"/>
                </a:lnTo>
                <a:lnTo>
                  <a:pt x="3558" y="5429"/>
                </a:lnTo>
                <a:lnTo>
                  <a:pt x="3613" y="5573"/>
                </a:lnTo>
                <a:lnTo>
                  <a:pt x="3685" y="5717"/>
                </a:lnTo>
                <a:lnTo>
                  <a:pt x="3775" y="5826"/>
                </a:lnTo>
                <a:lnTo>
                  <a:pt x="3884" y="5916"/>
                </a:lnTo>
                <a:lnTo>
                  <a:pt x="4010" y="5988"/>
                </a:lnTo>
                <a:lnTo>
                  <a:pt x="4155" y="6024"/>
                </a:lnTo>
                <a:lnTo>
                  <a:pt x="4318" y="6042"/>
                </a:lnTo>
                <a:lnTo>
                  <a:pt x="4462" y="6024"/>
                </a:lnTo>
                <a:lnTo>
                  <a:pt x="4608" y="5988"/>
                </a:lnTo>
                <a:lnTo>
                  <a:pt x="4752" y="5916"/>
                </a:lnTo>
                <a:lnTo>
                  <a:pt x="4861" y="5826"/>
                </a:lnTo>
                <a:lnTo>
                  <a:pt x="4951" y="5717"/>
                </a:lnTo>
                <a:lnTo>
                  <a:pt x="5024" y="5573"/>
                </a:lnTo>
                <a:lnTo>
                  <a:pt x="5060" y="5429"/>
                </a:lnTo>
                <a:lnTo>
                  <a:pt x="5078" y="5284"/>
                </a:lnTo>
                <a:lnTo>
                  <a:pt x="5060" y="5122"/>
                </a:lnTo>
                <a:close/>
                <a:moveTo>
                  <a:pt x="4499" y="5104"/>
                </a:moveTo>
                <a:lnTo>
                  <a:pt x="4553" y="5176"/>
                </a:lnTo>
                <a:lnTo>
                  <a:pt x="4571" y="5284"/>
                </a:lnTo>
                <a:lnTo>
                  <a:pt x="4553" y="5375"/>
                </a:lnTo>
                <a:lnTo>
                  <a:pt x="4499" y="5465"/>
                </a:lnTo>
                <a:lnTo>
                  <a:pt x="4408" y="5519"/>
                </a:lnTo>
                <a:lnTo>
                  <a:pt x="4318" y="5537"/>
                </a:lnTo>
                <a:lnTo>
                  <a:pt x="4209" y="5519"/>
                </a:lnTo>
                <a:lnTo>
                  <a:pt x="4137" y="5465"/>
                </a:lnTo>
                <a:lnTo>
                  <a:pt x="4083" y="5375"/>
                </a:lnTo>
                <a:lnTo>
                  <a:pt x="4065" y="5284"/>
                </a:lnTo>
                <a:lnTo>
                  <a:pt x="4083" y="5176"/>
                </a:lnTo>
                <a:lnTo>
                  <a:pt x="4137" y="5104"/>
                </a:lnTo>
                <a:lnTo>
                  <a:pt x="4209" y="5049"/>
                </a:lnTo>
                <a:lnTo>
                  <a:pt x="4318" y="5031"/>
                </a:lnTo>
                <a:lnTo>
                  <a:pt x="4408" y="5049"/>
                </a:lnTo>
                <a:lnTo>
                  <a:pt x="4499" y="5104"/>
                </a:lnTo>
                <a:close/>
                <a:moveTo>
                  <a:pt x="9764" y="5284"/>
                </a:moveTo>
                <a:lnTo>
                  <a:pt x="9746" y="5122"/>
                </a:lnTo>
                <a:lnTo>
                  <a:pt x="9709" y="4978"/>
                </a:lnTo>
                <a:lnTo>
                  <a:pt x="9638" y="4851"/>
                </a:lnTo>
                <a:lnTo>
                  <a:pt x="9547" y="4743"/>
                </a:lnTo>
                <a:lnTo>
                  <a:pt x="9419" y="4653"/>
                </a:lnTo>
                <a:lnTo>
                  <a:pt x="9293" y="4580"/>
                </a:lnTo>
                <a:lnTo>
                  <a:pt x="9148" y="4527"/>
                </a:lnTo>
                <a:lnTo>
                  <a:pt x="9004" y="4509"/>
                </a:lnTo>
                <a:lnTo>
                  <a:pt x="8841" y="4527"/>
                </a:lnTo>
                <a:lnTo>
                  <a:pt x="8696" y="4580"/>
                </a:lnTo>
                <a:lnTo>
                  <a:pt x="8570" y="4653"/>
                </a:lnTo>
                <a:lnTo>
                  <a:pt x="8461" y="4743"/>
                </a:lnTo>
                <a:lnTo>
                  <a:pt x="8353" y="4851"/>
                </a:lnTo>
                <a:lnTo>
                  <a:pt x="8280" y="4978"/>
                </a:lnTo>
                <a:lnTo>
                  <a:pt x="8244" y="5122"/>
                </a:lnTo>
                <a:lnTo>
                  <a:pt x="8225" y="5284"/>
                </a:lnTo>
                <a:lnTo>
                  <a:pt x="8244" y="5429"/>
                </a:lnTo>
                <a:lnTo>
                  <a:pt x="8280" y="5573"/>
                </a:lnTo>
                <a:lnTo>
                  <a:pt x="8353" y="5717"/>
                </a:lnTo>
                <a:lnTo>
                  <a:pt x="8461" y="5826"/>
                </a:lnTo>
                <a:lnTo>
                  <a:pt x="8570" y="5916"/>
                </a:lnTo>
                <a:lnTo>
                  <a:pt x="8696" y="5988"/>
                </a:lnTo>
                <a:lnTo>
                  <a:pt x="8841" y="6024"/>
                </a:lnTo>
                <a:lnTo>
                  <a:pt x="9004" y="6042"/>
                </a:lnTo>
                <a:lnTo>
                  <a:pt x="9148" y="6024"/>
                </a:lnTo>
                <a:lnTo>
                  <a:pt x="9293" y="5988"/>
                </a:lnTo>
                <a:lnTo>
                  <a:pt x="9419" y="5916"/>
                </a:lnTo>
                <a:lnTo>
                  <a:pt x="9547" y="5826"/>
                </a:lnTo>
                <a:lnTo>
                  <a:pt x="9638" y="5717"/>
                </a:lnTo>
                <a:lnTo>
                  <a:pt x="9709" y="5573"/>
                </a:lnTo>
                <a:lnTo>
                  <a:pt x="9746" y="5429"/>
                </a:lnTo>
                <a:lnTo>
                  <a:pt x="9764" y="5284"/>
                </a:lnTo>
                <a:close/>
                <a:moveTo>
                  <a:pt x="9184" y="5104"/>
                </a:moveTo>
                <a:lnTo>
                  <a:pt x="9239" y="5176"/>
                </a:lnTo>
                <a:lnTo>
                  <a:pt x="9257" y="5284"/>
                </a:lnTo>
                <a:lnTo>
                  <a:pt x="9239" y="5375"/>
                </a:lnTo>
                <a:lnTo>
                  <a:pt x="9184" y="5465"/>
                </a:lnTo>
                <a:lnTo>
                  <a:pt x="9094" y="5519"/>
                </a:lnTo>
                <a:lnTo>
                  <a:pt x="9004" y="5537"/>
                </a:lnTo>
                <a:lnTo>
                  <a:pt x="8896" y="5519"/>
                </a:lnTo>
                <a:lnTo>
                  <a:pt x="8823" y="5465"/>
                </a:lnTo>
                <a:lnTo>
                  <a:pt x="8768" y="5375"/>
                </a:lnTo>
                <a:lnTo>
                  <a:pt x="8732" y="5284"/>
                </a:lnTo>
                <a:lnTo>
                  <a:pt x="8768" y="5176"/>
                </a:lnTo>
                <a:lnTo>
                  <a:pt x="8823" y="5104"/>
                </a:lnTo>
                <a:lnTo>
                  <a:pt x="8896" y="5049"/>
                </a:lnTo>
                <a:lnTo>
                  <a:pt x="9004" y="5031"/>
                </a:lnTo>
                <a:lnTo>
                  <a:pt x="9094" y="5049"/>
                </a:lnTo>
                <a:lnTo>
                  <a:pt x="9184" y="5104"/>
                </a:lnTo>
                <a:close/>
                <a:moveTo>
                  <a:pt x="13581" y="5284"/>
                </a:moveTo>
                <a:lnTo>
                  <a:pt x="13599" y="5429"/>
                </a:lnTo>
                <a:lnTo>
                  <a:pt x="13636" y="5573"/>
                </a:lnTo>
                <a:lnTo>
                  <a:pt x="13707" y="5717"/>
                </a:lnTo>
                <a:lnTo>
                  <a:pt x="13798" y="5826"/>
                </a:lnTo>
                <a:lnTo>
                  <a:pt x="13924" y="5916"/>
                </a:lnTo>
                <a:lnTo>
                  <a:pt x="14052" y="5988"/>
                </a:lnTo>
                <a:lnTo>
                  <a:pt x="14196" y="6024"/>
                </a:lnTo>
                <a:lnTo>
                  <a:pt x="14341" y="6042"/>
                </a:lnTo>
                <a:lnTo>
                  <a:pt x="14504" y="6024"/>
                </a:lnTo>
                <a:lnTo>
                  <a:pt x="14648" y="5988"/>
                </a:lnTo>
                <a:lnTo>
                  <a:pt x="14775" y="5916"/>
                </a:lnTo>
                <a:lnTo>
                  <a:pt x="14883" y="5826"/>
                </a:lnTo>
                <a:lnTo>
                  <a:pt x="14992" y="5717"/>
                </a:lnTo>
                <a:lnTo>
                  <a:pt x="15065" y="5573"/>
                </a:lnTo>
                <a:lnTo>
                  <a:pt x="15100" y="5429"/>
                </a:lnTo>
                <a:lnTo>
                  <a:pt x="15118" y="5284"/>
                </a:lnTo>
                <a:lnTo>
                  <a:pt x="15100" y="5122"/>
                </a:lnTo>
                <a:lnTo>
                  <a:pt x="15065" y="4978"/>
                </a:lnTo>
                <a:lnTo>
                  <a:pt x="14992" y="4851"/>
                </a:lnTo>
                <a:lnTo>
                  <a:pt x="14883" y="4743"/>
                </a:lnTo>
                <a:lnTo>
                  <a:pt x="14775" y="4653"/>
                </a:lnTo>
                <a:lnTo>
                  <a:pt x="14648" y="4580"/>
                </a:lnTo>
                <a:lnTo>
                  <a:pt x="14504" y="4527"/>
                </a:lnTo>
                <a:lnTo>
                  <a:pt x="14341" y="4509"/>
                </a:lnTo>
                <a:lnTo>
                  <a:pt x="14196" y="4527"/>
                </a:lnTo>
                <a:lnTo>
                  <a:pt x="14052" y="4580"/>
                </a:lnTo>
                <a:lnTo>
                  <a:pt x="13924" y="4653"/>
                </a:lnTo>
                <a:lnTo>
                  <a:pt x="13798" y="4743"/>
                </a:lnTo>
                <a:lnTo>
                  <a:pt x="13707" y="4851"/>
                </a:lnTo>
                <a:lnTo>
                  <a:pt x="13636" y="4978"/>
                </a:lnTo>
                <a:lnTo>
                  <a:pt x="13599" y="5122"/>
                </a:lnTo>
                <a:lnTo>
                  <a:pt x="13581" y="5284"/>
                </a:lnTo>
                <a:close/>
                <a:moveTo>
                  <a:pt x="14250" y="5519"/>
                </a:moveTo>
                <a:lnTo>
                  <a:pt x="14160" y="5465"/>
                </a:lnTo>
                <a:lnTo>
                  <a:pt x="14106" y="5375"/>
                </a:lnTo>
                <a:lnTo>
                  <a:pt x="14088" y="5284"/>
                </a:lnTo>
                <a:lnTo>
                  <a:pt x="14106" y="5176"/>
                </a:lnTo>
                <a:lnTo>
                  <a:pt x="14160" y="5104"/>
                </a:lnTo>
                <a:lnTo>
                  <a:pt x="14250" y="5049"/>
                </a:lnTo>
                <a:lnTo>
                  <a:pt x="14341" y="5031"/>
                </a:lnTo>
                <a:lnTo>
                  <a:pt x="14449" y="5049"/>
                </a:lnTo>
                <a:lnTo>
                  <a:pt x="14522" y="5104"/>
                </a:lnTo>
                <a:lnTo>
                  <a:pt x="14576" y="5176"/>
                </a:lnTo>
                <a:lnTo>
                  <a:pt x="14612" y="5284"/>
                </a:lnTo>
                <a:lnTo>
                  <a:pt x="14576" y="5375"/>
                </a:lnTo>
                <a:lnTo>
                  <a:pt x="14522" y="5465"/>
                </a:lnTo>
                <a:lnTo>
                  <a:pt x="14449" y="5519"/>
                </a:lnTo>
                <a:lnTo>
                  <a:pt x="14341" y="5537"/>
                </a:lnTo>
                <a:lnTo>
                  <a:pt x="14250" y="5519"/>
                </a:lnTo>
                <a:close/>
                <a:moveTo>
                  <a:pt x="2798" y="4346"/>
                </a:moveTo>
                <a:lnTo>
                  <a:pt x="2943" y="4418"/>
                </a:lnTo>
                <a:lnTo>
                  <a:pt x="3070" y="4527"/>
                </a:lnTo>
                <a:lnTo>
                  <a:pt x="3160" y="4635"/>
                </a:lnTo>
                <a:lnTo>
                  <a:pt x="3250" y="4780"/>
                </a:lnTo>
                <a:lnTo>
                  <a:pt x="3323" y="4924"/>
                </a:lnTo>
                <a:lnTo>
                  <a:pt x="3396" y="4780"/>
                </a:lnTo>
                <a:lnTo>
                  <a:pt x="3467" y="4635"/>
                </a:lnTo>
                <a:lnTo>
                  <a:pt x="3576" y="4527"/>
                </a:lnTo>
                <a:lnTo>
                  <a:pt x="3702" y="4418"/>
                </a:lnTo>
                <a:lnTo>
                  <a:pt x="3848" y="4346"/>
                </a:lnTo>
                <a:lnTo>
                  <a:pt x="3956" y="4292"/>
                </a:lnTo>
                <a:lnTo>
                  <a:pt x="2690" y="4292"/>
                </a:lnTo>
                <a:lnTo>
                  <a:pt x="2798" y="4346"/>
                </a:lnTo>
                <a:close/>
                <a:moveTo>
                  <a:pt x="1478" y="4292"/>
                </a:moveTo>
                <a:lnTo>
                  <a:pt x="754" y="4292"/>
                </a:lnTo>
                <a:lnTo>
                  <a:pt x="754" y="5320"/>
                </a:lnTo>
                <a:lnTo>
                  <a:pt x="1279" y="5320"/>
                </a:lnTo>
                <a:lnTo>
                  <a:pt x="1279" y="5284"/>
                </a:lnTo>
                <a:lnTo>
                  <a:pt x="1279" y="5176"/>
                </a:lnTo>
                <a:lnTo>
                  <a:pt x="1297" y="5068"/>
                </a:lnTo>
                <a:lnTo>
                  <a:pt x="1351" y="4869"/>
                </a:lnTo>
                <a:lnTo>
                  <a:pt x="1460" y="4689"/>
                </a:lnTo>
                <a:lnTo>
                  <a:pt x="1586" y="4527"/>
                </a:lnTo>
                <a:lnTo>
                  <a:pt x="1731" y="4400"/>
                </a:lnTo>
                <a:lnTo>
                  <a:pt x="1912" y="4310"/>
                </a:lnTo>
                <a:lnTo>
                  <a:pt x="1961" y="4292"/>
                </a:lnTo>
                <a:lnTo>
                  <a:pt x="1478" y="4292"/>
                </a:lnTo>
                <a:close/>
                <a:moveTo>
                  <a:pt x="9746" y="4527"/>
                </a:moveTo>
                <a:lnTo>
                  <a:pt x="9872" y="4689"/>
                </a:lnTo>
                <a:lnTo>
                  <a:pt x="9981" y="4869"/>
                </a:lnTo>
                <a:lnTo>
                  <a:pt x="10035" y="5068"/>
                </a:lnTo>
                <a:lnTo>
                  <a:pt x="10053" y="5176"/>
                </a:lnTo>
                <a:lnTo>
                  <a:pt x="10053" y="5284"/>
                </a:lnTo>
                <a:lnTo>
                  <a:pt x="10090" y="5302"/>
                </a:lnTo>
                <a:lnTo>
                  <a:pt x="10270" y="5320"/>
                </a:lnTo>
                <a:lnTo>
                  <a:pt x="13038" y="5320"/>
                </a:lnTo>
                <a:lnTo>
                  <a:pt x="13291" y="5320"/>
                </a:lnTo>
                <a:lnTo>
                  <a:pt x="13291" y="5284"/>
                </a:lnTo>
                <a:lnTo>
                  <a:pt x="13291" y="5176"/>
                </a:lnTo>
                <a:lnTo>
                  <a:pt x="13310" y="5068"/>
                </a:lnTo>
                <a:lnTo>
                  <a:pt x="13382" y="4869"/>
                </a:lnTo>
                <a:lnTo>
                  <a:pt x="13472" y="4689"/>
                </a:lnTo>
                <a:lnTo>
                  <a:pt x="13599" y="4527"/>
                </a:lnTo>
                <a:lnTo>
                  <a:pt x="13762" y="4400"/>
                </a:lnTo>
                <a:lnTo>
                  <a:pt x="13942" y="4310"/>
                </a:lnTo>
                <a:lnTo>
                  <a:pt x="14142" y="4238"/>
                </a:lnTo>
                <a:lnTo>
                  <a:pt x="14232" y="4238"/>
                </a:lnTo>
                <a:lnTo>
                  <a:pt x="14341" y="4220"/>
                </a:lnTo>
                <a:lnTo>
                  <a:pt x="14449" y="4238"/>
                </a:lnTo>
                <a:lnTo>
                  <a:pt x="14558" y="4238"/>
                </a:lnTo>
                <a:lnTo>
                  <a:pt x="14757" y="4310"/>
                </a:lnTo>
                <a:lnTo>
                  <a:pt x="14938" y="4400"/>
                </a:lnTo>
                <a:lnTo>
                  <a:pt x="15100" y="4527"/>
                </a:lnTo>
                <a:lnTo>
                  <a:pt x="15227" y="4689"/>
                </a:lnTo>
                <a:lnTo>
                  <a:pt x="15318" y="4869"/>
                </a:lnTo>
                <a:lnTo>
                  <a:pt x="15390" y="5068"/>
                </a:lnTo>
                <a:lnTo>
                  <a:pt x="15408" y="5176"/>
                </a:lnTo>
                <a:lnTo>
                  <a:pt x="15408" y="5284"/>
                </a:lnTo>
                <a:lnTo>
                  <a:pt x="15408" y="5320"/>
                </a:lnTo>
                <a:lnTo>
                  <a:pt x="15770" y="5320"/>
                </a:lnTo>
                <a:lnTo>
                  <a:pt x="15842" y="5302"/>
                </a:lnTo>
                <a:lnTo>
                  <a:pt x="15915" y="5266"/>
                </a:lnTo>
                <a:lnTo>
                  <a:pt x="15987" y="5213"/>
                </a:lnTo>
                <a:lnTo>
                  <a:pt x="16041" y="5140"/>
                </a:lnTo>
                <a:lnTo>
                  <a:pt x="16077" y="5049"/>
                </a:lnTo>
                <a:lnTo>
                  <a:pt x="16114" y="4942"/>
                </a:lnTo>
                <a:lnTo>
                  <a:pt x="16132" y="4815"/>
                </a:lnTo>
                <a:lnTo>
                  <a:pt x="16150" y="4671"/>
                </a:lnTo>
                <a:lnTo>
                  <a:pt x="16132" y="4544"/>
                </a:lnTo>
                <a:lnTo>
                  <a:pt x="16114" y="4436"/>
                </a:lnTo>
                <a:lnTo>
                  <a:pt x="16095" y="4328"/>
                </a:lnTo>
                <a:lnTo>
                  <a:pt x="16059" y="4238"/>
                </a:lnTo>
                <a:lnTo>
                  <a:pt x="16006" y="4166"/>
                </a:lnTo>
                <a:lnTo>
                  <a:pt x="15951" y="4111"/>
                </a:lnTo>
                <a:lnTo>
                  <a:pt x="15897" y="4076"/>
                </a:lnTo>
                <a:lnTo>
                  <a:pt x="15824" y="4058"/>
                </a:lnTo>
                <a:lnTo>
                  <a:pt x="15824" y="3191"/>
                </a:lnTo>
                <a:lnTo>
                  <a:pt x="15807" y="3102"/>
                </a:lnTo>
                <a:lnTo>
                  <a:pt x="15789" y="3047"/>
                </a:lnTo>
                <a:lnTo>
                  <a:pt x="15752" y="2993"/>
                </a:lnTo>
                <a:lnTo>
                  <a:pt x="15698" y="2938"/>
                </a:lnTo>
                <a:lnTo>
                  <a:pt x="15571" y="2867"/>
                </a:lnTo>
                <a:lnTo>
                  <a:pt x="15408" y="2776"/>
                </a:lnTo>
                <a:lnTo>
                  <a:pt x="14558" y="2487"/>
                </a:lnTo>
                <a:lnTo>
                  <a:pt x="14232" y="1478"/>
                </a:lnTo>
                <a:lnTo>
                  <a:pt x="14160" y="1315"/>
                </a:lnTo>
                <a:lnTo>
                  <a:pt x="14124" y="1243"/>
                </a:lnTo>
                <a:lnTo>
                  <a:pt x="14070" y="1189"/>
                </a:lnTo>
                <a:lnTo>
                  <a:pt x="14033" y="1135"/>
                </a:lnTo>
                <a:lnTo>
                  <a:pt x="13961" y="1098"/>
                </a:lnTo>
                <a:lnTo>
                  <a:pt x="13889" y="1080"/>
                </a:lnTo>
                <a:lnTo>
                  <a:pt x="13816" y="1062"/>
                </a:lnTo>
                <a:lnTo>
                  <a:pt x="13382" y="1062"/>
                </a:lnTo>
                <a:lnTo>
                  <a:pt x="13154" y="1062"/>
                </a:lnTo>
                <a:lnTo>
                  <a:pt x="12944" y="1062"/>
                </a:lnTo>
                <a:lnTo>
                  <a:pt x="12749" y="1062"/>
                </a:lnTo>
                <a:lnTo>
                  <a:pt x="12570" y="1062"/>
                </a:lnTo>
                <a:lnTo>
                  <a:pt x="12405" y="1062"/>
                </a:lnTo>
                <a:lnTo>
                  <a:pt x="12255" y="1062"/>
                </a:lnTo>
                <a:lnTo>
                  <a:pt x="12117" y="1062"/>
                </a:lnTo>
                <a:lnTo>
                  <a:pt x="11991" y="1062"/>
                </a:lnTo>
                <a:lnTo>
                  <a:pt x="11877" y="1062"/>
                </a:lnTo>
                <a:lnTo>
                  <a:pt x="11775" y="1062"/>
                </a:lnTo>
                <a:lnTo>
                  <a:pt x="11683" y="1062"/>
                </a:lnTo>
                <a:lnTo>
                  <a:pt x="11600" y="1062"/>
                </a:lnTo>
                <a:lnTo>
                  <a:pt x="11526" y="1062"/>
                </a:lnTo>
                <a:lnTo>
                  <a:pt x="11460" y="1062"/>
                </a:lnTo>
                <a:lnTo>
                  <a:pt x="11402" y="1062"/>
                </a:lnTo>
                <a:lnTo>
                  <a:pt x="11350" y="1062"/>
                </a:lnTo>
                <a:lnTo>
                  <a:pt x="11327" y="1063"/>
                </a:lnTo>
                <a:lnTo>
                  <a:pt x="11306" y="1065"/>
                </a:lnTo>
                <a:lnTo>
                  <a:pt x="11289" y="1068"/>
                </a:lnTo>
                <a:lnTo>
                  <a:pt x="11275" y="1072"/>
                </a:lnTo>
                <a:lnTo>
                  <a:pt x="11268" y="1075"/>
                </a:lnTo>
                <a:lnTo>
                  <a:pt x="11263" y="1077"/>
                </a:lnTo>
                <a:lnTo>
                  <a:pt x="11257" y="1081"/>
                </a:lnTo>
                <a:lnTo>
                  <a:pt x="11253" y="1084"/>
                </a:lnTo>
                <a:lnTo>
                  <a:pt x="11248" y="1088"/>
                </a:lnTo>
                <a:lnTo>
                  <a:pt x="11244" y="1092"/>
                </a:lnTo>
                <a:lnTo>
                  <a:pt x="11241" y="1096"/>
                </a:lnTo>
                <a:lnTo>
                  <a:pt x="11238" y="1101"/>
                </a:lnTo>
                <a:lnTo>
                  <a:pt x="11234" y="1112"/>
                </a:lnTo>
                <a:lnTo>
                  <a:pt x="11231" y="1124"/>
                </a:lnTo>
                <a:lnTo>
                  <a:pt x="11230" y="1138"/>
                </a:lnTo>
                <a:lnTo>
                  <a:pt x="11229" y="1152"/>
                </a:lnTo>
                <a:lnTo>
                  <a:pt x="11228" y="1185"/>
                </a:lnTo>
                <a:lnTo>
                  <a:pt x="11229" y="1223"/>
                </a:lnTo>
                <a:lnTo>
                  <a:pt x="11229" y="4292"/>
                </a:lnTo>
                <a:lnTo>
                  <a:pt x="9352" y="4292"/>
                </a:lnTo>
                <a:lnTo>
                  <a:pt x="9401" y="4310"/>
                </a:lnTo>
                <a:lnTo>
                  <a:pt x="9583" y="4400"/>
                </a:lnTo>
                <a:lnTo>
                  <a:pt x="9746" y="4527"/>
                </a:lnTo>
                <a:close/>
                <a:moveTo>
                  <a:pt x="12351" y="2344"/>
                </a:moveTo>
                <a:lnTo>
                  <a:pt x="12351" y="1531"/>
                </a:lnTo>
                <a:lnTo>
                  <a:pt x="13545" y="1531"/>
                </a:lnTo>
                <a:lnTo>
                  <a:pt x="13636" y="1549"/>
                </a:lnTo>
                <a:lnTo>
                  <a:pt x="13689" y="1585"/>
                </a:lnTo>
                <a:lnTo>
                  <a:pt x="13744" y="1640"/>
                </a:lnTo>
                <a:lnTo>
                  <a:pt x="13780" y="1712"/>
                </a:lnTo>
                <a:lnTo>
                  <a:pt x="14052" y="2487"/>
                </a:lnTo>
                <a:lnTo>
                  <a:pt x="12351" y="2344"/>
                </a:lnTo>
                <a:close/>
                <a:moveTo>
                  <a:pt x="5060" y="4527"/>
                </a:moveTo>
                <a:lnTo>
                  <a:pt x="5186" y="4689"/>
                </a:lnTo>
                <a:lnTo>
                  <a:pt x="5295" y="4869"/>
                </a:lnTo>
                <a:lnTo>
                  <a:pt x="5350" y="5068"/>
                </a:lnTo>
                <a:lnTo>
                  <a:pt x="5367" y="5176"/>
                </a:lnTo>
                <a:lnTo>
                  <a:pt x="5367" y="5284"/>
                </a:lnTo>
                <a:lnTo>
                  <a:pt x="5367" y="5320"/>
                </a:lnTo>
                <a:lnTo>
                  <a:pt x="7937" y="5320"/>
                </a:lnTo>
                <a:lnTo>
                  <a:pt x="7937" y="5284"/>
                </a:lnTo>
                <a:lnTo>
                  <a:pt x="7937" y="5176"/>
                </a:lnTo>
                <a:lnTo>
                  <a:pt x="7955" y="5068"/>
                </a:lnTo>
                <a:lnTo>
                  <a:pt x="8027" y="4869"/>
                </a:lnTo>
                <a:lnTo>
                  <a:pt x="8117" y="4689"/>
                </a:lnTo>
                <a:lnTo>
                  <a:pt x="8244" y="4527"/>
                </a:lnTo>
                <a:lnTo>
                  <a:pt x="8407" y="4400"/>
                </a:lnTo>
                <a:lnTo>
                  <a:pt x="8588" y="4310"/>
                </a:lnTo>
                <a:lnTo>
                  <a:pt x="8637" y="4292"/>
                </a:lnTo>
                <a:lnTo>
                  <a:pt x="4685" y="4292"/>
                </a:lnTo>
                <a:lnTo>
                  <a:pt x="4734" y="4310"/>
                </a:lnTo>
                <a:lnTo>
                  <a:pt x="4915" y="4400"/>
                </a:lnTo>
                <a:lnTo>
                  <a:pt x="5060" y="4527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71" name="gpn_janos"/>
          <p:cNvSpPr>
            <a:spLocks noChangeAspect="1" noEditPoints="1"/>
          </p:cNvSpPr>
          <p:nvPr/>
        </p:nvSpPr>
        <p:spPr bwMode="auto">
          <a:xfrm>
            <a:off x="485946" y="2526153"/>
            <a:ext cx="449650" cy="650819"/>
          </a:xfrm>
          <a:custGeom>
            <a:avLst/>
            <a:gdLst>
              <a:gd name="T0" fmla="*/ 12307 w 12558"/>
              <a:gd name="T1" fmla="*/ 6422 h 16100"/>
              <a:gd name="T2" fmla="*/ 10747 w 12558"/>
              <a:gd name="T3" fmla="*/ 6018 h 16100"/>
              <a:gd name="T4" fmla="*/ 11094 w 12558"/>
              <a:gd name="T5" fmla="*/ 6513 h 16100"/>
              <a:gd name="T6" fmla="*/ 10598 w 12558"/>
              <a:gd name="T7" fmla="*/ 6849 h 16100"/>
              <a:gd name="T8" fmla="*/ 9913 w 12558"/>
              <a:gd name="T9" fmla="*/ 6086 h 16100"/>
              <a:gd name="T10" fmla="*/ 9379 w 12558"/>
              <a:gd name="T11" fmla="*/ 4882 h 16100"/>
              <a:gd name="T12" fmla="*/ 8546 w 12558"/>
              <a:gd name="T13" fmla="*/ 4379 h 16100"/>
              <a:gd name="T14" fmla="*/ 6198 w 12558"/>
              <a:gd name="T15" fmla="*/ 4760 h 16100"/>
              <a:gd name="T16" fmla="*/ 6 w 12558"/>
              <a:gd name="T17" fmla="*/ 11201 h 16100"/>
              <a:gd name="T18" fmla="*/ 2943 w 12558"/>
              <a:gd name="T19" fmla="*/ 284 h 16100"/>
              <a:gd name="T20" fmla="*/ 2714 w 12558"/>
              <a:gd name="T21" fmla="*/ 27 h 16100"/>
              <a:gd name="T22" fmla="*/ 902 w 12558"/>
              <a:gd name="T23" fmla="*/ 50 h 16100"/>
              <a:gd name="T24" fmla="*/ 711 w 12558"/>
              <a:gd name="T25" fmla="*/ 338 h 16100"/>
              <a:gd name="T26" fmla="*/ 3101 w 12558"/>
              <a:gd name="T27" fmla="*/ 14289 h 16100"/>
              <a:gd name="T28" fmla="*/ 2856 w 12558"/>
              <a:gd name="T29" fmla="*/ 14642 h 16100"/>
              <a:gd name="T30" fmla="*/ 2586 w 12558"/>
              <a:gd name="T31" fmla="*/ 14211 h 16100"/>
              <a:gd name="T32" fmla="*/ 2447 w 12558"/>
              <a:gd name="T33" fmla="*/ 13965 h 16100"/>
              <a:gd name="T34" fmla="*/ 2301 w 12558"/>
              <a:gd name="T35" fmla="*/ 13476 h 16100"/>
              <a:gd name="T36" fmla="*/ 2497 w 12558"/>
              <a:gd name="T37" fmla="*/ 12899 h 16100"/>
              <a:gd name="T38" fmla="*/ 2931 w 12558"/>
              <a:gd name="T39" fmla="*/ 12667 h 16100"/>
              <a:gd name="T40" fmla="*/ 2849 w 12558"/>
              <a:gd name="T41" fmla="*/ 13738 h 16100"/>
              <a:gd name="T42" fmla="*/ 3526 w 12558"/>
              <a:gd name="T43" fmla="*/ 13070 h 16100"/>
              <a:gd name="T44" fmla="*/ 2824 w 12558"/>
              <a:gd name="T45" fmla="*/ 13226 h 16100"/>
              <a:gd name="T46" fmla="*/ 4929 w 12558"/>
              <a:gd name="T47" fmla="*/ 12653 h 16100"/>
              <a:gd name="T48" fmla="*/ 8241 w 12558"/>
              <a:gd name="T49" fmla="*/ 14918 h 16100"/>
              <a:gd name="T50" fmla="*/ 8014 w 12558"/>
              <a:gd name="T51" fmla="*/ 15251 h 16100"/>
              <a:gd name="T52" fmla="*/ 7582 w 12558"/>
              <a:gd name="T53" fmla="*/ 15435 h 16100"/>
              <a:gd name="T54" fmla="*/ 7035 w 12558"/>
              <a:gd name="T55" fmla="*/ 15359 h 16100"/>
              <a:gd name="T56" fmla="*/ 6731 w 12558"/>
              <a:gd name="T57" fmla="*/ 15089 h 16100"/>
              <a:gd name="T58" fmla="*/ 6596 w 12558"/>
              <a:gd name="T59" fmla="*/ 13413 h 16100"/>
              <a:gd name="T60" fmla="*/ 6870 w 12558"/>
              <a:gd name="T61" fmla="*/ 12829 h 16100"/>
              <a:gd name="T62" fmla="*/ 7280 w 12558"/>
              <a:gd name="T63" fmla="*/ 12645 h 16100"/>
              <a:gd name="T64" fmla="*/ 7784 w 12558"/>
              <a:gd name="T65" fmla="*/ 12691 h 16100"/>
              <a:gd name="T66" fmla="*/ 8139 w 12558"/>
              <a:gd name="T67" fmla="*/ 12968 h 16100"/>
              <a:gd name="T68" fmla="*/ 7828 w 12558"/>
              <a:gd name="T69" fmla="*/ 13424 h 16100"/>
              <a:gd name="T70" fmla="*/ 7595 w 12558"/>
              <a:gd name="T71" fmla="*/ 13096 h 16100"/>
              <a:gd name="T72" fmla="*/ 7154 w 12558"/>
              <a:gd name="T73" fmla="*/ 13186 h 16100"/>
              <a:gd name="T74" fmla="*/ 7047 w 12558"/>
              <a:gd name="T75" fmla="*/ 14568 h 16100"/>
              <a:gd name="T76" fmla="*/ 7208 w 12558"/>
              <a:gd name="T77" fmla="*/ 14950 h 16100"/>
              <a:gd name="T78" fmla="*/ 7611 w 12558"/>
              <a:gd name="T79" fmla="*/ 14980 h 16100"/>
              <a:gd name="T80" fmla="*/ 7828 w 12558"/>
              <a:gd name="T81" fmla="*/ 14685 h 16100"/>
              <a:gd name="T82" fmla="*/ 10073 w 12558"/>
              <a:gd name="T83" fmla="*/ 15261 h 16100"/>
              <a:gd name="T84" fmla="*/ 9437 w 12558"/>
              <a:gd name="T85" fmla="*/ 15441 h 16100"/>
              <a:gd name="T86" fmla="*/ 9011 w 12558"/>
              <a:gd name="T87" fmla="*/ 15306 h 16100"/>
              <a:gd name="T88" fmla="*/ 8751 w 12558"/>
              <a:gd name="T89" fmla="*/ 15005 h 16100"/>
              <a:gd name="T90" fmla="*/ 8692 w 12558"/>
              <a:gd name="T91" fmla="*/ 13247 h 16100"/>
              <a:gd name="T92" fmla="*/ 9025 w 12558"/>
              <a:gd name="T93" fmla="*/ 12765 h 16100"/>
              <a:gd name="T94" fmla="*/ 9461 w 12558"/>
              <a:gd name="T95" fmla="*/ 12634 h 16100"/>
              <a:gd name="T96" fmla="*/ 10110 w 12558"/>
              <a:gd name="T97" fmla="*/ 12853 h 16100"/>
              <a:gd name="T98" fmla="*/ 9875 w 12558"/>
              <a:gd name="T99" fmla="*/ 13301 h 16100"/>
              <a:gd name="T100" fmla="*/ 9618 w 12558"/>
              <a:gd name="T101" fmla="*/ 13081 h 16100"/>
              <a:gd name="T102" fmla="*/ 9229 w 12558"/>
              <a:gd name="T103" fmla="*/ 13185 h 16100"/>
              <a:gd name="T104" fmla="*/ 9122 w 12558"/>
              <a:gd name="T105" fmla="*/ 14616 h 16100"/>
              <a:gd name="T106" fmla="*/ 9307 w 12558"/>
              <a:gd name="T107" fmla="*/ 14953 h 16100"/>
              <a:gd name="T108" fmla="*/ 9683 w 12558"/>
              <a:gd name="T109" fmla="*/ 14973 h 16100"/>
              <a:gd name="T110" fmla="*/ 9890 w 12558"/>
              <a:gd name="T111" fmla="*/ 14727 h 16100"/>
              <a:gd name="T112" fmla="*/ 6819 w 12558"/>
              <a:gd name="T113" fmla="*/ 5299 h 16100"/>
              <a:gd name="T114" fmla="*/ 8525 w 12558"/>
              <a:gd name="T115" fmla="*/ 5201 h 16100"/>
              <a:gd name="T116" fmla="*/ 8704 w 12558"/>
              <a:gd name="T117" fmla="*/ 5388 h 16100"/>
              <a:gd name="T118" fmla="*/ 7927 w 12558"/>
              <a:gd name="T119" fmla="*/ 6344 h 161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558" h="16100">
                <a:moveTo>
                  <a:pt x="7" y="13248"/>
                </a:moveTo>
                <a:lnTo>
                  <a:pt x="7" y="16100"/>
                </a:lnTo>
                <a:lnTo>
                  <a:pt x="12558" y="16100"/>
                </a:lnTo>
                <a:lnTo>
                  <a:pt x="12558" y="12539"/>
                </a:lnTo>
                <a:lnTo>
                  <a:pt x="12558" y="11812"/>
                </a:lnTo>
                <a:lnTo>
                  <a:pt x="12558" y="7122"/>
                </a:lnTo>
                <a:lnTo>
                  <a:pt x="12557" y="7066"/>
                </a:lnTo>
                <a:lnTo>
                  <a:pt x="12552" y="7011"/>
                </a:lnTo>
                <a:lnTo>
                  <a:pt x="12545" y="6955"/>
                </a:lnTo>
                <a:lnTo>
                  <a:pt x="12536" y="6902"/>
                </a:lnTo>
                <a:lnTo>
                  <a:pt x="12524" y="6849"/>
                </a:lnTo>
                <a:lnTo>
                  <a:pt x="12509" y="6796"/>
                </a:lnTo>
                <a:lnTo>
                  <a:pt x="12491" y="6745"/>
                </a:lnTo>
                <a:lnTo>
                  <a:pt x="12471" y="6695"/>
                </a:lnTo>
                <a:lnTo>
                  <a:pt x="12450" y="6646"/>
                </a:lnTo>
                <a:lnTo>
                  <a:pt x="12426" y="6599"/>
                </a:lnTo>
                <a:lnTo>
                  <a:pt x="12398" y="6553"/>
                </a:lnTo>
                <a:lnTo>
                  <a:pt x="12370" y="6507"/>
                </a:lnTo>
                <a:lnTo>
                  <a:pt x="12340" y="6464"/>
                </a:lnTo>
                <a:lnTo>
                  <a:pt x="12307" y="6422"/>
                </a:lnTo>
                <a:lnTo>
                  <a:pt x="12272" y="6382"/>
                </a:lnTo>
                <a:lnTo>
                  <a:pt x="12236" y="6343"/>
                </a:lnTo>
                <a:lnTo>
                  <a:pt x="12198" y="6307"/>
                </a:lnTo>
                <a:lnTo>
                  <a:pt x="12158" y="6272"/>
                </a:lnTo>
                <a:lnTo>
                  <a:pt x="12117" y="6239"/>
                </a:lnTo>
                <a:lnTo>
                  <a:pt x="12073" y="6209"/>
                </a:lnTo>
                <a:lnTo>
                  <a:pt x="12029" y="6179"/>
                </a:lnTo>
                <a:lnTo>
                  <a:pt x="11982" y="6152"/>
                </a:lnTo>
                <a:lnTo>
                  <a:pt x="11936" y="6128"/>
                </a:lnTo>
                <a:lnTo>
                  <a:pt x="11887" y="6106"/>
                </a:lnTo>
                <a:lnTo>
                  <a:pt x="11837" y="6086"/>
                </a:lnTo>
                <a:lnTo>
                  <a:pt x="11786" y="6069"/>
                </a:lnTo>
                <a:lnTo>
                  <a:pt x="11734" y="6054"/>
                </a:lnTo>
                <a:lnTo>
                  <a:pt x="11681" y="6041"/>
                </a:lnTo>
                <a:lnTo>
                  <a:pt x="11627" y="6031"/>
                </a:lnTo>
                <a:lnTo>
                  <a:pt x="11571" y="6023"/>
                </a:lnTo>
                <a:lnTo>
                  <a:pt x="11516" y="6019"/>
                </a:lnTo>
                <a:lnTo>
                  <a:pt x="11459" y="6018"/>
                </a:lnTo>
                <a:lnTo>
                  <a:pt x="11455" y="6018"/>
                </a:lnTo>
                <a:lnTo>
                  <a:pt x="10747" y="6018"/>
                </a:lnTo>
                <a:lnTo>
                  <a:pt x="10778" y="6045"/>
                </a:lnTo>
                <a:lnTo>
                  <a:pt x="10810" y="6073"/>
                </a:lnTo>
                <a:lnTo>
                  <a:pt x="10842" y="6103"/>
                </a:lnTo>
                <a:lnTo>
                  <a:pt x="10876" y="6135"/>
                </a:lnTo>
                <a:lnTo>
                  <a:pt x="10907" y="6167"/>
                </a:lnTo>
                <a:lnTo>
                  <a:pt x="10936" y="6202"/>
                </a:lnTo>
                <a:lnTo>
                  <a:pt x="10950" y="6219"/>
                </a:lnTo>
                <a:lnTo>
                  <a:pt x="10963" y="6236"/>
                </a:lnTo>
                <a:lnTo>
                  <a:pt x="10975" y="6253"/>
                </a:lnTo>
                <a:lnTo>
                  <a:pt x="10986" y="6270"/>
                </a:lnTo>
                <a:lnTo>
                  <a:pt x="10999" y="6293"/>
                </a:lnTo>
                <a:lnTo>
                  <a:pt x="11012" y="6316"/>
                </a:lnTo>
                <a:lnTo>
                  <a:pt x="11024" y="6339"/>
                </a:lnTo>
                <a:lnTo>
                  <a:pt x="11035" y="6364"/>
                </a:lnTo>
                <a:lnTo>
                  <a:pt x="11046" y="6388"/>
                </a:lnTo>
                <a:lnTo>
                  <a:pt x="11058" y="6412"/>
                </a:lnTo>
                <a:lnTo>
                  <a:pt x="11067" y="6437"/>
                </a:lnTo>
                <a:lnTo>
                  <a:pt x="11077" y="6462"/>
                </a:lnTo>
                <a:lnTo>
                  <a:pt x="11085" y="6487"/>
                </a:lnTo>
                <a:lnTo>
                  <a:pt x="11094" y="6513"/>
                </a:lnTo>
                <a:lnTo>
                  <a:pt x="11102" y="6540"/>
                </a:lnTo>
                <a:lnTo>
                  <a:pt x="11109" y="6566"/>
                </a:lnTo>
                <a:lnTo>
                  <a:pt x="11122" y="6619"/>
                </a:lnTo>
                <a:lnTo>
                  <a:pt x="11134" y="6673"/>
                </a:lnTo>
                <a:lnTo>
                  <a:pt x="11144" y="6729"/>
                </a:lnTo>
                <a:lnTo>
                  <a:pt x="11153" y="6784"/>
                </a:lnTo>
                <a:lnTo>
                  <a:pt x="11160" y="6840"/>
                </a:lnTo>
                <a:lnTo>
                  <a:pt x="11166" y="6897"/>
                </a:lnTo>
                <a:lnTo>
                  <a:pt x="11170" y="6953"/>
                </a:lnTo>
                <a:lnTo>
                  <a:pt x="11173" y="7010"/>
                </a:lnTo>
                <a:lnTo>
                  <a:pt x="11174" y="7066"/>
                </a:lnTo>
                <a:lnTo>
                  <a:pt x="11175" y="7122"/>
                </a:lnTo>
                <a:lnTo>
                  <a:pt x="11175" y="11812"/>
                </a:lnTo>
                <a:lnTo>
                  <a:pt x="10632" y="11812"/>
                </a:lnTo>
                <a:lnTo>
                  <a:pt x="10632" y="7122"/>
                </a:lnTo>
                <a:lnTo>
                  <a:pt x="10631" y="7066"/>
                </a:lnTo>
                <a:lnTo>
                  <a:pt x="10627" y="7011"/>
                </a:lnTo>
                <a:lnTo>
                  <a:pt x="10620" y="6955"/>
                </a:lnTo>
                <a:lnTo>
                  <a:pt x="10610" y="6902"/>
                </a:lnTo>
                <a:lnTo>
                  <a:pt x="10598" y="6849"/>
                </a:lnTo>
                <a:lnTo>
                  <a:pt x="10584" y="6796"/>
                </a:lnTo>
                <a:lnTo>
                  <a:pt x="10567" y="6745"/>
                </a:lnTo>
                <a:lnTo>
                  <a:pt x="10547" y="6695"/>
                </a:lnTo>
                <a:lnTo>
                  <a:pt x="10524" y="6646"/>
                </a:lnTo>
                <a:lnTo>
                  <a:pt x="10500" y="6599"/>
                </a:lnTo>
                <a:lnTo>
                  <a:pt x="10474" y="6553"/>
                </a:lnTo>
                <a:lnTo>
                  <a:pt x="10446" y="6507"/>
                </a:lnTo>
                <a:lnTo>
                  <a:pt x="10415" y="6464"/>
                </a:lnTo>
                <a:lnTo>
                  <a:pt x="10382" y="6422"/>
                </a:lnTo>
                <a:lnTo>
                  <a:pt x="10348" y="6382"/>
                </a:lnTo>
                <a:lnTo>
                  <a:pt x="10311" y="6343"/>
                </a:lnTo>
                <a:lnTo>
                  <a:pt x="10273" y="6307"/>
                </a:lnTo>
                <a:lnTo>
                  <a:pt x="10234" y="6272"/>
                </a:lnTo>
                <a:lnTo>
                  <a:pt x="10192" y="6239"/>
                </a:lnTo>
                <a:lnTo>
                  <a:pt x="10149" y="6209"/>
                </a:lnTo>
                <a:lnTo>
                  <a:pt x="10104" y="6179"/>
                </a:lnTo>
                <a:lnTo>
                  <a:pt x="10059" y="6152"/>
                </a:lnTo>
                <a:lnTo>
                  <a:pt x="10011" y="6128"/>
                </a:lnTo>
                <a:lnTo>
                  <a:pt x="9962" y="6106"/>
                </a:lnTo>
                <a:lnTo>
                  <a:pt x="9913" y="6086"/>
                </a:lnTo>
                <a:lnTo>
                  <a:pt x="9861" y="6069"/>
                </a:lnTo>
                <a:lnTo>
                  <a:pt x="9810" y="6054"/>
                </a:lnTo>
                <a:lnTo>
                  <a:pt x="9756" y="6041"/>
                </a:lnTo>
                <a:lnTo>
                  <a:pt x="9701" y="6031"/>
                </a:lnTo>
                <a:lnTo>
                  <a:pt x="9647" y="6023"/>
                </a:lnTo>
                <a:lnTo>
                  <a:pt x="9590" y="6019"/>
                </a:lnTo>
                <a:lnTo>
                  <a:pt x="9534" y="6018"/>
                </a:lnTo>
                <a:lnTo>
                  <a:pt x="9529" y="6018"/>
                </a:lnTo>
                <a:lnTo>
                  <a:pt x="9529" y="5422"/>
                </a:lnTo>
                <a:lnTo>
                  <a:pt x="9528" y="5368"/>
                </a:lnTo>
                <a:lnTo>
                  <a:pt x="9524" y="5316"/>
                </a:lnTo>
                <a:lnTo>
                  <a:pt x="9517" y="5264"/>
                </a:lnTo>
                <a:lnTo>
                  <a:pt x="9508" y="5212"/>
                </a:lnTo>
                <a:lnTo>
                  <a:pt x="9497" y="5162"/>
                </a:lnTo>
                <a:lnTo>
                  <a:pt x="9482" y="5113"/>
                </a:lnTo>
                <a:lnTo>
                  <a:pt x="9466" y="5064"/>
                </a:lnTo>
                <a:lnTo>
                  <a:pt x="9448" y="5017"/>
                </a:lnTo>
                <a:lnTo>
                  <a:pt x="9427" y="4971"/>
                </a:lnTo>
                <a:lnTo>
                  <a:pt x="9405" y="4927"/>
                </a:lnTo>
                <a:lnTo>
                  <a:pt x="9379" y="4882"/>
                </a:lnTo>
                <a:lnTo>
                  <a:pt x="9352" y="4840"/>
                </a:lnTo>
                <a:lnTo>
                  <a:pt x="9324" y="4799"/>
                </a:lnTo>
                <a:lnTo>
                  <a:pt x="9293" y="4760"/>
                </a:lnTo>
                <a:lnTo>
                  <a:pt x="9260" y="4721"/>
                </a:lnTo>
                <a:lnTo>
                  <a:pt x="9226" y="4685"/>
                </a:lnTo>
                <a:lnTo>
                  <a:pt x="9190" y="4651"/>
                </a:lnTo>
                <a:lnTo>
                  <a:pt x="9152" y="4618"/>
                </a:lnTo>
                <a:lnTo>
                  <a:pt x="9114" y="4586"/>
                </a:lnTo>
                <a:lnTo>
                  <a:pt x="9072" y="4557"/>
                </a:lnTo>
                <a:lnTo>
                  <a:pt x="9031" y="4530"/>
                </a:lnTo>
                <a:lnTo>
                  <a:pt x="8988" y="4505"/>
                </a:lnTo>
                <a:lnTo>
                  <a:pt x="8942" y="4482"/>
                </a:lnTo>
                <a:lnTo>
                  <a:pt x="8897" y="4461"/>
                </a:lnTo>
                <a:lnTo>
                  <a:pt x="8849" y="4442"/>
                </a:lnTo>
                <a:lnTo>
                  <a:pt x="8801" y="4425"/>
                </a:lnTo>
                <a:lnTo>
                  <a:pt x="8752" y="4411"/>
                </a:lnTo>
                <a:lnTo>
                  <a:pt x="8702" y="4399"/>
                </a:lnTo>
                <a:lnTo>
                  <a:pt x="8650" y="4390"/>
                </a:lnTo>
                <a:lnTo>
                  <a:pt x="8599" y="4383"/>
                </a:lnTo>
                <a:lnTo>
                  <a:pt x="8546" y="4379"/>
                </a:lnTo>
                <a:lnTo>
                  <a:pt x="8493" y="4378"/>
                </a:lnTo>
                <a:lnTo>
                  <a:pt x="7002" y="4378"/>
                </a:lnTo>
                <a:lnTo>
                  <a:pt x="6949" y="4379"/>
                </a:lnTo>
                <a:lnTo>
                  <a:pt x="6896" y="4383"/>
                </a:lnTo>
                <a:lnTo>
                  <a:pt x="6844" y="4390"/>
                </a:lnTo>
                <a:lnTo>
                  <a:pt x="6792" y="4399"/>
                </a:lnTo>
                <a:lnTo>
                  <a:pt x="6742" y="4411"/>
                </a:lnTo>
                <a:lnTo>
                  <a:pt x="6692" y="4425"/>
                </a:lnTo>
                <a:lnTo>
                  <a:pt x="6644" y="4442"/>
                </a:lnTo>
                <a:lnTo>
                  <a:pt x="6597" y="4461"/>
                </a:lnTo>
                <a:lnTo>
                  <a:pt x="6551" y="4482"/>
                </a:lnTo>
                <a:lnTo>
                  <a:pt x="6506" y="4505"/>
                </a:lnTo>
                <a:lnTo>
                  <a:pt x="6462" y="4530"/>
                </a:lnTo>
                <a:lnTo>
                  <a:pt x="6420" y="4557"/>
                </a:lnTo>
                <a:lnTo>
                  <a:pt x="6378" y="4586"/>
                </a:lnTo>
                <a:lnTo>
                  <a:pt x="6339" y="4618"/>
                </a:lnTo>
                <a:lnTo>
                  <a:pt x="6302" y="4651"/>
                </a:lnTo>
                <a:lnTo>
                  <a:pt x="6265" y="4685"/>
                </a:lnTo>
                <a:lnTo>
                  <a:pt x="6230" y="4721"/>
                </a:lnTo>
                <a:lnTo>
                  <a:pt x="6198" y="4760"/>
                </a:lnTo>
                <a:lnTo>
                  <a:pt x="6166" y="4799"/>
                </a:lnTo>
                <a:lnTo>
                  <a:pt x="6137" y="4840"/>
                </a:lnTo>
                <a:lnTo>
                  <a:pt x="6110" y="4882"/>
                </a:lnTo>
                <a:lnTo>
                  <a:pt x="6085" y="4927"/>
                </a:lnTo>
                <a:lnTo>
                  <a:pt x="6061" y="4971"/>
                </a:lnTo>
                <a:lnTo>
                  <a:pt x="6040" y="5017"/>
                </a:lnTo>
                <a:lnTo>
                  <a:pt x="6022" y="5064"/>
                </a:lnTo>
                <a:lnTo>
                  <a:pt x="6005" y="5113"/>
                </a:lnTo>
                <a:lnTo>
                  <a:pt x="5991" y="5162"/>
                </a:lnTo>
                <a:lnTo>
                  <a:pt x="5980" y="5212"/>
                </a:lnTo>
                <a:lnTo>
                  <a:pt x="5971" y="5264"/>
                </a:lnTo>
                <a:lnTo>
                  <a:pt x="5963" y="5316"/>
                </a:lnTo>
                <a:lnTo>
                  <a:pt x="5959" y="5368"/>
                </a:lnTo>
                <a:lnTo>
                  <a:pt x="5958" y="5422"/>
                </a:lnTo>
                <a:lnTo>
                  <a:pt x="5958" y="8757"/>
                </a:lnTo>
                <a:lnTo>
                  <a:pt x="4854" y="8757"/>
                </a:lnTo>
                <a:lnTo>
                  <a:pt x="4033" y="8757"/>
                </a:lnTo>
                <a:lnTo>
                  <a:pt x="165" y="8757"/>
                </a:lnTo>
                <a:lnTo>
                  <a:pt x="9" y="11138"/>
                </a:lnTo>
                <a:lnTo>
                  <a:pt x="6" y="11201"/>
                </a:lnTo>
                <a:lnTo>
                  <a:pt x="4" y="11281"/>
                </a:lnTo>
                <a:lnTo>
                  <a:pt x="2" y="11378"/>
                </a:lnTo>
                <a:lnTo>
                  <a:pt x="1" y="11487"/>
                </a:lnTo>
                <a:lnTo>
                  <a:pt x="0" y="11609"/>
                </a:lnTo>
                <a:lnTo>
                  <a:pt x="0" y="11741"/>
                </a:lnTo>
                <a:lnTo>
                  <a:pt x="0" y="11882"/>
                </a:lnTo>
                <a:lnTo>
                  <a:pt x="1" y="12030"/>
                </a:lnTo>
                <a:lnTo>
                  <a:pt x="2" y="12183"/>
                </a:lnTo>
                <a:lnTo>
                  <a:pt x="2" y="12339"/>
                </a:lnTo>
                <a:lnTo>
                  <a:pt x="3" y="12497"/>
                </a:lnTo>
                <a:lnTo>
                  <a:pt x="4" y="12654"/>
                </a:lnTo>
                <a:lnTo>
                  <a:pt x="5" y="12810"/>
                </a:lnTo>
                <a:lnTo>
                  <a:pt x="6" y="12962"/>
                </a:lnTo>
                <a:lnTo>
                  <a:pt x="6" y="13108"/>
                </a:lnTo>
                <a:lnTo>
                  <a:pt x="7" y="13248"/>
                </a:lnTo>
                <a:close/>
                <a:moveTo>
                  <a:pt x="2955" y="357"/>
                </a:moveTo>
                <a:lnTo>
                  <a:pt x="2954" y="338"/>
                </a:lnTo>
                <a:lnTo>
                  <a:pt x="2951" y="320"/>
                </a:lnTo>
                <a:lnTo>
                  <a:pt x="2948" y="302"/>
                </a:lnTo>
                <a:lnTo>
                  <a:pt x="2943" y="284"/>
                </a:lnTo>
                <a:lnTo>
                  <a:pt x="2938" y="267"/>
                </a:lnTo>
                <a:lnTo>
                  <a:pt x="2932" y="250"/>
                </a:lnTo>
                <a:lnTo>
                  <a:pt x="2926" y="232"/>
                </a:lnTo>
                <a:lnTo>
                  <a:pt x="2918" y="216"/>
                </a:lnTo>
                <a:lnTo>
                  <a:pt x="2910" y="200"/>
                </a:lnTo>
                <a:lnTo>
                  <a:pt x="2901" y="184"/>
                </a:lnTo>
                <a:lnTo>
                  <a:pt x="2892" y="170"/>
                </a:lnTo>
                <a:lnTo>
                  <a:pt x="2882" y="155"/>
                </a:lnTo>
                <a:lnTo>
                  <a:pt x="2871" y="141"/>
                </a:lnTo>
                <a:lnTo>
                  <a:pt x="2860" y="128"/>
                </a:lnTo>
                <a:lnTo>
                  <a:pt x="2847" y="115"/>
                </a:lnTo>
                <a:lnTo>
                  <a:pt x="2834" y="103"/>
                </a:lnTo>
                <a:lnTo>
                  <a:pt x="2821" y="91"/>
                </a:lnTo>
                <a:lnTo>
                  <a:pt x="2807" y="79"/>
                </a:lnTo>
                <a:lnTo>
                  <a:pt x="2793" y="69"/>
                </a:lnTo>
                <a:lnTo>
                  <a:pt x="2779" y="59"/>
                </a:lnTo>
                <a:lnTo>
                  <a:pt x="2763" y="50"/>
                </a:lnTo>
                <a:lnTo>
                  <a:pt x="2747" y="42"/>
                </a:lnTo>
                <a:lnTo>
                  <a:pt x="2731" y="34"/>
                </a:lnTo>
                <a:lnTo>
                  <a:pt x="2714" y="27"/>
                </a:lnTo>
                <a:lnTo>
                  <a:pt x="2698" y="21"/>
                </a:lnTo>
                <a:lnTo>
                  <a:pt x="2681" y="15"/>
                </a:lnTo>
                <a:lnTo>
                  <a:pt x="2663" y="11"/>
                </a:lnTo>
                <a:lnTo>
                  <a:pt x="2644" y="7"/>
                </a:lnTo>
                <a:lnTo>
                  <a:pt x="2626" y="4"/>
                </a:lnTo>
                <a:lnTo>
                  <a:pt x="2608" y="2"/>
                </a:lnTo>
                <a:lnTo>
                  <a:pt x="2589" y="0"/>
                </a:lnTo>
                <a:lnTo>
                  <a:pt x="2571" y="0"/>
                </a:lnTo>
                <a:lnTo>
                  <a:pt x="1095" y="0"/>
                </a:lnTo>
                <a:lnTo>
                  <a:pt x="1075" y="0"/>
                </a:lnTo>
                <a:lnTo>
                  <a:pt x="1056" y="2"/>
                </a:lnTo>
                <a:lnTo>
                  <a:pt x="1038" y="4"/>
                </a:lnTo>
                <a:lnTo>
                  <a:pt x="1020" y="7"/>
                </a:lnTo>
                <a:lnTo>
                  <a:pt x="1002" y="11"/>
                </a:lnTo>
                <a:lnTo>
                  <a:pt x="984" y="15"/>
                </a:lnTo>
                <a:lnTo>
                  <a:pt x="967" y="21"/>
                </a:lnTo>
                <a:lnTo>
                  <a:pt x="950" y="27"/>
                </a:lnTo>
                <a:lnTo>
                  <a:pt x="934" y="34"/>
                </a:lnTo>
                <a:lnTo>
                  <a:pt x="918" y="42"/>
                </a:lnTo>
                <a:lnTo>
                  <a:pt x="902" y="50"/>
                </a:lnTo>
                <a:lnTo>
                  <a:pt x="887" y="59"/>
                </a:lnTo>
                <a:lnTo>
                  <a:pt x="871" y="69"/>
                </a:lnTo>
                <a:lnTo>
                  <a:pt x="857" y="79"/>
                </a:lnTo>
                <a:lnTo>
                  <a:pt x="843" y="91"/>
                </a:lnTo>
                <a:lnTo>
                  <a:pt x="830" y="103"/>
                </a:lnTo>
                <a:lnTo>
                  <a:pt x="818" y="115"/>
                </a:lnTo>
                <a:lnTo>
                  <a:pt x="806" y="128"/>
                </a:lnTo>
                <a:lnTo>
                  <a:pt x="794" y="141"/>
                </a:lnTo>
                <a:lnTo>
                  <a:pt x="784" y="155"/>
                </a:lnTo>
                <a:lnTo>
                  <a:pt x="772" y="170"/>
                </a:lnTo>
                <a:lnTo>
                  <a:pt x="763" y="184"/>
                </a:lnTo>
                <a:lnTo>
                  <a:pt x="754" y="200"/>
                </a:lnTo>
                <a:lnTo>
                  <a:pt x="746" y="216"/>
                </a:lnTo>
                <a:lnTo>
                  <a:pt x="739" y="232"/>
                </a:lnTo>
                <a:lnTo>
                  <a:pt x="732" y="250"/>
                </a:lnTo>
                <a:lnTo>
                  <a:pt x="726" y="267"/>
                </a:lnTo>
                <a:lnTo>
                  <a:pt x="721" y="284"/>
                </a:lnTo>
                <a:lnTo>
                  <a:pt x="717" y="302"/>
                </a:lnTo>
                <a:lnTo>
                  <a:pt x="713" y="320"/>
                </a:lnTo>
                <a:lnTo>
                  <a:pt x="711" y="338"/>
                </a:lnTo>
                <a:lnTo>
                  <a:pt x="709" y="357"/>
                </a:lnTo>
                <a:lnTo>
                  <a:pt x="213" y="7938"/>
                </a:lnTo>
                <a:lnTo>
                  <a:pt x="3452" y="7938"/>
                </a:lnTo>
                <a:lnTo>
                  <a:pt x="2955" y="357"/>
                </a:lnTo>
                <a:close/>
                <a:moveTo>
                  <a:pt x="3984" y="12653"/>
                </a:moveTo>
                <a:lnTo>
                  <a:pt x="3984" y="15419"/>
                </a:lnTo>
                <a:lnTo>
                  <a:pt x="3526" y="15419"/>
                </a:lnTo>
                <a:lnTo>
                  <a:pt x="3526" y="14246"/>
                </a:lnTo>
                <a:lnTo>
                  <a:pt x="3279" y="14246"/>
                </a:lnTo>
                <a:lnTo>
                  <a:pt x="3261" y="14247"/>
                </a:lnTo>
                <a:lnTo>
                  <a:pt x="3244" y="14249"/>
                </a:lnTo>
                <a:lnTo>
                  <a:pt x="3228" y="14250"/>
                </a:lnTo>
                <a:lnTo>
                  <a:pt x="3212" y="14253"/>
                </a:lnTo>
                <a:lnTo>
                  <a:pt x="3196" y="14256"/>
                </a:lnTo>
                <a:lnTo>
                  <a:pt x="3180" y="14260"/>
                </a:lnTo>
                <a:lnTo>
                  <a:pt x="3163" y="14264"/>
                </a:lnTo>
                <a:lnTo>
                  <a:pt x="3147" y="14269"/>
                </a:lnTo>
                <a:lnTo>
                  <a:pt x="3132" y="14275"/>
                </a:lnTo>
                <a:lnTo>
                  <a:pt x="3117" y="14282"/>
                </a:lnTo>
                <a:lnTo>
                  <a:pt x="3101" y="14289"/>
                </a:lnTo>
                <a:lnTo>
                  <a:pt x="3086" y="14297"/>
                </a:lnTo>
                <a:lnTo>
                  <a:pt x="3072" y="14306"/>
                </a:lnTo>
                <a:lnTo>
                  <a:pt x="3056" y="14315"/>
                </a:lnTo>
                <a:lnTo>
                  <a:pt x="3041" y="14325"/>
                </a:lnTo>
                <a:lnTo>
                  <a:pt x="3027" y="14336"/>
                </a:lnTo>
                <a:lnTo>
                  <a:pt x="3013" y="14348"/>
                </a:lnTo>
                <a:lnTo>
                  <a:pt x="2999" y="14361"/>
                </a:lnTo>
                <a:lnTo>
                  <a:pt x="2986" y="14375"/>
                </a:lnTo>
                <a:lnTo>
                  <a:pt x="2973" y="14390"/>
                </a:lnTo>
                <a:lnTo>
                  <a:pt x="2960" y="14407"/>
                </a:lnTo>
                <a:lnTo>
                  <a:pt x="2947" y="14426"/>
                </a:lnTo>
                <a:lnTo>
                  <a:pt x="2935" y="14445"/>
                </a:lnTo>
                <a:lnTo>
                  <a:pt x="2924" y="14465"/>
                </a:lnTo>
                <a:lnTo>
                  <a:pt x="2913" y="14486"/>
                </a:lnTo>
                <a:lnTo>
                  <a:pt x="2903" y="14509"/>
                </a:lnTo>
                <a:lnTo>
                  <a:pt x="2893" y="14533"/>
                </a:lnTo>
                <a:lnTo>
                  <a:pt x="2883" y="14558"/>
                </a:lnTo>
                <a:lnTo>
                  <a:pt x="2874" y="14585"/>
                </a:lnTo>
                <a:lnTo>
                  <a:pt x="2865" y="14613"/>
                </a:lnTo>
                <a:lnTo>
                  <a:pt x="2856" y="14642"/>
                </a:lnTo>
                <a:lnTo>
                  <a:pt x="2847" y="14672"/>
                </a:lnTo>
                <a:lnTo>
                  <a:pt x="2680" y="15419"/>
                </a:lnTo>
                <a:lnTo>
                  <a:pt x="2205" y="15419"/>
                </a:lnTo>
                <a:lnTo>
                  <a:pt x="2393" y="14593"/>
                </a:lnTo>
                <a:lnTo>
                  <a:pt x="2403" y="14553"/>
                </a:lnTo>
                <a:lnTo>
                  <a:pt x="2414" y="14515"/>
                </a:lnTo>
                <a:lnTo>
                  <a:pt x="2426" y="14479"/>
                </a:lnTo>
                <a:lnTo>
                  <a:pt x="2440" y="14444"/>
                </a:lnTo>
                <a:lnTo>
                  <a:pt x="2454" y="14410"/>
                </a:lnTo>
                <a:lnTo>
                  <a:pt x="2469" y="14376"/>
                </a:lnTo>
                <a:lnTo>
                  <a:pt x="2484" y="14344"/>
                </a:lnTo>
                <a:lnTo>
                  <a:pt x="2500" y="14314"/>
                </a:lnTo>
                <a:lnTo>
                  <a:pt x="2509" y="14300"/>
                </a:lnTo>
                <a:lnTo>
                  <a:pt x="2518" y="14286"/>
                </a:lnTo>
                <a:lnTo>
                  <a:pt x="2528" y="14272"/>
                </a:lnTo>
                <a:lnTo>
                  <a:pt x="2539" y="14259"/>
                </a:lnTo>
                <a:lnTo>
                  <a:pt x="2550" y="14245"/>
                </a:lnTo>
                <a:lnTo>
                  <a:pt x="2562" y="14233"/>
                </a:lnTo>
                <a:lnTo>
                  <a:pt x="2574" y="14222"/>
                </a:lnTo>
                <a:lnTo>
                  <a:pt x="2586" y="14211"/>
                </a:lnTo>
                <a:lnTo>
                  <a:pt x="2600" y="14200"/>
                </a:lnTo>
                <a:lnTo>
                  <a:pt x="2613" y="14190"/>
                </a:lnTo>
                <a:lnTo>
                  <a:pt x="2627" y="14180"/>
                </a:lnTo>
                <a:lnTo>
                  <a:pt x="2642" y="14171"/>
                </a:lnTo>
                <a:lnTo>
                  <a:pt x="2659" y="14162"/>
                </a:lnTo>
                <a:lnTo>
                  <a:pt x="2674" y="14154"/>
                </a:lnTo>
                <a:lnTo>
                  <a:pt x="2691" y="14147"/>
                </a:lnTo>
                <a:lnTo>
                  <a:pt x="2708" y="14139"/>
                </a:lnTo>
                <a:lnTo>
                  <a:pt x="2681" y="14130"/>
                </a:lnTo>
                <a:lnTo>
                  <a:pt x="2655" y="14119"/>
                </a:lnTo>
                <a:lnTo>
                  <a:pt x="2628" y="14107"/>
                </a:lnTo>
                <a:lnTo>
                  <a:pt x="2604" y="14095"/>
                </a:lnTo>
                <a:lnTo>
                  <a:pt x="2581" y="14081"/>
                </a:lnTo>
                <a:lnTo>
                  <a:pt x="2559" y="14067"/>
                </a:lnTo>
                <a:lnTo>
                  <a:pt x="2537" y="14052"/>
                </a:lnTo>
                <a:lnTo>
                  <a:pt x="2517" y="14036"/>
                </a:lnTo>
                <a:lnTo>
                  <a:pt x="2498" y="14020"/>
                </a:lnTo>
                <a:lnTo>
                  <a:pt x="2480" y="14002"/>
                </a:lnTo>
                <a:lnTo>
                  <a:pt x="2463" y="13984"/>
                </a:lnTo>
                <a:lnTo>
                  <a:pt x="2447" y="13965"/>
                </a:lnTo>
                <a:lnTo>
                  <a:pt x="2431" y="13945"/>
                </a:lnTo>
                <a:lnTo>
                  <a:pt x="2418" y="13923"/>
                </a:lnTo>
                <a:lnTo>
                  <a:pt x="2405" y="13901"/>
                </a:lnTo>
                <a:lnTo>
                  <a:pt x="2393" y="13879"/>
                </a:lnTo>
                <a:lnTo>
                  <a:pt x="2382" y="13856"/>
                </a:lnTo>
                <a:lnTo>
                  <a:pt x="2372" y="13832"/>
                </a:lnTo>
                <a:lnTo>
                  <a:pt x="2362" y="13809"/>
                </a:lnTo>
                <a:lnTo>
                  <a:pt x="2353" y="13785"/>
                </a:lnTo>
                <a:lnTo>
                  <a:pt x="2345" y="13760"/>
                </a:lnTo>
                <a:lnTo>
                  <a:pt x="2338" y="13735"/>
                </a:lnTo>
                <a:lnTo>
                  <a:pt x="2330" y="13711"/>
                </a:lnTo>
                <a:lnTo>
                  <a:pt x="2324" y="13686"/>
                </a:lnTo>
                <a:lnTo>
                  <a:pt x="2318" y="13660"/>
                </a:lnTo>
                <a:lnTo>
                  <a:pt x="2314" y="13635"/>
                </a:lnTo>
                <a:lnTo>
                  <a:pt x="2310" y="13609"/>
                </a:lnTo>
                <a:lnTo>
                  <a:pt x="2307" y="13582"/>
                </a:lnTo>
                <a:lnTo>
                  <a:pt x="2304" y="13556"/>
                </a:lnTo>
                <a:lnTo>
                  <a:pt x="2302" y="13530"/>
                </a:lnTo>
                <a:lnTo>
                  <a:pt x="2301" y="13503"/>
                </a:lnTo>
                <a:lnTo>
                  <a:pt x="2301" y="13476"/>
                </a:lnTo>
                <a:lnTo>
                  <a:pt x="2302" y="13428"/>
                </a:lnTo>
                <a:lnTo>
                  <a:pt x="2305" y="13382"/>
                </a:lnTo>
                <a:lnTo>
                  <a:pt x="2309" y="13338"/>
                </a:lnTo>
                <a:lnTo>
                  <a:pt x="2315" y="13295"/>
                </a:lnTo>
                <a:lnTo>
                  <a:pt x="2323" y="13252"/>
                </a:lnTo>
                <a:lnTo>
                  <a:pt x="2333" y="13211"/>
                </a:lnTo>
                <a:lnTo>
                  <a:pt x="2340" y="13191"/>
                </a:lnTo>
                <a:lnTo>
                  <a:pt x="2346" y="13171"/>
                </a:lnTo>
                <a:lnTo>
                  <a:pt x="2352" y="13151"/>
                </a:lnTo>
                <a:lnTo>
                  <a:pt x="2359" y="13132"/>
                </a:lnTo>
                <a:lnTo>
                  <a:pt x="2374" y="13094"/>
                </a:lnTo>
                <a:lnTo>
                  <a:pt x="2391" y="13058"/>
                </a:lnTo>
                <a:lnTo>
                  <a:pt x="2409" y="13024"/>
                </a:lnTo>
                <a:lnTo>
                  <a:pt x="2428" y="12991"/>
                </a:lnTo>
                <a:lnTo>
                  <a:pt x="2440" y="12975"/>
                </a:lnTo>
                <a:lnTo>
                  <a:pt x="2450" y="12958"/>
                </a:lnTo>
                <a:lnTo>
                  <a:pt x="2461" y="12943"/>
                </a:lnTo>
                <a:lnTo>
                  <a:pt x="2473" y="12928"/>
                </a:lnTo>
                <a:lnTo>
                  <a:pt x="2485" y="12913"/>
                </a:lnTo>
                <a:lnTo>
                  <a:pt x="2497" y="12899"/>
                </a:lnTo>
                <a:lnTo>
                  <a:pt x="2509" y="12885"/>
                </a:lnTo>
                <a:lnTo>
                  <a:pt x="2522" y="12872"/>
                </a:lnTo>
                <a:lnTo>
                  <a:pt x="2535" y="12858"/>
                </a:lnTo>
                <a:lnTo>
                  <a:pt x="2550" y="12846"/>
                </a:lnTo>
                <a:lnTo>
                  <a:pt x="2564" y="12833"/>
                </a:lnTo>
                <a:lnTo>
                  <a:pt x="2578" y="12821"/>
                </a:lnTo>
                <a:lnTo>
                  <a:pt x="2593" y="12810"/>
                </a:lnTo>
                <a:lnTo>
                  <a:pt x="2607" y="12798"/>
                </a:lnTo>
                <a:lnTo>
                  <a:pt x="2623" y="12787"/>
                </a:lnTo>
                <a:lnTo>
                  <a:pt x="2638" y="12777"/>
                </a:lnTo>
                <a:lnTo>
                  <a:pt x="2655" y="12767"/>
                </a:lnTo>
                <a:lnTo>
                  <a:pt x="2671" y="12757"/>
                </a:lnTo>
                <a:lnTo>
                  <a:pt x="2688" y="12748"/>
                </a:lnTo>
                <a:lnTo>
                  <a:pt x="2705" y="12739"/>
                </a:lnTo>
                <a:lnTo>
                  <a:pt x="2739" y="12723"/>
                </a:lnTo>
                <a:lnTo>
                  <a:pt x="2776" y="12709"/>
                </a:lnTo>
                <a:lnTo>
                  <a:pt x="2813" y="12696"/>
                </a:lnTo>
                <a:lnTo>
                  <a:pt x="2851" y="12684"/>
                </a:lnTo>
                <a:lnTo>
                  <a:pt x="2891" y="12675"/>
                </a:lnTo>
                <a:lnTo>
                  <a:pt x="2931" y="12667"/>
                </a:lnTo>
                <a:lnTo>
                  <a:pt x="2973" y="12661"/>
                </a:lnTo>
                <a:lnTo>
                  <a:pt x="3015" y="12657"/>
                </a:lnTo>
                <a:lnTo>
                  <a:pt x="3058" y="12654"/>
                </a:lnTo>
                <a:lnTo>
                  <a:pt x="3103" y="12653"/>
                </a:lnTo>
                <a:lnTo>
                  <a:pt x="3984" y="12653"/>
                </a:lnTo>
                <a:close/>
                <a:moveTo>
                  <a:pt x="2760" y="13484"/>
                </a:moveTo>
                <a:lnTo>
                  <a:pt x="2761" y="13508"/>
                </a:lnTo>
                <a:lnTo>
                  <a:pt x="2762" y="13531"/>
                </a:lnTo>
                <a:lnTo>
                  <a:pt x="2764" y="13554"/>
                </a:lnTo>
                <a:lnTo>
                  <a:pt x="2768" y="13575"/>
                </a:lnTo>
                <a:lnTo>
                  <a:pt x="2772" y="13595"/>
                </a:lnTo>
                <a:lnTo>
                  <a:pt x="2777" y="13616"/>
                </a:lnTo>
                <a:lnTo>
                  <a:pt x="2783" y="13634"/>
                </a:lnTo>
                <a:lnTo>
                  <a:pt x="2789" y="13652"/>
                </a:lnTo>
                <a:lnTo>
                  <a:pt x="2797" y="13669"/>
                </a:lnTo>
                <a:lnTo>
                  <a:pt x="2806" y="13685"/>
                </a:lnTo>
                <a:lnTo>
                  <a:pt x="2815" y="13699"/>
                </a:lnTo>
                <a:lnTo>
                  <a:pt x="2826" y="13713"/>
                </a:lnTo>
                <a:lnTo>
                  <a:pt x="2837" y="13726"/>
                </a:lnTo>
                <a:lnTo>
                  <a:pt x="2849" y="13738"/>
                </a:lnTo>
                <a:lnTo>
                  <a:pt x="2864" y="13749"/>
                </a:lnTo>
                <a:lnTo>
                  <a:pt x="2878" y="13759"/>
                </a:lnTo>
                <a:lnTo>
                  <a:pt x="2892" y="13770"/>
                </a:lnTo>
                <a:lnTo>
                  <a:pt x="2908" y="13778"/>
                </a:lnTo>
                <a:lnTo>
                  <a:pt x="2923" y="13786"/>
                </a:lnTo>
                <a:lnTo>
                  <a:pt x="2939" y="13794"/>
                </a:lnTo>
                <a:lnTo>
                  <a:pt x="2956" y="13801"/>
                </a:lnTo>
                <a:lnTo>
                  <a:pt x="2974" y="13807"/>
                </a:lnTo>
                <a:lnTo>
                  <a:pt x="2992" y="13813"/>
                </a:lnTo>
                <a:lnTo>
                  <a:pt x="3009" y="13818"/>
                </a:lnTo>
                <a:lnTo>
                  <a:pt x="3028" y="13822"/>
                </a:lnTo>
                <a:lnTo>
                  <a:pt x="3047" y="13826"/>
                </a:lnTo>
                <a:lnTo>
                  <a:pt x="3067" y="13830"/>
                </a:lnTo>
                <a:lnTo>
                  <a:pt x="3087" y="13832"/>
                </a:lnTo>
                <a:lnTo>
                  <a:pt x="3107" y="13835"/>
                </a:lnTo>
                <a:lnTo>
                  <a:pt x="3127" y="13836"/>
                </a:lnTo>
                <a:lnTo>
                  <a:pt x="3149" y="13837"/>
                </a:lnTo>
                <a:lnTo>
                  <a:pt x="3171" y="13837"/>
                </a:lnTo>
                <a:lnTo>
                  <a:pt x="3526" y="13837"/>
                </a:lnTo>
                <a:lnTo>
                  <a:pt x="3526" y="13070"/>
                </a:lnTo>
                <a:lnTo>
                  <a:pt x="3158" y="13070"/>
                </a:lnTo>
                <a:lnTo>
                  <a:pt x="3133" y="13070"/>
                </a:lnTo>
                <a:lnTo>
                  <a:pt x="3109" y="13072"/>
                </a:lnTo>
                <a:lnTo>
                  <a:pt x="3086" y="13074"/>
                </a:lnTo>
                <a:lnTo>
                  <a:pt x="3064" y="13077"/>
                </a:lnTo>
                <a:lnTo>
                  <a:pt x="3042" y="13081"/>
                </a:lnTo>
                <a:lnTo>
                  <a:pt x="3021" y="13086"/>
                </a:lnTo>
                <a:lnTo>
                  <a:pt x="3001" y="13091"/>
                </a:lnTo>
                <a:lnTo>
                  <a:pt x="2982" y="13098"/>
                </a:lnTo>
                <a:lnTo>
                  <a:pt x="2964" y="13105"/>
                </a:lnTo>
                <a:lnTo>
                  <a:pt x="2945" y="13113"/>
                </a:lnTo>
                <a:lnTo>
                  <a:pt x="2929" y="13123"/>
                </a:lnTo>
                <a:lnTo>
                  <a:pt x="2913" y="13133"/>
                </a:lnTo>
                <a:lnTo>
                  <a:pt x="2898" y="13144"/>
                </a:lnTo>
                <a:lnTo>
                  <a:pt x="2884" y="13156"/>
                </a:lnTo>
                <a:lnTo>
                  <a:pt x="2871" y="13168"/>
                </a:lnTo>
                <a:lnTo>
                  <a:pt x="2858" y="13182"/>
                </a:lnTo>
                <a:lnTo>
                  <a:pt x="2845" y="13196"/>
                </a:lnTo>
                <a:lnTo>
                  <a:pt x="2834" y="13211"/>
                </a:lnTo>
                <a:lnTo>
                  <a:pt x="2824" y="13226"/>
                </a:lnTo>
                <a:lnTo>
                  <a:pt x="2815" y="13242"/>
                </a:lnTo>
                <a:lnTo>
                  <a:pt x="2806" y="13258"/>
                </a:lnTo>
                <a:lnTo>
                  <a:pt x="2798" y="13276"/>
                </a:lnTo>
                <a:lnTo>
                  <a:pt x="2791" y="13294"/>
                </a:lnTo>
                <a:lnTo>
                  <a:pt x="2784" y="13313"/>
                </a:lnTo>
                <a:lnTo>
                  <a:pt x="2779" y="13332"/>
                </a:lnTo>
                <a:lnTo>
                  <a:pt x="2774" y="13352"/>
                </a:lnTo>
                <a:lnTo>
                  <a:pt x="2770" y="13372"/>
                </a:lnTo>
                <a:lnTo>
                  <a:pt x="2766" y="13393"/>
                </a:lnTo>
                <a:lnTo>
                  <a:pt x="2764" y="13414"/>
                </a:lnTo>
                <a:lnTo>
                  <a:pt x="2762" y="13437"/>
                </a:lnTo>
                <a:lnTo>
                  <a:pt x="2761" y="13460"/>
                </a:lnTo>
                <a:lnTo>
                  <a:pt x="2760" y="13484"/>
                </a:lnTo>
                <a:close/>
                <a:moveTo>
                  <a:pt x="5711" y="15419"/>
                </a:moveTo>
                <a:lnTo>
                  <a:pt x="5711" y="14222"/>
                </a:lnTo>
                <a:lnTo>
                  <a:pt x="4929" y="14222"/>
                </a:lnTo>
                <a:lnTo>
                  <a:pt x="4929" y="15419"/>
                </a:lnTo>
                <a:lnTo>
                  <a:pt x="4471" y="15419"/>
                </a:lnTo>
                <a:lnTo>
                  <a:pt x="4471" y="12653"/>
                </a:lnTo>
                <a:lnTo>
                  <a:pt x="4929" y="12653"/>
                </a:lnTo>
                <a:lnTo>
                  <a:pt x="4929" y="13814"/>
                </a:lnTo>
                <a:lnTo>
                  <a:pt x="5711" y="13814"/>
                </a:lnTo>
                <a:lnTo>
                  <a:pt x="5711" y="12653"/>
                </a:lnTo>
                <a:lnTo>
                  <a:pt x="6165" y="12653"/>
                </a:lnTo>
                <a:lnTo>
                  <a:pt x="6165" y="15419"/>
                </a:lnTo>
                <a:lnTo>
                  <a:pt x="5711" y="15419"/>
                </a:lnTo>
                <a:close/>
                <a:moveTo>
                  <a:pt x="8295" y="14581"/>
                </a:moveTo>
                <a:lnTo>
                  <a:pt x="8294" y="14630"/>
                </a:lnTo>
                <a:lnTo>
                  <a:pt x="8292" y="14677"/>
                </a:lnTo>
                <a:lnTo>
                  <a:pt x="8289" y="14700"/>
                </a:lnTo>
                <a:lnTo>
                  <a:pt x="8287" y="14723"/>
                </a:lnTo>
                <a:lnTo>
                  <a:pt x="8284" y="14747"/>
                </a:lnTo>
                <a:lnTo>
                  <a:pt x="8280" y="14769"/>
                </a:lnTo>
                <a:lnTo>
                  <a:pt x="8276" y="14791"/>
                </a:lnTo>
                <a:lnTo>
                  <a:pt x="8271" y="14813"/>
                </a:lnTo>
                <a:lnTo>
                  <a:pt x="8266" y="14835"/>
                </a:lnTo>
                <a:lnTo>
                  <a:pt x="8261" y="14856"/>
                </a:lnTo>
                <a:lnTo>
                  <a:pt x="8255" y="14877"/>
                </a:lnTo>
                <a:lnTo>
                  <a:pt x="8247" y="14898"/>
                </a:lnTo>
                <a:lnTo>
                  <a:pt x="8241" y="14918"/>
                </a:lnTo>
                <a:lnTo>
                  <a:pt x="8233" y="14938"/>
                </a:lnTo>
                <a:lnTo>
                  <a:pt x="8225" y="14958"/>
                </a:lnTo>
                <a:lnTo>
                  <a:pt x="8217" y="14977"/>
                </a:lnTo>
                <a:lnTo>
                  <a:pt x="8208" y="14996"/>
                </a:lnTo>
                <a:lnTo>
                  <a:pt x="8199" y="15014"/>
                </a:lnTo>
                <a:lnTo>
                  <a:pt x="8190" y="15033"/>
                </a:lnTo>
                <a:lnTo>
                  <a:pt x="8180" y="15050"/>
                </a:lnTo>
                <a:lnTo>
                  <a:pt x="8170" y="15069"/>
                </a:lnTo>
                <a:lnTo>
                  <a:pt x="8159" y="15086"/>
                </a:lnTo>
                <a:lnTo>
                  <a:pt x="8148" y="15103"/>
                </a:lnTo>
                <a:lnTo>
                  <a:pt x="8135" y="15119"/>
                </a:lnTo>
                <a:lnTo>
                  <a:pt x="8124" y="15135"/>
                </a:lnTo>
                <a:lnTo>
                  <a:pt x="8111" y="15151"/>
                </a:lnTo>
                <a:lnTo>
                  <a:pt x="8099" y="15166"/>
                </a:lnTo>
                <a:lnTo>
                  <a:pt x="8086" y="15181"/>
                </a:lnTo>
                <a:lnTo>
                  <a:pt x="8072" y="15196"/>
                </a:lnTo>
                <a:lnTo>
                  <a:pt x="8058" y="15210"/>
                </a:lnTo>
                <a:lnTo>
                  <a:pt x="8044" y="15225"/>
                </a:lnTo>
                <a:lnTo>
                  <a:pt x="8028" y="15238"/>
                </a:lnTo>
                <a:lnTo>
                  <a:pt x="8014" y="15251"/>
                </a:lnTo>
                <a:lnTo>
                  <a:pt x="7998" y="15264"/>
                </a:lnTo>
                <a:lnTo>
                  <a:pt x="7983" y="15276"/>
                </a:lnTo>
                <a:lnTo>
                  <a:pt x="7967" y="15288"/>
                </a:lnTo>
                <a:lnTo>
                  <a:pt x="7951" y="15299"/>
                </a:lnTo>
                <a:lnTo>
                  <a:pt x="7933" y="15310"/>
                </a:lnTo>
                <a:lnTo>
                  <a:pt x="7917" y="15321"/>
                </a:lnTo>
                <a:lnTo>
                  <a:pt x="7899" y="15331"/>
                </a:lnTo>
                <a:lnTo>
                  <a:pt x="7882" y="15340"/>
                </a:lnTo>
                <a:lnTo>
                  <a:pt x="7864" y="15350"/>
                </a:lnTo>
                <a:lnTo>
                  <a:pt x="7846" y="15359"/>
                </a:lnTo>
                <a:lnTo>
                  <a:pt x="7827" y="15367"/>
                </a:lnTo>
                <a:lnTo>
                  <a:pt x="7808" y="15376"/>
                </a:lnTo>
                <a:lnTo>
                  <a:pt x="7789" y="15384"/>
                </a:lnTo>
                <a:lnTo>
                  <a:pt x="7769" y="15391"/>
                </a:lnTo>
                <a:lnTo>
                  <a:pt x="7750" y="15398"/>
                </a:lnTo>
                <a:lnTo>
                  <a:pt x="7729" y="15404"/>
                </a:lnTo>
                <a:lnTo>
                  <a:pt x="7709" y="15410"/>
                </a:lnTo>
                <a:lnTo>
                  <a:pt x="7668" y="15420"/>
                </a:lnTo>
                <a:lnTo>
                  <a:pt x="7625" y="15428"/>
                </a:lnTo>
                <a:lnTo>
                  <a:pt x="7582" y="15435"/>
                </a:lnTo>
                <a:lnTo>
                  <a:pt x="7538" y="15439"/>
                </a:lnTo>
                <a:lnTo>
                  <a:pt x="7492" y="15442"/>
                </a:lnTo>
                <a:lnTo>
                  <a:pt x="7446" y="15443"/>
                </a:lnTo>
                <a:lnTo>
                  <a:pt x="7417" y="15443"/>
                </a:lnTo>
                <a:lnTo>
                  <a:pt x="7390" y="15442"/>
                </a:lnTo>
                <a:lnTo>
                  <a:pt x="7363" y="15440"/>
                </a:lnTo>
                <a:lnTo>
                  <a:pt x="7337" y="15438"/>
                </a:lnTo>
                <a:lnTo>
                  <a:pt x="7310" y="15436"/>
                </a:lnTo>
                <a:lnTo>
                  <a:pt x="7284" y="15433"/>
                </a:lnTo>
                <a:lnTo>
                  <a:pt x="7259" y="15429"/>
                </a:lnTo>
                <a:lnTo>
                  <a:pt x="7235" y="15425"/>
                </a:lnTo>
                <a:lnTo>
                  <a:pt x="7210" y="15420"/>
                </a:lnTo>
                <a:lnTo>
                  <a:pt x="7186" y="15414"/>
                </a:lnTo>
                <a:lnTo>
                  <a:pt x="7163" y="15408"/>
                </a:lnTo>
                <a:lnTo>
                  <a:pt x="7141" y="15402"/>
                </a:lnTo>
                <a:lnTo>
                  <a:pt x="7119" y="15395"/>
                </a:lnTo>
                <a:lnTo>
                  <a:pt x="7096" y="15387"/>
                </a:lnTo>
                <a:lnTo>
                  <a:pt x="7075" y="15379"/>
                </a:lnTo>
                <a:lnTo>
                  <a:pt x="7055" y="15369"/>
                </a:lnTo>
                <a:lnTo>
                  <a:pt x="7035" y="15359"/>
                </a:lnTo>
                <a:lnTo>
                  <a:pt x="7015" y="15350"/>
                </a:lnTo>
                <a:lnTo>
                  <a:pt x="6995" y="15340"/>
                </a:lnTo>
                <a:lnTo>
                  <a:pt x="6977" y="15329"/>
                </a:lnTo>
                <a:lnTo>
                  <a:pt x="6959" y="15318"/>
                </a:lnTo>
                <a:lnTo>
                  <a:pt x="6941" y="15307"/>
                </a:lnTo>
                <a:lnTo>
                  <a:pt x="6924" y="15295"/>
                </a:lnTo>
                <a:lnTo>
                  <a:pt x="6907" y="15283"/>
                </a:lnTo>
                <a:lnTo>
                  <a:pt x="6890" y="15270"/>
                </a:lnTo>
                <a:lnTo>
                  <a:pt x="6874" y="15257"/>
                </a:lnTo>
                <a:lnTo>
                  <a:pt x="6859" y="15244"/>
                </a:lnTo>
                <a:lnTo>
                  <a:pt x="6844" y="15230"/>
                </a:lnTo>
                <a:lnTo>
                  <a:pt x="6830" y="15216"/>
                </a:lnTo>
                <a:lnTo>
                  <a:pt x="6816" y="15201"/>
                </a:lnTo>
                <a:lnTo>
                  <a:pt x="6803" y="15186"/>
                </a:lnTo>
                <a:lnTo>
                  <a:pt x="6789" y="15170"/>
                </a:lnTo>
                <a:lnTo>
                  <a:pt x="6777" y="15155"/>
                </a:lnTo>
                <a:lnTo>
                  <a:pt x="6765" y="15139"/>
                </a:lnTo>
                <a:lnTo>
                  <a:pt x="6753" y="15122"/>
                </a:lnTo>
                <a:lnTo>
                  <a:pt x="6742" y="15106"/>
                </a:lnTo>
                <a:lnTo>
                  <a:pt x="6731" y="15089"/>
                </a:lnTo>
                <a:lnTo>
                  <a:pt x="6721" y="15071"/>
                </a:lnTo>
                <a:lnTo>
                  <a:pt x="6711" y="15054"/>
                </a:lnTo>
                <a:lnTo>
                  <a:pt x="6702" y="15035"/>
                </a:lnTo>
                <a:lnTo>
                  <a:pt x="6692" y="15017"/>
                </a:lnTo>
                <a:lnTo>
                  <a:pt x="6683" y="14998"/>
                </a:lnTo>
                <a:lnTo>
                  <a:pt x="6675" y="14980"/>
                </a:lnTo>
                <a:lnTo>
                  <a:pt x="6667" y="14961"/>
                </a:lnTo>
                <a:lnTo>
                  <a:pt x="6653" y="14921"/>
                </a:lnTo>
                <a:lnTo>
                  <a:pt x="6640" y="14880"/>
                </a:lnTo>
                <a:lnTo>
                  <a:pt x="6629" y="14839"/>
                </a:lnTo>
                <a:lnTo>
                  <a:pt x="6619" y="14797"/>
                </a:lnTo>
                <a:lnTo>
                  <a:pt x="6611" y="14755"/>
                </a:lnTo>
                <a:lnTo>
                  <a:pt x="6605" y="14711"/>
                </a:lnTo>
                <a:lnTo>
                  <a:pt x="6600" y="14667"/>
                </a:lnTo>
                <a:lnTo>
                  <a:pt x="6596" y="14623"/>
                </a:lnTo>
                <a:lnTo>
                  <a:pt x="6594" y="14579"/>
                </a:lnTo>
                <a:lnTo>
                  <a:pt x="6593" y="14532"/>
                </a:lnTo>
                <a:lnTo>
                  <a:pt x="6593" y="13488"/>
                </a:lnTo>
                <a:lnTo>
                  <a:pt x="6594" y="13451"/>
                </a:lnTo>
                <a:lnTo>
                  <a:pt x="6596" y="13413"/>
                </a:lnTo>
                <a:lnTo>
                  <a:pt x="6599" y="13377"/>
                </a:lnTo>
                <a:lnTo>
                  <a:pt x="6604" y="13340"/>
                </a:lnTo>
                <a:lnTo>
                  <a:pt x="6611" y="13302"/>
                </a:lnTo>
                <a:lnTo>
                  <a:pt x="6618" y="13264"/>
                </a:lnTo>
                <a:lnTo>
                  <a:pt x="6628" y="13227"/>
                </a:lnTo>
                <a:lnTo>
                  <a:pt x="6638" y="13189"/>
                </a:lnTo>
                <a:lnTo>
                  <a:pt x="6650" y="13152"/>
                </a:lnTo>
                <a:lnTo>
                  <a:pt x="6664" y="13115"/>
                </a:lnTo>
                <a:lnTo>
                  <a:pt x="6680" y="13080"/>
                </a:lnTo>
                <a:lnTo>
                  <a:pt x="6698" y="13045"/>
                </a:lnTo>
                <a:lnTo>
                  <a:pt x="6718" y="13012"/>
                </a:lnTo>
                <a:lnTo>
                  <a:pt x="6738" y="12979"/>
                </a:lnTo>
                <a:lnTo>
                  <a:pt x="6761" y="12946"/>
                </a:lnTo>
                <a:lnTo>
                  <a:pt x="6785" y="12915"/>
                </a:lnTo>
                <a:lnTo>
                  <a:pt x="6799" y="12900"/>
                </a:lnTo>
                <a:lnTo>
                  <a:pt x="6812" y="12885"/>
                </a:lnTo>
                <a:lnTo>
                  <a:pt x="6826" y="12871"/>
                </a:lnTo>
                <a:lnTo>
                  <a:pt x="6840" y="12856"/>
                </a:lnTo>
                <a:lnTo>
                  <a:pt x="6855" y="12843"/>
                </a:lnTo>
                <a:lnTo>
                  <a:pt x="6870" y="12829"/>
                </a:lnTo>
                <a:lnTo>
                  <a:pt x="6886" y="12816"/>
                </a:lnTo>
                <a:lnTo>
                  <a:pt x="6903" y="12803"/>
                </a:lnTo>
                <a:lnTo>
                  <a:pt x="6919" y="12790"/>
                </a:lnTo>
                <a:lnTo>
                  <a:pt x="6936" y="12778"/>
                </a:lnTo>
                <a:lnTo>
                  <a:pt x="6954" y="12766"/>
                </a:lnTo>
                <a:lnTo>
                  <a:pt x="6972" y="12755"/>
                </a:lnTo>
                <a:lnTo>
                  <a:pt x="6990" y="12744"/>
                </a:lnTo>
                <a:lnTo>
                  <a:pt x="7010" y="12733"/>
                </a:lnTo>
                <a:lnTo>
                  <a:pt x="7029" y="12723"/>
                </a:lnTo>
                <a:lnTo>
                  <a:pt x="7049" y="12713"/>
                </a:lnTo>
                <a:lnTo>
                  <a:pt x="7069" y="12703"/>
                </a:lnTo>
                <a:lnTo>
                  <a:pt x="7090" y="12694"/>
                </a:lnTo>
                <a:lnTo>
                  <a:pt x="7113" y="12686"/>
                </a:lnTo>
                <a:lnTo>
                  <a:pt x="7135" y="12678"/>
                </a:lnTo>
                <a:lnTo>
                  <a:pt x="7157" y="12671"/>
                </a:lnTo>
                <a:lnTo>
                  <a:pt x="7180" y="12664"/>
                </a:lnTo>
                <a:lnTo>
                  <a:pt x="7204" y="12659"/>
                </a:lnTo>
                <a:lnTo>
                  <a:pt x="7229" y="12653"/>
                </a:lnTo>
                <a:lnTo>
                  <a:pt x="7254" y="12649"/>
                </a:lnTo>
                <a:lnTo>
                  <a:pt x="7280" y="12645"/>
                </a:lnTo>
                <a:lnTo>
                  <a:pt x="7306" y="12641"/>
                </a:lnTo>
                <a:lnTo>
                  <a:pt x="7333" y="12637"/>
                </a:lnTo>
                <a:lnTo>
                  <a:pt x="7360" y="12635"/>
                </a:lnTo>
                <a:lnTo>
                  <a:pt x="7388" y="12634"/>
                </a:lnTo>
                <a:lnTo>
                  <a:pt x="7416" y="12633"/>
                </a:lnTo>
                <a:lnTo>
                  <a:pt x="7446" y="12632"/>
                </a:lnTo>
                <a:lnTo>
                  <a:pt x="7473" y="12633"/>
                </a:lnTo>
                <a:lnTo>
                  <a:pt x="7499" y="12634"/>
                </a:lnTo>
                <a:lnTo>
                  <a:pt x="7526" y="12635"/>
                </a:lnTo>
                <a:lnTo>
                  <a:pt x="7552" y="12637"/>
                </a:lnTo>
                <a:lnTo>
                  <a:pt x="7577" y="12641"/>
                </a:lnTo>
                <a:lnTo>
                  <a:pt x="7602" y="12644"/>
                </a:lnTo>
                <a:lnTo>
                  <a:pt x="7626" y="12648"/>
                </a:lnTo>
                <a:lnTo>
                  <a:pt x="7650" y="12652"/>
                </a:lnTo>
                <a:lnTo>
                  <a:pt x="7674" y="12657"/>
                </a:lnTo>
                <a:lnTo>
                  <a:pt x="7696" y="12663"/>
                </a:lnTo>
                <a:lnTo>
                  <a:pt x="7719" y="12669"/>
                </a:lnTo>
                <a:lnTo>
                  <a:pt x="7742" y="12676"/>
                </a:lnTo>
                <a:lnTo>
                  <a:pt x="7763" y="12683"/>
                </a:lnTo>
                <a:lnTo>
                  <a:pt x="7784" y="12691"/>
                </a:lnTo>
                <a:lnTo>
                  <a:pt x="7804" y="12699"/>
                </a:lnTo>
                <a:lnTo>
                  <a:pt x="7824" y="12709"/>
                </a:lnTo>
                <a:lnTo>
                  <a:pt x="7845" y="12718"/>
                </a:lnTo>
                <a:lnTo>
                  <a:pt x="7864" y="12728"/>
                </a:lnTo>
                <a:lnTo>
                  <a:pt x="7883" y="12738"/>
                </a:lnTo>
                <a:lnTo>
                  <a:pt x="7901" y="12749"/>
                </a:lnTo>
                <a:lnTo>
                  <a:pt x="7919" y="12760"/>
                </a:lnTo>
                <a:lnTo>
                  <a:pt x="7936" y="12771"/>
                </a:lnTo>
                <a:lnTo>
                  <a:pt x="7954" y="12783"/>
                </a:lnTo>
                <a:lnTo>
                  <a:pt x="7971" y="12795"/>
                </a:lnTo>
                <a:lnTo>
                  <a:pt x="7987" y="12808"/>
                </a:lnTo>
                <a:lnTo>
                  <a:pt x="8003" y="12821"/>
                </a:lnTo>
                <a:lnTo>
                  <a:pt x="8018" y="12834"/>
                </a:lnTo>
                <a:lnTo>
                  <a:pt x="8033" y="12848"/>
                </a:lnTo>
                <a:lnTo>
                  <a:pt x="8049" y="12862"/>
                </a:lnTo>
                <a:lnTo>
                  <a:pt x="8063" y="12876"/>
                </a:lnTo>
                <a:lnTo>
                  <a:pt x="8077" y="12890"/>
                </a:lnTo>
                <a:lnTo>
                  <a:pt x="8090" y="12905"/>
                </a:lnTo>
                <a:lnTo>
                  <a:pt x="8115" y="12936"/>
                </a:lnTo>
                <a:lnTo>
                  <a:pt x="8139" y="12968"/>
                </a:lnTo>
                <a:lnTo>
                  <a:pt x="8162" y="13001"/>
                </a:lnTo>
                <a:lnTo>
                  <a:pt x="8182" y="13034"/>
                </a:lnTo>
                <a:lnTo>
                  <a:pt x="8200" y="13069"/>
                </a:lnTo>
                <a:lnTo>
                  <a:pt x="8217" y="13105"/>
                </a:lnTo>
                <a:lnTo>
                  <a:pt x="8232" y="13142"/>
                </a:lnTo>
                <a:lnTo>
                  <a:pt x="8245" y="13180"/>
                </a:lnTo>
                <a:lnTo>
                  <a:pt x="8258" y="13218"/>
                </a:lnTo>
                <a:lnTo>
                  <a:pt x="8268" y="13256"/>
                </a:lnTo>
                <a:lnTo>
                  <a:pt x="8276" y="13295"/>
                </a:lnTo>
                <a:lnTo>
                  <a:pt x="8283" y="13333"/>
                </a:lnTo>
                <a:lnTo>
                  <a:pt x="8288" y="13372"/>
                </a:lnTo>
                <a:lnTo>
                  <a:pt x="8292" y="13410"/>
                </a:lnTo>
                <a:lnTo>
                  <a:pt x="8295" y="13449"/>
                </a:lnTo>
                <a:lnTo>
                  <a:pt x="8295" y="13488"/>
                </a:lnTo>
                <a:lnTo>
                  <a:pt x="8295" y="14581"/>
                </a:lnTo>
                <a:close/>
                <a:moveTo>
                  <a:pt x="7832" y="13480"/>
                </a:moveTo>
                <a:lnTo>
                  <a:pt x="7832" y="13467"/>
                </a:lnTo>
                <a:lnTo>
                  <a:pt x="7831" y="13454"/>
                </a:lnTo>
                <a:lnTo>
                  <a:pt x="7830" y="13438"/>
                </a:lnTo>
                <a:lnTo>
                  <a:pt x="7828" y="13424"/>
                </a:lnTo>
                <a:lnTo>
                  <a:pt x="7822" y="13392"/>
                </a:lnTo>
                <a:lnTo>
                  <a:pt x="7814" y="13359"/>
                </a:lnTo>
                <a:lnTo>
                  <a:pt x="7810" y="13342"/>
                </a:lnTo>
                <a:lnTo>
                  <a:pt x="7804" y="13325"/>
                </a:lnTo>
                <a:lnTo>
                  <a:pt x="7797" y="13308"/>
                </a:lnTo>
                <a:lnTo>
                  <a:pt x="7790" y="13291"/>
                </a:lnTo>
                <a:lnTo>
                  <a:pt x="7782" y="13274"/>
                </a:lnTo>
                <a:lnTo>
                  <a:pt x="7773" y="13257"/>
                </a:lnTo>
                <a:lnTo>
                  <a:pt x="7764" y="13241"/>
                </a:lnTo>
                <a:lnTo>
                  <a:pt x="7753" y="13225"/>
                </a:lnTo>
                <a:lnTo>
                  <a:pt x="7742" y="13210"/>
                </a:lnTo>
                <a:lnTo>
                  <a:pt x="7729" y="13195"/>
                </a:lnTo>
                <a:lnTo>
                  <a:pt x="7715" y="13180"/>
                </a:lnTo>
                <a:lnTo>
                  <a:pt x="7701" y="13166"/>
                </a:lnTo>
                <a:lnTo>
                  <a:pt x="7686" y="13153"/>
                </a:lnTo>
                <a:lnTo>
                  <a:pt x="7670" y="13140"/>
                </a:lnTo>
                <a:lnTo>
                  <a:pt x="7653" y="13128"/>
                </a:lnTo>
                <a:lnTo>
                  <a:pt x="7636" y="13115"/>
                </a:lnTo>
                <a:lnTo>
                  <a:pt x="7616" y="13105"/>
                </a:lnTo>
                <a:lnTo>
                  <a:pt x="7595" y="13096"/>
                </a:lnTo>
                <a:lnTo>
                  <a:pt x="7574" y="13088"/>
                </a:lnTo>
                <a:lnTo>
                  <a:pt x="7551" y="13081"/>
                </a:lnTo>
                <a:lnTo>
                  <a:pt x="7527" y="13076"/>
                </a:lnTo>
                <a:lnTo>
                  <a:pt x="7501" y="13073"/>
                </a:lnTo>
                <a:lnTo>
                  <a:pt x="7474" y="13071"/>
                </a:lnTo>
                <a:lnTo>
                  <a:pt x="7446" y="13070"/>
                </a:lnTo>
                <a:lnTo>
                  <a:pt x="7417" y="13071"/>
                </a:lnTo>
                <a:lnTo>
                  <a:pt x="7390" y="13073"/>
                </a:lnTo>
                <a:lnTo>
                  <a:pt x="7364" y="13076"/>
                </a:lnTo>
                <a:lnTo>
                  <a:pt x="7340" y="13080"/>
                </a:lnTo>
                <a:lnTo>
                  <a:pt x="7316" y="13086"/>
                </a:lnTo>
                <a:lnTo>
                  <a:pt x="7293" y="13093"/>
                </a:lnTo>
                <a:lnTo>
                  <a:pt x="7272" y="13102"/>
                </a:lnTo>
                <a:lnTo>
                  <a:pt x="7253" y="13111"/>
                </a:lnTo>
                <a:lnTo>
                  <a:pt x="7234" y="13123"/>
                </a:lnTo>
                <a:lnTo>
                  <a:pt x="7216" y="13134"/>
                </a:lnTo>
                <a:lnTo>
                  <a:pt x="7198" y="13146"/>
                </a:lnTo>
                <a:lnTo>
                  <a:pt x="7182" y="13159"/>
                </a:lnTo>
                <a:lnTo>
                  <a:pt x="7168" y="13172"/>
                </a:lnTo>
                <a:lnTo>
                  <a:pt x="7154" y="13186"/>
                </a:lnTo>
                <a:lnTo>
                  <a:pt x="7141" y="13200"/>
                </a:lnTo>
                <a:lnTo>
                  <a:pt x="7129" y="13215"/>
                </a:lnTo>
                <a:lnTo>
                  <a:pt x="7118" y="13231"/>
                </a:lnTo>
                <a:lnTo>
                  <a:pt x="7107" y="13247"/>
                </a:lnTo>
                <a:lnTo>
                  <a:pt x="7098" y="13263"/>
                </a:lnTo>
                <a:lnTo>
                  <a:pt x="7089" y="13279"/>
                </a:lnTo>
                <a:lnTo>
                  <a:pt x="7081" y="13297"/>
                </a:lnTo>
                <a:lnTo>
                  <a:pt x="7074" y="13314"/>
                </a:lnTo>
                <a:lnTo>
                  <a:pt x="7068" y="13332"/>
                </a:lnTo>
                <a:lnTo>
                  <a:pt x="7063" y="13349"/>
                </a:lnTo>
                <a:lnTo>
                  <a:pt x="7058" y="13367"/>
                </a:lnTo>
                <a:lnTo>
                  <a:pt x="7054" y="13384"/>
                </a:lnTo>
                <a:lnTo>
                  <a:pt x="7051" y="13401"/>
                </a:lnTo>
                <a:lnTo>
                  <a:pt x="7048" y="13418"/>
                </a:lnTo>
                <a:lnTo>
                  <a:pt x="7046" y="13435"/>
                </a:lnTo>
                <a:lnTo>
                  <a:pt x="7044" y="13452"/>
                </a:lnTo>
                <a:lnTo>
                  <a:pt x="7043" y="13469"/>
                </a:lnTo>
                <a:lnTo>
                  <a:pt x="7043" y="13484"/>
                </a:lnTo>
                <a:lnTo>
                  <a:pt x="7047" y="14544"/>
                </a:lnTo>
                <a:lnTo>
                  <a:pt x="7047" y="14568"/>
                </a:lnTo>
                <a:lnTo>
                  <a:pt x="7048" y="14593"/>
                </a:lnTo>
                <a:lnTo>
                  <a:pt x="7050" y="14616"/>
                </a:lnTo>
                <a:lnTo>
                  <a:pt x="7053" y="14639"/>
                </a:lnTo>
                <a:lnTo>
                  <a:pt x="7056" y="14662"/>
                </a:lnTo>
                <a:lnTo>
                  <a:pt x="7060" y="14684"/>
                </a:lnTo>
                <a:lnTo>
                  <a:pt x="7064" y="14705"/>
                </a:lnTo>
                <a:lnTo>
                  <a:pt x="7070" y="14726"/>
                </a:lnTo>
                <a:lnTo>
                  <a:pt x="7076" y="14748"/>
                </a:lnTo>
                <a:lnTo>
                  <a:pt x="7083" y="14768"/>
                </a:lnTo>
                <a:lnTo>
                  <a:pt x="7090" y="14788"/>
                </a:lnTo>
                <a:lnTo>
                  <a:pt x="7098" y="14807"/>
                </a:lnTo>
                <a:lnTo>
                  <a:pt x="7107" y="14825"/>
                </a:lnTo>
                <a:lnTo>
                  <a:pt x="7118" y="14843"/>
                </a:lnTo>
                <a:lnTo>
                  <a:pt x="7128" y="14861"/>
                </a:lnTo>
                <a:lnTo>
                  <a:pt x="7139" y="14878"/>
                </a:lnTo>
                <a:lnTo>
                  <a:pt x="7151" y="14895"/>
                </a:lnTo>
                <a:lnTo>
                  <a:pt x="7164" y="14911"/>
                </a:lnTo>
                <a:lnTo>
                  <a:pt x="7177" y="14925"/>
                </a:lnTo>
                <a:lnTo>
                  <a:pt x="7192" y="14938"/>
                </a:lnTo>
                <a:lnTo>
                  <a:pt x="7208" y="14950"/>
                </a:lnTo>
                <a:lnTo>
                  <a:pt x="7226" y="14961"/>
                </a:lnTo>
                <a:lnTo>
                  <a:pt x="7244" y="14971"/>
                </a:lnTo>
                <a:lnTo>
                  <a:pt x="7262" y="14980"/>
                </a:lnTo>
                <a:lnTo>
                  <a:pt x="7282" y="14988"/>
                </a:lnTo>
                <a:lnTo>
                  <a:pt x="7303" y="14994"/>
                </a:lnTo>
                <a:lnTo>
                  <a:pt x="7326" y="15000"/>
                </a:lnTo>
                <a:lnTo>
                  <a:pt x="7348" y="15005"/>
                </a:lnTo>
                <a:lnTo>
                  <a:pt x="7372" y="15009"/>
                </a:lnTo>
                <a:lnTo>
                  <a:pt x="7397" y="15011"/>
                </a:lnTo>
                <a:lnTo>
                  <a:pt x="7423" y="15013"/>
                </a:lnTo>
                <a:lnTo>
                  <a:pt x="7450" y="15013"/>
                </a:lnTo>
                <a:lnTo>
                  <a:pt x="7469" y="15013"/>
                </a:lnTo>
                <a:lnTo>
                  <a:pt x="7488" y="15012"/>
                </a:lnTo>
                <a:lnTo>
                  <a:pt x="7506" y="15010"/>
                </a:lnTo>
                <a:lnTo>
                  <a:pt x="7525" y="15007"/>
                </a:lnTo>
                <a:lnTo>
                  <a:pt x="7543" y="15003"/>
                </a:lnTo>
                <a:lnTo>
                  <a:pt x="7561" y="14999"/>
                </a:lnTo>
                <a:lnTo>
                  <a:pt x="7578" y="14993"/>
                </a:lnTo>
                <a:lnTo>
                  <a:pt x="7595" y="14987"/>
                </a:lnTo>
                <a:lnTo>
                  <a:pt x="7611" y="14980"/>
                </a:lnTo>
                <a:lnTo>
                  <a:pt x="7627" y="14972"/>
                </a:lnTo>
                <a:lnTo>
                  <a:pt x="7644" y="14964"/>
                </a:lnTo>
                <a:lnTo>
                  <a:pt x="7660" y="14955"/>
                </a:lnTo>
                <a:lnTo>
                  <a:pt x="7675" y="14944"/>
                </a:lnTo>
                <a:lnTo>
                  <a:pt x="7690" y="14933"/>
                </a:lnTo>
                <a:lnTo>
                  <a:pt x="7704" y="14921"/>
                </a:lnTo>
                <a:lnTo>
                  <a:pt x="7719" y="14909"/>
                </a:lnTo>
                <a:lnTo>
                  <a:pt x="7733" y="14895"/>
                </a:lnTo>
                <a:lnTo>
                  <a:pt x="7746" y="14880"/>
                </a:lnTo>
                <a:lnTo>
                  <a:pt x="7758" y="14865"/>
                </a:lnTo>
                <a:lnTo>
                  <a:pt x="7769" y="14850"/>
                </a:lnTo>
                <a:lnTo>
                  <a:pt x="7779" y="14834"/>
                </a:lnTo>
                <a:lnTo>
                  <a:pt x="7788" y="14818"/>
                </a:lnTo>
                <a:lnTo>
                  <a:pt x="7797" y="14801"/>
                </a:lnTo>
                <a:lnTo>
                  <a:pt x="7804" y="14783"/>
                </a:lnTo>
                <a:lnTo>
                  <a:pt x="7811" y="14765"/>
                </a:lnTo>
                <a:lnTo>
                  <a:pt x="7816" y="14746"/>
                </a:lnTo>
                <a:lnTo>
                  <a:pt x="7821" y="14726"/>
                </a:lnTo>
                <a:lnTo>
                  <a:pt x="7825" y="14706"/>
                </a:lnTo>
                <a:lnTo>
                  <a:pt x="7828" y="14685"/>
                </a:lnTo>
                <a:lnTo>
                  <a:pt x="7830" y="14664"/>
                </a:lnTo>
                <a:lnTo>
                  <a:pt x="7832" y="14642"/>
                </a:lnTo>
                <a:lnTo>
                  <a:pt x="7832" y="14620"/>
                </a:lnTo>
                <a:lnTo>
                  <a:pt x="7832" y="13480"/>
                </a:lnTo>
                <a:close/>
                <a:moveTo>
                  <a:pt x="10334" y="14831"/>
                </a:moveTo>
                <a:lnTo>
                  <a:pt x="10324" y="14866"/>
                </a:lnTo>
                <a:lnTo>
                  <a:pt x="10313" y="14902"/>
                </a:lnTo>
                <a:lnTo>
                  <a:pt x="10302" y="14935"/>
                </a:lnTo>
                <a:lnTo>
                  <a:pt x="10290" y="14968"/>
                </a:lnTo>
                <a:lnTo>
                  <a:pt x="10276" y="14999"/>
                </a:lnTo>
                <a:lnTo>
                  <a:pt x="10261" y="15030"/>
                </a:lnTo>
                <a:lnTo>
                  <a:pt x="10245" y="15060"/>
                </a:lnTo>
                <a:lnTo>
                  <a:pt x="10228" y="15089"/>
                </a:lnTo>
                <a:lnTo>
                  <a:pt x="10209" y="15116"/>
                </a:lnTo>
                <a:lnTo>
                  <a:pt x="10189" y="15143"/>
                </a:lnTo>
                <a:lnTo>
                  <a:pt x="10168" y="15168"/>
                </a:lnTo>
                <a:lnTo>
                  <a:pt x="10146" y="15193"/>
                </a:lnTo>
                <a:lnTo>
                  <a:pt x="10123" y="15217"/>
                </a:lnTo>
                <a:lnTo>
                  <a:pt x="10098" y="15240"/>
                </a:lnTo>
                <a:lnTo>
                  <a:pt x="10073" y="15261"/>
                </a:lnTo>
                <a:lnTo>
                  <a:pt x="10046" y="15282"/>
                </a:lnTo>
                <a:lnTo>
                  <a:pt x="10019" y="15301"/>
                </a:lnTo>
                <a:lnTo>
                  <a:pt x="9990" y="15319"/>
                </a:lnTo>
                <a:lnTo>
                  <a:pt x="9961" y="15336"/>
                </a:lnTo>
                <a:lnTo>
                  <a:pt x="9931" y="15352"/>
                </a:lnTo>
                <a:lnTo>
                  <a:pt x="9900" y="15366"/>
                </a:lnTo>
                <a:lnTo>
                  <a:pt x="9868" y="15380"/>
                </a:lnTo>
                <a:lnTo>
                  <a:pt x="9837" y="15392"/>
                </a:lnTo>
                <a:lnTo>
                  <a:pt x="9803" y="15403"/>
                </a:lnTo>
                <a:lnTo>
                  <a:pt x="9770" y="15412"/>
                </a:lnTo>
                <a:lnTo>
                  <a:pt x="9736" y="15420"/>
                </a:lnTo>
                <a:lnTo>
                  <a:pt x="9701" y="15427"/>
                </a:lnTo>
                <a:lnTo>
                  <a:pt x="9665" y="15433"/>
                </a:lnTo>
                <a:lnTo>
                  <a:pt x="9629" y="15437"/>
                </a:lnTo>
                <a:lnTo>
                  <a:pt x="9591" y="15440"/>
                </a:lnTo>
                <a:lnTo>
                  <a:pt x="9554" y="15442"/>
                </a:lnTo>
                <a:lnTo>
                  <a:pt x="9516" y="15443"/>
                </a:lnTo>
                <a:lnTo>
                  <a:pt x="9488" y="15443"/>
                </a:lnTo>
                <a:lnTo>
                  <a:pt x="9462" y="15442"/>
                </a:lnTo>
                <a:lnTo>
                  <a:pt x="9437" y="15441"/>
                </a:lnTo>
                <a:lnTo>
                  <a:pt x="9412" y="15439"/>
                </a:lnTo>
                <a:lnTo>
                  <a:pt x="9386" y="15436"/>
                </a:lnTo>
                <a:lnTo>
                  <a:pt x="9362" y="15433"/>
                </a:lnTo>
                <a:lnTo>
                  <a:pt x="9338" y="15430"/>
                </a:lnTo>
                <a:lnTo>
                  <a:pt x="9314" y="15426"/>
                </a:lnTo>
                <a:lnTo>
                  <a:pt x="9291" y="15422"/>
                </a:lnTo>
                <a:lnTo>
                  <a:pt x="9268" y="15417"/>
                </a:lnTo>
                <a:lnTo>
                  <a:pt x="9246" y="15411"/>
                </a:lnTo>
                <a:lnTo>
                  <a:pt x="9224" y="15405"/>
                </a:lnTo>
                <a:lnTo>
                  <a:pt x="9203" y="15399"/>
                </a:lnTo>
                <a:lnTo>
                  <a:pt x="9181" y="15392"/>
                </a:lnTo>
                <a:lnTo>
                  <a:pt x="9161" y="15384"/>
                </a:lnTo>
                <a:lnTo>
                  <a:pt x="9141" y="15376"/>
                </a:lnTo>
                <a:lnTo>
                  <a:pt x="9121" y="15366"/>
                </a:lnTo>
                <a:lnTo>
                  <a:pt x="9102" y="15357"/>
                </a:lnTo>
                <a:lnTo>
                  <a:pt x="9083" y="15348"/>
                </a:lnTo>
                <a:lnTo>
                  <a:pt x="9064" y="15338"/>
                </a:lnTo>
                <a:lnTo>
                  <a:pt x="9046" y="15328"/>
                </a:lnTo>
                <a:lnTo>
                  <a:pt x="9028" y="15317"/>
                </a:lnTo>
                <a:lnTo>
                  <a:pt x="9011" y="15306"/>
                </a:lnTo>
                <a:lnTo>
                  <a:pt x="8994" y="15295"/>
                </a:lnTo>
                <a:lnTo>
                  <a:pt x="8978" y="15283"/>
                </a:lnTo>
                <a:lnTo>
                  <a:pt x="8961" y="15271"/>
                </a:lnTo>
                <a:lnTo>
                  <a:pt x="8946" y="15258"/>
                </a:lnTo>
                <a:lnTo>
                  <a:pt x="8930" y="15245"/>
                </a:lnTo>
                <a:lnTo>
                  <a:pt x="8916" y="15232"/>
                </a:lnTo>
                <a:lnTo>
                  <a:pt x="8901" y="15218"/>
                </a:lnTo>
                <a:lnTo>
                  <a:pt x="8887" y="15203"/>
                </a:lnTo>
                <a:lnTo>
                  <a:pt x="8873" y="15188"/>
                </a:lnTo>
                <a:lnTo>
                  <a:pt x="8860" y="15173"/>
                </a:lnTo>
                <a:lnTo>
                  <a:pt x="8847" y="15158"/>
                </a:lnTo>
                <a:lnTo>
                  <a:pt x="8835" y="15142"/>
                </a:lnTo>
                <a:lnTo>
                  <a:pt x="8823" y="15126"/>
                </a:lnTo>
                <a:lnTo>
                  <a:pt x="8812" y="15110"/>
                </a:lnTo>
                <a:lnTo>
                  <a:pt x="8801" y="15093"/>
                </a:lnTo>
                <a:lnTo>
                  <a:pt x="8790" y="15076"/>
                </a:lnTo>
                <a:lnTo>
                  <a:pt x="8780" y="15059"/>
                </a:lnTo>
                <a:lnTo>
                  <a:pt x="8769" y="15041"/>
                </a:lnTo>
                <a:lnTo>
                  <a:pt x="8760" y="15023"/>
                </a:lnTo>
                <a:lnTo>
                  <a:pt x="8751" y="15005"/>
                </a:lnTo>
                <a:lnTo>
                  <a:pt x="8743" y="14986"/>
                </a:lnTo>
                <a:lnTo>
                  <a:pt x="8735" y="14967"/>
                </a:lnTo>
                <a:lnTo>
                  <a:pt x="8728" y="14948"/>
                </a:lnTo>
                <a:lnTo>
                  <a:pt x="8721" y="14929"/>
                </a:lnTo>
                <a:lnTo>
                  <a:pt x="8714" y="14909"/>
                </a:lnTo>
                <a:lnTo>
                  <a:pt x="8702" y="14867"/>
                </a:lnTo>
                <a:lnTo>
                  <a:pt x="8692" y="14826"/>
                </a:lnTo>
                <a:lnTo>
                  <a:pt x="8683" y="14784"/>
                </a:lnTo>
                <a:lnTo>
                  <a:pt x="8675" y="14741"/>
                </a:lnTo>
                <a:lnTo>
                  <a:pt x="8670" y="14697"/>
                </a:lnTo>
                <a:lnTo>
                  <a:pt x="8665" y="14652"/>
                </a:lnTo>
                <a:lnTo>
                  <a:pt x="8662" y="14607"/>
                </a:lnTo>
                <a:lnTo>
                  <a:pt x="8662" y="14560"/>
                </a:lnTo>
                <a:lnTo>
                  <a:pt x="8662" y="13488"/>
                </a:lnTo>
                <a:lnTo>
                  <a:pt x="8662" y="13447"/>
                </a:lnTo>
                <a:lnTo>
                  <a:pt x="8665" y="13406"/>
                </a:lnTo>
                <a:lnTo>
                  <a:pt x="8670" y="13366"/>
                </a:lnTo>
                <a:lnTo>
                  <a:pt x="8675" y="13327"/>
                </a:lnTo>
                <a:lnTo>
                  <a:pt x="8683" y="13287"/>
                </a:lnTo>
                <a:lnTo>
                  <a:pt x="8692" y="13247"/>
                </a:lnTo>
                <a:lnTo>
                  <a:pt x="8702" y="13208"/>
                </a:lnTo>
                <a:lnTo>
                  <a:pt x="8714" y="13170"/>
                </a:lnTo>
                <a:lnTo>
                  <a:pt x="8728" y="13132"/>
                </a:lnTo>
                <a:lnTo>
                  <a:pt x="8743" y="13094"/>
                </a:lnTo>
                <a:lnTo>
                  <a:pt x="8760" y="13058"/>
                </a:lnTo>
                <a:lnTo>
                  <a:pt x="8780" y="13024"/>
                </a:lnTo>
                <a:lnTo>
                  <a:pt x="8800" y="12990"/>
                </a:lnTo>
                <a:lnTo>
                  <a:pt x="8822" y="12957"/>
                </a:lnTo>
                <a:lnTo>
                  <a:pt x="8846" y="12925"/>
                </a:lnTo>
                <a:lnTo>
                  <a:pt x="8871" y="12895"/>
                </a:lnTo>
                <a:lnTo>
                  <a:pt x="8885" y="12881"/>
                </a:lnTo>
                <a:lnTo>
                  <a:pt x="8899" y="12866"/>
                </a:lnTo>
                <a:lnTo>
                  <a:pt x="8913" y="12853"/>
                </a:lnTo>
                <a:lnTo>
                  <a:pt x="8928" y="12839"/>
                </a:lnTo>
                <a:lnTo>
                  <a:pt x="8943" y="12826"/>
                </a:lnTo>
                <a:lnTo>
                  <a:pt x="8958" y="12813"/>
                </a:lnTo>
                <a:lnTo>
                  <a:pt x="8974" y="12801"/>
                </a:lnTo>
                <a:lnTo>
                  <a:pt x="8991" y="12788"/>
                </a:lnTo>
                <a:lnTo>
                  <a:pt x="9008" y="12776"/>
                </a:lnTo>
                <a:lnTo>
                  <a:pt x="9025" y="12765"/>
                </a:lnTo>
                <a:lnTo>
                  <a:pt x="9042" y="12754"/>
                </a:lnTo>
                <a:lnTo>
                  <a:pt x="9060" y="12743"/>
                </a:lnTo>
                <a:lnTo>
                  <a:pt x="9078" y="12733"/>
                </a:lnTo>
                <a:lnTo>
                  <a:pt x="9098" y="12723"/>
                </a:lnTo>
                <a:lnTo>
                  <a:pt x="9117" y="12714"/>
                </a:lnTo>
                <a:lnTo>
                  <a:pt x="9137" y="12705"/>
                </a:lnTo>
                <a:lnTo>
                  <a:pt x="9157" y="12696"/>
                </a:lnTo>
                <a:lnTo>
                  <a:pt x="9177" y="12688"/>
                </a:lnTo>
                <a:lnTo>
                  <a:pt x="9199" y="12680"/>
                </a:lnTo>
                <a:lnTo>
                  <a:pt x="9220" y="12673"/>
                </a:lnTo>
                <a:lnTo>
                  <a:pt x="9242" y="12667"/>
                </a:lnTo>
                <a:lnTo>
                  <a:pt x="9264" y="12661"/>
                </a:lnTo>
                <a:lnTo>
                  <a:pt x="9287" y="12656"/>
                </a:lnTo>
                <a:lnTo>
                  <a:pt x="9311" y="12651"/>
                </a:lnTo>
                <a:lnTo>
                  <a:pt x="9335" y="12647"/>
                </a:lnTo>
                <a:lnTo>
                  <a:pt x="9359" y="12644"/>
                </a:lnTo>
                <a:lnTo>
                  <a:pt x="9384" y="12640"/>
                </a:lnTo>
                <a:lnTo>
                  <a:pt x="9410" y="12637"/>
                </a:lnTo>
                <a:lnTo>
                  <a:pt x="9435" y="12635"/>
                </a:lnTo>
                <a:lnTo>
                  <a:pt x="9461" y="12634"/>
                </a:lnTo>
                <a:lnTo>
                  <a:pt x="9488" y="12633"/>
                </a:lnTo>
                <a:lnTo>
                  <a:pt x="9516" y="12632"/>
                </a:lnTo>
                <a:lnTo>
                  <a:pt x="9557" y="12633"/>
                </a:lnTo>
                <a:lnTo>
                  <a:pt x="9597" y="12635"/>
                </a:lnTo>
                <a:lnTo>
                  <a:pt x="9637" y="12640"/>
                </a:lnTo>
                <a:lnTo>
                  <a:pt x="9675" y="12644"/>
                </a:lnTo>
                <a:lnTo>
                  <a:pt x="9713" y="12650"/>
                </a:lnTo>
                <a:lnTo>
                  <a:pt x="9749" y="12658"/>
                </a:lnTo>
                <a:lnTo>
                  <a:pt x="9784" y="12667"/>
                </a:lnTo>
                <a:lnTo>
                  <a:pt x="9819" y="12677"/>
                </a:lnTo>
                <a:lnTo>
                  <a:pt x="9853" y="12689"/>
                </a:lnTo>
                <a:lnTo>
                  <a:pt x="9885" y="12701"/>
                </a:lnTo>
                <a:lnTo>
                  <a:pt x="9917" y="12716"/>
                </a:lnTo>
                <a:lnTo>
                  <a:pt x="9948" y="12731"/>
                </a:lnTo>
                <a:lnTo>
                  <a:pt x="9977" y="12748"/>
                </a:lnTo>
                <a:lnTo>
                  <a:pt x="10005" y="12767"/>
                </a:lnTo>
                <a:lnTo>
                  <a:pt x="10034" y="12786"/>
                </a:lnTo>
                <a:lnTo>
                  <a:pt x="10060" y="12808"/>
                </a:lnTo>
                <a:lnTo>
                  <a:pt x="10085" y="12830"/>
                </a:lnTo>
                <a:lnTo>
                  <a:pt x="10110" y="12853"/>
                </a:lnTo>
                <a:lnTo>
                  <a:pt x="10134" y="12877"/>
                </a:lnTo>
                <a:lnTo>
                  <a:pt x="10156" y="12901"/>
                </a:lnTo>
                <a:lnTo>
                  <a:pt x="10177" y="12925"/>
                </a:lnTo>
                <a:lnTo>
                  <a:pt x="10197" y="12951"/>
                </a:lnTo>
                <a:lnTo>
                  <a:pt x="10216" y="12978"/>
                </a:lnTo>
                <a:lnTo>
                  <a:pt x="10234" y="13005"/>
                </a:lnTo>
                <a:lnTo>
                  <a:pt x="10251" y="13032"/>
                </a:lnTo>
                <a:lnTo>
                  <a:pt x="10266" y="13060"/>
                </a:lnTo>
                <a:lnTo>
                  <a:pt x="10281" y="13089"/>
                </a:lnTo>
                <a:lnTo>
                  <a:pt x="10294" y="13119"/>
                </a:lnTo>
                <a:lnTo>
                  <a:pt x="10306" y="13150"/>
                </a:lnTo>
                <a:lnTo>
                  <a:pt x="10318" y="13181"/>
                </a:lnTo>
                <a:lnTo>
                  <a:pt x="10329" y="13213"/>
                </a:lnTo>
                <a:lnTo>
                  <a:pt x="10338" y="13245"/>
                </a:lnTo>
                <a:lnTo>
                  <a:pt x="9902" y="13388"/>
                </a:lnTo>
                <a:lnTo>
                  <a:pt x="9899" y="13373"/>
                </a:lnTo>
                <a:lnTo>
                  <a:pt x="9895" y="13359"/>
                </a:lnTo>
                <a:lnTo>
                  <a:pt x="9891" y="13344"/>
                </a:lnTo>
                <a:lnTo>
                  <a:pt x="9886" y="13330"/>
                </a:lnTo>
                <a:lnTo>
                  <a:pt x="9875" y="13301"/>
                </a:lnTo>
                <a:lnTo>
                  <a:pt x="9863" y="13272"/>
                </a:lnTo>
                <a:lnTo>
                  <a:pt x="9855" y="13259"/>
                </a:lnTo>
                <a:lnTo>
                  <a:pt x="9848" y="13245"/>
                </a:lnTo>
                <a:lnTo>
                  <a:pt x="9839" y="13232"/>
                </a:lnTo>
                <a:lnTo>
                  <a:pt x="9830" y="13220"/>
                </a:lnTo>
                <a:lnTo>
                  <a:pt x="9820" y="13207"/>
                </a:lnTo>
                <a:lnTo>
                  <a:pt x="9810" y="13195"/>
                </a:lnTo>
                <a:lnTo>
                  <a:pt x="9798" y="13183"/>
                </a:lnTo>
                <a:lnTo>
                  <a:pt x="9787" y="13172"/>
                </a:lnTo>
                <a:lnTo>
                  <a:pt x="9774" y="13161"/>
                </a:lnTo>
                <a:lnTo>
                  <a:pt x="9762" y="13150"/>
                </a:lnTo>
                <a:lnTo>
                  <a:pt x="9748" y="13140"/>
                </a:lnTo>
                <a:lnTo>
                  <a:pt x="9734" y="13131"/>
                </a:lnTo>
                <a:lnTo>
                  <a:pt x="9720" y="13122"/>
                </a:lnTo>
                <a:lnTo>
                  <a:pt x="9703" y="13113"/>
                </a:lnTo>
                <a:lnTo>
                  <a:pt x="9687" y="13105"/>
                </a:lnTo>
                <a:lnTo>
                  <a:pt x="9671" y="13098"/>
                </a:lnTo>
                <a:lnTo>
                  <a:pt x="9654" y="13091"/>
                </a:lnTo>
                <a:lnTo>
                  <a:pt x="9636" y="13086"/>
                </a:lnTo>
                <a:lnTo>
                  <a:pt x="9618" y="13081"/>
                </a:lnTo>
                <a:lnTo>
                  <a:pt x="9598" y="13077"/>
                </a:lnTo>
                <a:lnTo>
                  <a:pt x="9578" y="13074"/>
                </a:lnTo>
                <a:lnTo>
                  <a:pt x="9558" y="13072"/>
                </a:lnTo>
                <a:lnTo>
                  <a:pt x="9537" y="13070"/>
                </a:lnTo>
                <a:lnTo>
                  <a:pt x="9516" y="13070"/>
                </a:lnTo>
                <a:lnTo>
                  <a:pt x="9490" y="13071"/>
                </a:lnTo>
                <a:lnTo>
                  <a:pt x="9465" y="13072"/>
                </a:lnTo>
                <a:lnTo>
                  <a:pt x="9442" y="13075"/>
                </a:lnTo>
                <a:lnTo>
                  <a:pt x="9420" y="13079"/>
                </a:lnTo>
                <a:lnTo>
                  <a:pt x="9398" y="13084"/>
                </a:lnTo>
                <a:lnTo>
                  <a:pt x="9377" y="13090"/>
                </a:lnTo>
                <a:lnTo>
                  <a:pt x="9357" y="13097"/>
                </a:lnTo>
                <a:lnTo>
                  <a:pt x="9338" y="13106"/>
                </a:lnTo>
                <a:lnTo>
                  <a:pt x="9320" y="13115"/>
                </a:lnTo>
                <a:lnTo>
                  <a:pt x="9303" y="13126"/>
                </a:lnTo>
                <a:lnTo>
                  <a:pt x="9286" y="13136"/>
                </a:lnTo>
                <a:lnTo>
                  <a:pt x="9270" y="13148"/>
                </a:lnTo>
                <a:lnTo>
                  <a:pt x="9256" y="13159"/>
                </a:lnTo>
                <a:lnTo>
                  <a:pt x="9242" y="13172"/>
                </a:lnTo>
                <a:lnTo>
                  <a:pt x="9229" y="13185"/>
                </a:lnTo>
                <a:lnTo>
                  <a:pt x="9217" y="13199"/>
                </a:lnTo>
                <a:lnTo>
                  <a:pt x="9205" y="13214"/>
                </a:lnTo>
                <a:lnTo>
                  <a:pt x="9194" y="13229"/>
                </a:lnTo>
                <a:lnTo>
                  <a:pt x="9183" y="13244"/>
                </a:lnTo>
                <a:lnTo>
                  <a:pt x="9174" y="13260"/>
                </a:lnTo>
                <a:lnTo>
                  <a:pt x="9166" y="13276"/>
                </a:lnTo>
                <a:lnTo>
                  <a:pt x="9158" y="13294"/>
                </a:lnTo>
                <a:lnTo>
                  <a:pt x="9151" y="13311"/>
                </a:lnTo>
                <a:lnTo>
                  <a:pt x="9145" y="13329"/>
                </a:lnTo>
                <a:lnTo>
                  <a:pt x="9139" y="13346"/>
                </a:lnTo>
                <a:lnTo>
                  <a:pt x="9134" y="13364"/>
                </a:lnTo>
                <a:lnTo>
                  <a:pt x="9130" y="13382"/>
                </a:lnTo>
                <a:lnTo>
                  <a:pt x="9127" y="13400"/>
                </a:lnTo>
                <a:lnTo>
                  <a:pt x="9124" y="13418"/>
                </a:lnTo>
                <a:lnTo>
                  <a:pt x="9122" y="13435"/>
                </a:lnTo>
                <a:lnTo>
                  <a:pt x="9121" y="13454"/>
                </a:lnTo>
                <a:lnTo>
                  <a:pt x="9121" y="13472"/>
                </a:lnTo>
                <a:lnTo>
                  <a:pt x="9121" y="14573"/>
                </a:lnTo>
                <a:lnTo>
                  <a:pt x="9121" y="14595"/>
                </a:lnTo>
                <a:lnTo>
                  <a:pt x="9122" y="14616"/>
                </a:lnTo>
                <a:lnTo>
                  <a:pt x="9124" y="14637"/>
                </a:lnTo>
                <a:lnTo>
                  <a:pt x="9127" y="14658"/>
                </a:lnTo>
                <a:lnTo>
                  <a:pt x="9130" y="14678"/>
                </a:lnTo>
                <a:lnTo>
                  <a:pt x="9134" y="14699"/>
                </a:lnTo>
                <a:lnTo>
                  <a:pt x="9139" y="14719"/>
                </a:lnTo>
                <a:lnTo>
                  <a:pt x="9145" y="14740"/>
                </a:lnTo>
                <a:lnTo>
                  <a:pt x="9151" y="14759"/>
                </a:lnTo>
                <a:lnTo>
                  <a:pt x="9158" y="14778"/>
                </a:lnTo>
                <a:lnTo>
                  <a:pt x="9166" y="14796"/>
                </a:lnTo>
                <a:lnTo>
                  <a:pt x="9175" y="14814"/>
                </a:lnTo>
                <a:lnTo>
                  <a:pt x="9184" y="14831"/>
                </a:lnTo>
                <a:lnTo>
                  <a:pt x="9196" y="14847"/>
                </a:lnTo>
                <a:lnTo>
                  <a:pt x="9207" y="14863"/>
                </a:lnTo>
                <a:lnTo>
                  <a:pt x="9219" y="14878"/>
                </a:lnTo>
                <a:lnTo>
                  <a:pt x="9231" y="14894"/>
                </a:lnTo>
                <a:lnTo>
                  <a:pt x="9245" y="14907"/>
                </a:lnTo>
                <a:lnTo>
                  <a:pt x="9259" y="14920"/>
                </a:lnTo>
                <a:lnTo>
                  <a:pt x="9274" y="14932"/>
                </a:lnTo>
                <a:lnTo>
                  <a:pt x="9291" y="14943"/>
                </a:lnTo>
                <a:lnTo>
                  <a:pt x="9307" y="14953"/>
                </a:lnTo>
                <a:lnTo>
                  <a:pt x="9324" y="14963"/>
                </a:lnTo>
                <a:lnTo>
                  <a:pt x="9342" y="14972"/>
                </a:lnTo>
                <a:lnTo>
                  <a:pt x="9361" y="14980"/>
                </a:lnTo>
                <a:lnTo>
                  <a:pt x="9380" y="14987"/>
                </a:lnTo>
                <a:lnTo>
                  <a:pt x="9402" y="14992"/>
                </a:lnTo>
                <a:lnTo>
                  <a:pt x="9423" y="14997"/>
                </a:lnTo>
                <a:lnTo>
                  <a:pt x="9444" y="15001"/>
                </a:lnTo>
                <a:lnTo>
                  <a:pt x="9467" y="15003"/>
                </a:lnTo>
                <a:lnTo>
                  <a:pt x="9491" y="15005"/>
                </a:lnTo>
                <a:lnTo>
                  <a:pt x="9516" y="15006"/>
                </a:lnTo>
                <a:lnTo>
                  <a:pt x="9534" y="15005"/>
                </a:lnTo>
                <a:lnTo>
                  <a:pt x="9552" y="15004"/>
                </a:lnTo>
                <a:lnTo>
                  <a:pt x="9569" y="15003"/>
                </a:lnTo>
                <a:lnTo>
                  <a:pt x="9586" y="15000"/>
                </a:lnTo>
                <a:lnTo>
                  <a:pt x="9604" y="14997"/>
                </a:lnTo>
                <a:lnTo>
                  <a:pt x="9620" y="14994"/>
                </a:lnTo>
                <a:lnTo>
                  <a:pt x="9636" y="14990"/>
                </a:lnTo>
                <a:lnTo>
                  <a:pt x="9652" y="14985"/>
                </a:lnTo>
                <a:lnTo>
                  <a:pt x="9668" y="14979"/>
                </a:lnTo>
                <a:lnTo>
                  <a:pt x="9683" y="14973"/>
                </a:lnTo>
                <a:lnTo>
                  <a:pt x="9697" y="14966"/>
                </a:lnTo>
                <a:lnTo>
                  <a:pt x="9713" y="14959"/>
                </a:lnTo>
                <a:lnTo>
                  <a:pt x="9727" y="14951"/>
                </a:lnTo>
                <a:lnTo>
                  <a:pt x="9740" y="14942"/>
                </a:lnTo>
                <a:lnTo>
                  <a:pt x="9754" y="14933"/>
                </a:lnTo>
                <a:lnTo>
                  <a:pt x="9767" y="14923"/>
                </a:lnTo>
                <a:lnTo>
                  <a:pt x="9779" y="14912"/>
                </a:lnTo>
                <a:lnTo>
                  <a:pt x="9791" y="14901"/>
                </a:lnTo>
                <a:lnTo>
                  <a:pt x="9803" y="14888"/>
                </a:lnTo>
                <a:lnTo>
                  <a:pt x="9814" y="14876"/>
                </a:lnTo>
                <a:lnTo>
                  <a:pt x="9825" y="14864"/>
                </a:lnTo>
                <a:lnTo>
                  <a:pt x="9834" y="14850"/>
                </a:lnTo>
                <a:lnTo>
                  <a:pt x="9843" y="14837"/>
                </a:lnTo>
                <a:lnTo>
                  <a:pt x="9852" y="14823"/>
                </a:lnTo>
                <a:lnTo>
                  <a:pt x="9859" y="14808"/>
                </a:lnTo>
                <a:lnTo>
                  <a:pt x="9867" y="14793"/>
                </a:lnTo>
                <a:lnTo>
                  <a:pt x="9873" y="14778"/>
                </a:lnTo>
                <a:lnTo>
                  <a:pt x="9880" y="14762"/>
                </a:lnTo>
                <a:lnTo>
                  <a:pt x="9885" y="14745"/>
                </a:lnTo>
                <a:lnTo>
                  <a:pt x="9890" y="14727"/>
                </a:lnTo>
                <a:lnTo>
                  <a:pt x="9894" y="14709"/>
                </a:lnTo>
                <a:lnTo>
                  <a:pt x="9898" y="14691"/>
                </a:lnTo>
                <a:lnTo>
                  <a:pt x="10334" y="14831"/>
                </a:lnTo>
                <a:close/>
                <a:moveTo>
                  <a:pt x="7602" y="11812"/>
                </a:moveTo>
                <a:lnTo>
                  <a:pt x="7060" y="11812"/>
                </a:lnTo>
                <a:lnTo>
                  <a:pt x="7060" y="8757"/>
                </a:lnTo>
                <a:lnTo>
                  <a:pt x="6780" y="8757"/>
                </a:lnTo>
                <a:lnTo>
                  <a:pt x="6780" y="5422"/>
                </a:lnTo>
                <a:lnTo>
                  <a:pt x="6780" y="5411"/>
                </a:lnTo>
                <a:lnTo>
                  <a:pt x="6781" y="5400"/>
                </a:lnTo>
                <a:lnTo>
                  <a:pt x="6783" y="5388"/>
                </a:lnTo>
                <a:lnTo>
                  <a:pt x="6785" y="5378"/>
                </a:lnTo>
                <a:lnTo>
                  <a:pt x="6787" y="5367"/>
                </a:lnTo>
                <a:lnTo>
                  <a:pt x="6790" y="5357"/>
                </a:lnTo>
                <a:lnTo>
                  <a:pt x="6794" y="5346"/>
                </a:lnTo>
                <a:lnTo>
                  <a:pt x="6799" y="5336"/>
                </a:lnTo>
                <a:lnTo>
                  <a:pt x="6803" y="5327"/>
                </a:lnTo>
                <a:lnTo>
                  <a:pt x="6808" y="5317"/>
                </a:lnTo>
                <a:lnTo>
                  <a:pt x="6814" y="5308"/>
                </a:lnTo>
                <a:lnTo>
                  <a:pt x="6819" y="5299"/>
                </a:lnTo>
                <a:lnTo>
                  <a:pt x="6832" y="5282"/>
                </a:lnTo>
                <a:lnTo>
                  <a:pt x="6847" y="5266"/>
                </a:lnTo>
                <a:lnTo>
                  <a:pt x="6862" y="5251"/>
                </a:lnTo>
                <a:lnTo>
                  <a:pt x="6879" y="5238"/>
                </a:lnTo>
                <a:lnTo>
                  <a:pt x="6888" y="5231"/>
                </a:lnTo>
                <a:lnTo>
                  <a:pt x="6898" y="5226"/>
                </a:lnTo>
                <a:lnTo>
                  <a:pt x="6908" y="5221"/>
                </a:lnTo>
                <a:lnTo>
                  <a:pt x="6918" y="5216"/>
                </a:lnTo>
                <a:lnTo>
                  <a:pt x="6928" y="5212"/>
                </a:lnTo>
                <a:lnTo>
                  <a:pt x="6938" y="5209"/>
                </a:lnTo>
                <a:lnTo>
                  <a:pt x="6948" y="5205"/>
                </a:lnTo>
                <a:lnTo>
                  <a:pt x="6959" y="5203"/>
                </a:lnTo>
                <a:lnTo>
                  <a:pt x="6969" y="5201"/>
                </a:lnTo>
                <a:lnTo>
                  <a:pt x="6980" y="5199"/>
                </a:lnTo>
                <a:lnTo>
                  <a:pt x="6991" y="5199"/>
                </a:lnTo>
                <a:lnTo>
                  <a:pt x="7002" y="5198"/>
                </a:lnTo>
                <a:lnTo>
                  <a:pt x="8493" y="5198"/>
                </a:lnTo>
                <a:lnTo>
                  <a:pt x="8504" y="5199"/>
                </a:lnTo>
                <a:lnTo>
                  <a:pt x="8515" y="5199"/>
                </a:lnTo>
                <a:lnTo>
                  <a:pt x="8525" y="5201"/>
                </a:lnTo>
                <a:lnTo>
                  <a:pt x="8536" y="5203"/>
                </a:lnTo>
                <a:lnTo>
                  <a:pt x="8546" y="5205"/>
                </a:lnTo>
                <a:lnTo>
                  <a:pt x="8556" y="5209"/>
                </a:lnTo>
                <a:lnTo>
                  <a:pt x="8567" y="5212"/>
                </a:lnTo>
                <a:lnTo>
                  <a:pt x="8577" y="5216"/>
                </a:lnTo>
                <a:lnTo>
                  <a:pt x="8586" y="5221"/>
                </a:lnTo>
                <a:lnTo>
                  <a:pt x="8595" y="5226"/>
                </a:lnTo>
                <a:lnTo>
                  <a:pt x="8604" y="5231"/>
                </a:lnTo>
                <a:lnTo>
                  <a:pt x="8613" y="5238"/>
                </a:lnTo>
                <a:lnTo>
                  <a:pt x="8629" y="5251"/>
                </a:lnTo>
                <a:lnTo>
                  <a:pt x="8644" y="5266"/>
                </a:lnTo>
                <a:lnTo>
                  <a:pt x="8658" y="5282"/>
                </a:lnTo>
                <a:lnTo>
                  <a:pt x="8671" y="5299"/>
                </a:lnTo>
                <a:lnTo>
                  <a:pt x="8681" y="5317"/>
                </a:lnTo>
                <a:lnTo>
                  <a:pt x="8690" y="5336"/>
                </a:lnTo>
                <a:lnTo>
                  <a:pt x="8694" y="5346"/>
                </a:lnTo>
                <a:lnTo>
                  <a:pt x="8697" y="5357"/>
                </a:lnTo>
                <a:lnTo>
                  <a:pt x="8700" y="5367"/>
                </a:lnTo>
                <a:lnTo>
                  <a:pt x="8702" y="5378"/>
                </a:lnTo>
                <a:lnTo>
                  <a:pt x="8704" y="5388"/>
                </a:lnTo>
                <a:lnTo>
                  <a:pt x="8706" y="5400"/>
                </a:lnTo>
                <a:lnTo>
                  <a:pt x="8706" y="5411"/>
                </a:lnTo>
                <a:lnTo>
                  <a:pt x="8707" y="5422"/>
                </a:lnTo>
                <a:lnTo>
                  <a:pt x="8707" y="6018"/>
                </a:lnTo>
                <a:lnTo>
                  <a:pt x="8650" y="6019"/>
                </a:lnTo>
                <a:lnTo>
                  <a:pt x="8595" y="6024"/>
                </a:lnTo>
                <a:lnTo>
                  <a:pt x="8539" y="6031"/>
                </a:lnTo>
                <a:lnTo>
                  <a:pt x="8486" y="6042"/>
                </a:lnTo>
                <a:lnTo>
                  <a:pt x="8432" y="6054"/>
                </a:lnTo>
                <a:lnTo>
                  <a:pt x="8380" y="6069"/>
                </a:lnTo>
                <a:lnTo>
                  <a:pt x="8329" y="6087"/>
                </a:lnTo>
                <a:lnTo>
                  <a:pt x="8279" y="6107"/>
                </a:lnTo>
                <a:lnTo>
                  <a:pt x="8230" y="6129"/>
                </a:lnTo>
                <a:lnTo>
                  <a:pt x="8183" y="6153"/>
                </a:lnTo>
                <a:lnTo>
                  <a:pt x="8136" y="6180"/>
                </a:lnTo>
                <a:lnTo>
                  <a:pt x="8091" y="6210"/>
                </a:lnTo>
                <a:lnTo>
                  <a:pt x="8048" y="6240"/>
                </a:lnTo>
                <a:lnTo>
                  <a:pt x="8006" y="6273"/>
                </a:lnTo>
                <a:lnTo>
                  <a:pt x="7966" y="6308"/>
                </a:lnTo>
                <a:lnTo>
                  <a:pt x="7927" y="6344"/>
                </a:lnTo>
                <a:lnTo>
                  <a:pt x="7891" y="6384"/>
                </a:lnTo>
                <a:lnTo>
                  <a:pt x="7856" y="6423"/>
                </a:lnTo>
                <a:lnTo>
                  <a:pt x="7823" y="6465"/>
                </a:lnTo>
                <a:lnTo>
                  <a:pt x="7792" y="6508"/>
                </a:lnTo>
                <a:lnTo>
                  <a:pt x="7764" y="6554"/>
                </a:lnTo>
                <a:lnTo>
                  <a:pt x="7737" y="6599"/>
                </a:lnTo>
                <a:lnTo>
                  <a:pt x="7712" y="6647"/>
                </a:lnTo>
                <a:lnTo>
                  <a:pt x="7690" y="6696"/>
                </a:lnTo>
                <a:lnTo>
                  <a:pt x="7670" y="6746"/>
                </a:lnTo>
                <a:lnTo>
                  <a:pt x="7653" y="6797"/>
                </a:lnTo>
                <a:lnTo>
                  <a:pt x="7638" y="6849"/>
                </a:lnTo>
                <a:lnTo>
                  <a:pt x="7625" y="6902"/>
                </a:lnTo>
                <a:lnTo>
                  <a:pt x="7615" y="6956"/>
                </a:lnTo>
                <a:lnTo>
                  <a:pt x="7608" y="7011"/>
                </a:lnTo>
                <a:lnTo>
                  <a:pt x="7604" y="7067"/>
                </a:lnTo>
                <a:lnTo>
                  <a:pt x="7602" y="7122"/>
                </a:lnTo>
                <a:lnTo>
                  <a:pt x="7602" y="1181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72" name="gpn_mnpz"/>
          <p:cNvSpPr>
            <a:spLocks noChangeAspect="1" noEditPoints="1"/>
          </p:cNvSpPr>
          <p:nvPr/>
        </p:nvSpPr>
        <p:spPr bwMode="auto">
          <a:xfrm>
            <a:off x="464708" y="1322991"/>
            <a:ext cx="470888" cy="767845"/>
          </a:xfrm>
          <a:custGeom>
            <a:avLst/>
            <a:gdLst>
              <a:gd name="T0" fmla="*/ 10281 w 10336"/>
              <a:gd name="T1" fmla="*/ 5580 h 16036"/>
              <a:gd name="T2" fmla="*/ 9938 w 10336"/>
              <a:gd name="T3" fmla="*/ 5136 h 16036"/>
              <a:gd name="T4" fmla="*/ 9428 w 10336"/>
              <a:gd name="T5" fmla="*/ 4978 h 16036"/>
              <a:gd name="T6" fmla="*/ 9063 w 10336"/>
              <a:gd name="T7" fmla="*/ 5225 h 16036"/>
              <a:gd name="T8" fmla="*/ 9193 w 10336"/>
              <a:gd name="T9" fmla="*/ 5752 h 16036"/>
              <a:gd name="T10" fmla="*/ 8697 w 10336"/>
              <a:gd name="T11" fmla="*/ 5580 h 16036"/>
              <a:gd name="T12" fmla="*/ 8354 w 10336"/>
              <a:gd name="T13" fmla="*/ 5136 h 16036"/>
              <a:gd name="T14" fmla="*/ 7843 w 10336"/>
              <a:gd name="T15" fmla="*/ 4978 h 16036"/>
              <a:gd name="T16" fmla="*/ 7697 w 10336"/>
              <a:gd name="T17" fmla="*/ 4004 h 16036"/>
              <a:gd name="T18" fmla="*/ 7284 w 10336"/>
              <a:gd name="T19" fmla="*/ 3674 h 16036"/>
              <a:gd name="T20" fmla="*/ 5550 w 10336"/>
              <a:gd name="T21" fmla="*/ 3649 h 16036"/>
              <a:gd name="T22" fmla="*/ 5100 w 10336"/>
              <a:gd name="T23" fmla="*/ 3937 h 16036"/>
              <a:gd name="T24" fmla="*/ 4905 w 10336"/>
              <a:gd name="T25" fmla="*/ 4441 h 16036"/>
              <a:gd name="T26" fmla="*/ 0 w 10336"/>
              <a:gd name="T27" fmla="*/ 9829 h 16036"/>
              <a:gd name="T28" fmla="*/ 2427 w 10336"/>
              <a:gd name="T29" fmla="*/ 250 h 16036"/>
              <a:gd name="T30" fmla="*/ 2334 w 10336"/>
              <a:gd name="T31" fmla="*/ 85 h 16036"/>
              <a:gd name="T32" fmla="*/ 2162 w 10336"/>
              <a:gd name="T33" fmla="*/ 3 h 16036"/>
              <a:gd name="T34" fmla="*/ 769 w 10336"/>
              <a:gd name="T35" fmla="*/ 28 h 16036"/>
              <a:gd name="T36" fmla="*/ 628 w 10336"/>
              <a:gd name="T37" fmla="*/ 152 h 16036"/>
              <a:gd name="T38" fmla="*/ 2434 w 10336"/>
              <a:gd name="T39" fmla="*/ 296 h 16036"/>
              <a:gd name="T40" fmla="*/ 7594 w 10336"/>
              <a:gd name="T41" fmla="*/ 15412 h 16036"/>
              <a:gd name="T42" fmla="*/ 7723 w 10336"/>
              <a:gd name="T43" fmla="*/ 15524 h 16036"/>
              <a:gd name="T44" fmla="*/ 7869 w 10336"/>
              <a:gd name="T45" fmla="*/ 15651 h 16036"/>
              <a:gd name="T46" fmla="*/ 8072 w 10336"/>
              <a:gd name="T47" fmla="*/ 15677 h 16036"/>
              <a:gd name="T48" fmla="*/ 8251 w 10336"/>
              <a:gd name="T49" fmla="*/ 15586 h 16036"/>
              <a:gd name="T50" fmla="*/ 8332 w 10336"/>
              <a:gd name="T51" fmla="*/ 15389 h 16036"/>
              <a:gd name="T52" fmla="*/ 8286 w 10336"/>
              <a:gd name="T53" fmla="*/ 15112 h 16036"/>
              <a:gd name="T54" fmla="*/ 8126 w 10336"/>
              <a:gd name="T55" fmla="*/ 14995 h 16036"/>
              <a:gd name="T56" fmla="*/ 8109 w 10336"/>
              <a:gd name="T57" fmla="*/ 14657 h 16036"/>
              <a:gd name="T58" fmla="*/ 8265 w 10336"/>
              <a:gd name="T59" fmla="*/ 14561 h 16036"/>
              <a:gd name="T60" fmla="*/ 8325 w 10336"/>
              <a:gd name="T61" fmla="*/ 14363 h 16036"/>
              <a:gd name="T62" fmla="*/ 8283 w 10336"/>
              <a:gd name="T63" fmla="*/ 14183 h 16036"/>
              <a:gd name="T64" fmla="*/ 8145 w 10336"/>
              <a:gd name="T65" fmla="*/ 14079 h 16036"/>
              <a:gd name="T66" fmla="*/ 7941 w 10336"/>
              <a:gd name="T67" fmla="*/ 14075 h 16036"/>
              <a:gd name="T68" fmla="*/ 7783 w 10336"/>
              <a:gd name="T69" fmla="*/ 14174 h 16036"/>
              <a:gd name="T70" fmla="*/ 7694 w 10336"/>
              <a:gd name="T71" fmla="*/ 14346 h 16036"/>
              <a:gd name="T72" fmla="*/ 7503 w 10336"/>
              <a:gd name="T73" fmla="*/ 13922 h 16036"/>
              <a:gd name="T74" fmla="*/ 7817 w 10336"/>
              <a:gd name="T75" fmla="*/ 13735 h 16036"/>
              <a:gd name="T76" fmla="*/ 8261 w 10336"/>
              <a:gd name="T77" fmla="*/ 13730 h 16036"/>
              <a:gd name="T78" fmla="*/ 8590 w 10336"/>
              <a:gd name="T79" fmla="*/ 13926 h 16036"/>
              <a:gd name="T80" fmla="*/ 8702 w 10336"/>
              <a:gd name="T81" fmla="*/ 14316 h 16036"/>
              <a:gd name="T82" fmla="*/ 8608 w 10336"/>
              <a:gd name="T83" fmla="*/ 14672 h 16036"/>
              <a:gd name="T84" fmla="*/ 8463 w 10336"/>
              <a:gd name="T85" fmla="*/ 14834 h 16036"/>
              <a:gd name="T86" fmla="*/ 8649 w 10336"/>
              <a:gd name="T87" fmla="*/ 15011 h 16036"/>
              <a:gd name="T88" fmla="*/ 8721 w 10336"/>
              <a:gd name="T89" fmla="*/ 15309 h 16036"/>
              <a:gd name="T90" fmla="*/ 8610 w 10336"/>
              <a:gd name="T91" fmla="*/ 15762 h 16036"/>
              <a:gd name="T92" fmla="*/ 8271 w 10336"/>
              <a:gd name="T93" fmla="*/ 16002 h 16036"/>
              <a:gd name="T94" fmla="*/ 7818 w 10336"/>
              <a:gd name="T95" fmla="*/ 16016 h 16036"/>
              <a:gd name="T96" fmla="*/ 7484 w 10336"/>
              <a:gd name="T97" fmla="*/ 15841 h 16036"/>
              <a:gd name="T98" fmla="*/ 7317 w 10336"/>
              <a:gd name="T99" fmla="*/ 15504 h 16036"/>
              <a:gd name="T100" fmla="*/ 4238 w 10336"/>
              <a:gd name="T101" fmla="*/ 16016 h 16036"/>
              <a:gd name="T102" fmla="*/ 2919 w 10336"/>
              <a:gd name="T103" fmla="*/ 15106 h 16036"/>
              <a:gd name="T104" fmla="*/ 2797 w 10336"/>
              <a:gd name="T105" fmla="*/ 14474 h 16036"/>
              <a:gd name="T106" fmla="*/ 5320 w 10336"/>
              <a:gd name="T107" fmla="*/ 10812 h 16036"/>
              <a:gd name="T108" fmla="*/ 6104 w 10336"/>
              <a:gd name="T109" fmla="*/ 10467 h 16036"/>
              <a:gd name="T110" fmla="*/ 5582 w 10336"/>
              <a:gd name="T111" fmla="*/ 4467 h 16036"/>
              <a:gd name="T112" fmla="*/ 5728 w 10336"/>
              <a:gd name="T113" fmla="*/ 4305 h 16036"/>
              <a:gd name="T114" fmla="*/ 7137 w 10336"/>
              <a:gd name="T115" fmla="*/ 4383 h 16036"/>
              <a:gd name="T116" fmla="*/ 6898 w 10336"/>
              <a:gd name="T117" fmla="*/ 5020 h 16036"/>
              <a:gd name="T118" fmla="*/ 6439 w 10336"/>
              <a:gd name="T119" fmla="*/ 5348 h 16036"/>
              <a:gd name="T120" fmla="*/ 6257 w 10336"/>
              <a:gd name="T121" fmla="*/ 5892 h 16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336" h="16036">
                <a:moveTo>
                  <a:pt x="5" y="10960"/>
                </a:moveTo>
                <a:lnTo>
                  <a:pt x="6" y="13319"/>
                </a:lnTo>
                <a:lnTo>
                  <a:pt x="10336" y="13319"/>
                </a:lnTo>
                <a:lnTo>
                  <a:pt x="10336" y="10373"/>
                </a:lnTo>
                <a:lnTo>
                  <a:pt x="10336" y="9771"/>
                </a:lnTo>
                <a:lnTo>
                  <a:pt x="10336" y="5892"/>
                </a:lnTo>
                <a:lnTo>
                  <a:pt x="10335" y="5845"/>
                </a:lnTo>
                <a:lnTo>
                  <a:pt x="10331" y="5799"/>
                </a:lnTo>
                <a:lnTo>
                  <a:pt x="10326" y="5754"/>
                </a:lnTo>
                <a:lnTo>
                  <a:pt x="10318" y="5709"/>
                </a:lnTo>
                <a:lnTo>
                  <a:pt x="10308" y="5666"/>
                </a:lnTo>
                <a:lnTo>
                  <a:pt x="10295" y="5623"/>
                </a:lnTo>
                <a:lnTo>
                  <a:pt x="10281" y="5580"/>
                </a:lnTo>
                <a:lnTo>
                  <a:pt x="10265" y="5538"/>
                </a:lnTo>
                <a:lnTo>
                  <a:pt x="10247" y="5498"/>
                </a:lnTo>
                <a:lnTo>
                  <a:pt x="10227" y="5458"/>
                </a:lnTo>
                <a:lnTo>
                  <a:pt x="10205" y="5420"/>
                </a:lnTo>
                <a:lnTo>
                  <a:pt x="10182" y="5383"/>
                </a:lnTo>
                <a:lnTo>
                  <a:pt x="10156" y="5347"/>
                </a:lnTo>
                <a:lnTo>
                  <a:pt x="10130" y="5313"/>
                </a:lnTo>
                <a:lnTo>
                  <a:pt x="10101" y="5280"/>
                </a:lnTo>
                <a:lnTo>
                  <a:pt x="10071" y="5248"/>
                </a:lnTo>
                <a:lnTo>
                  <a:pt x="10040" y="5218"/>
                </a:lnTo>
                <a:lnTo>
                  <a:pt x="10007" y="5189"/>
                </a:lnTo>
                <a:lnTo>
                  <a:pt x="9973" y="5162"/>
                </a:lnTo>
                <a:lnTo>
                  <a:pt x="9938" y="5136"/>
                </a:lnTo>
                <a:lnTo>
                  <a:pt x="9901" y="5111"/>
                </a:lnTo>
                <a:lnTo>
                  <a:pt x="9863" y="5089"/>
                </a:lnTo>
                <a:lnTo>
                  <a:pt x="9824" y="5069"/>
                </a:lnTo>
                <a:lnTo>
                  <a:pt x="9784" y="5051"/>
                </a:lnTo>
                <a:lnTo>
                  <a:pt x="9743" y="5034"/>
                </a:lnTo>
                <a:lnTo>
                  <a:pt x="9701" y="5020"/>
                </a:lnTo>
                <a:lnTo>
                  <a:pt x="9658" y="5007"/>
                </a:lnTo>
                <a:lnTo>
                  <a:pt x="9614" y="4997"/>
                </a:lnTo>
                <a:lnTo>
                  <a:pt x="9569" y="4989"/>
                </a:lnTo>
                <a:lnTo>
                  <a:pt x="9524" y="4983"/>
                </a:lnTo>
                <a:lnTo>
                  <a:pt x="9478" y="4979"/>
                </a:lnTo>
                <a:lnTo>
                  <a:pt x="9431" y="4978"/>
                </a:lnTo>
                <a:lnTo>
                  <a:pt x="9428" y="4978"/>
                </a:lnTo>
                <a:lnTo>
                  <a:pt x="8845" y="4978"/>
                </a:lnTo>
                <a:lnTo>
                  <a:pt x="8871" y="5000"/>
                </a:lnTo>
                <a:lnTo>
                  <a:pt x="8897" y="5023"/>
                </a:lnTo>
                <a:lnTo>
                  <a:pt x="8924" y="5048"/>
                </a:lnTo>
                <a:lnTo>
                  <a:pt x="8951" y="5075"/>
                </a:lnTo>
                <a:lnTo>
                  <a:pt x="8977" y="5102"/>
                </a:lnTo>
                <a:lnTo>
                  <a:pt x="9001" y="5131"/>
                </a:lnTo>
                <a:lnTo>
                  <a:pt x="9012" y="5145"/>
                </a:lnTo>
                <a:lnTo>
                  <a:pt x="9023" y="5159"/>
                </a:lnTo>
                <a:lnTo>
                  <a:pt x="9033" y="5173"/>
                </a:lnTo>
                <a:lnTo>
                  <a:pt x="9042" y="5188"/>
                </a:lnTo>
                <a:lnTo>
                  <a:pt x="9053" y="5206"/>
                </a:lnTo>
                <a:lnTo>
                  <a:pt x="9063" y="5225"/>
                </a:lnTo>
                <a:lnTo>
                  <a:pt x="9073" y="5244"/>
                </a:lnTo>
                <a:lnTo>
                  <a:pt x="9083" y="5264"/>
                </a:lnTo>
                <a:lnTo>
                  <a:pt x="9100" y="5304"/>
                </a:lnTo>
                <a:lnTo>
                  <a:pt x="9116" y="5346"/>
                </a:lnTo>
                <a:lnTo>
                  <a:pt x="9131" y="5388"/>
                </a:lnTo>
                <a:lnTo>
                  <a:pt x="9143" y="5431"/>
                </a:lnTo>
                <a:lnTo>
                  <a:pt x="9154" y="5475"/>
                </a:lnTo>
                <a:lnTo>
                  <a:pt x="9164" y="5520"/>
                </a:lnTo>
                <a:lnTo>
                  <a:pt x="9172" y="5566"/>
                </a:lnTo>
                <a:lnTo>
                  <a:pt x="9179" y="5613"/>
                </a:lnTo>
                <a:lnTo>
                  <a:pt x="9185" y="5659"/>
                </a:lnTo>
                <a:lnTo>
                  <a:pt x="9190" y="5705"/>
                </a:lnTo>
                <a:lnTo>
                  <a:pt x="9193" y="5752"/>
                </a:lnTo>
                <a:lnTo>
                  <a:pt x="9195" y="5799"/>
                </a:lnTo>
                <a:lnTo>
                  <a:pt x="9197" y="5845"/>
                </a:lnTo>
                <a:lnTo>
                  <a:pt x="9197" y="5892"/>
                </a:lnTo>
                <a:lnTo>
                  <a:pt x="9197" y="9771"/>
                </a:lnTo>
                <a:lnTo>
                  <a:pt x="8752" y="9771"/>
                </a:lnTo>
                <a:lnTo>
                  <a:pt x="8752" y="5892"/>
                </a:lnTo>
                <a:lnTo>
                  <a:pt x="8750" y="5845"/>
                </a:lnTo>
                <a:lnTo>
                  <a:pt x="8747" y="5799"/>
                </a:lnTo>
                <a:lnTo>
                  <a:pt x="8741" y="5754"/>
                </a:lnTo>
                <a:lnTo>
                  <a:pt x="8733" y="5709"/>
                </a:lnTo>
                <a:lnTo>
                  <a:pt x="8723" y="5666"/>
                </a:lnTo>
                <a:lnTo>
                  <a:pt x="8711" y="5623"/>
                </a:lnTo>
                <a:lnTo>
                  <a:pt x="8697" y="5580"/>
                </a:lnTo>
                <a:lnTo>
                  <a:pt x="8681" y="5538"/>
                </a:lnTo>
                <a:lnTo>
                  <a:pt x="8663" y="5498"/>
                </a:lnTo>
                <a:lnTo>
                  <a:pt x="8643" y="5458"/>
                </a:lnTo>
                <a:lnTo>
                  <a:pt x="8621" y="5420"/>
                </a:lnTo>
                <a:lnTo>
                  <a:pt x="8598" y="5383"/>
                </a:lnTo>
                <a:lnTo>
                  <a:pt x="8572" y="5347"/>
                </a:lnTo>
                <a:lnTo>
                  <a:pt x="8546" y="5313"/>
                </a:lnTo>
                <a:lnTo>
                  <a:pt x="8517" y="5280"/>
                </a:lnTo>
                <a:lnTo>
                  <a:pt x="8487" y="5248"/>
                </a:lnTo>
                <a:lnTo>
                  <a:pt x="8456" y="5218"/>
                </a:lnTo>
                <a:lnTo>
                  <a:pt x="8423" y="5189"/>
                </a:lnTo>
                <a:lnTo>
                  <a:pt x="8389" y="5162"/>
                </a:lnTo>
                <a:lnTo>
                  <a:pt x="8354" y="5136"/>
                </a:lnTo>
                <a:lnTo>
                  <a:pt x="8317" y="5111"/>
                </a:lnTo>
                <a:lnTo>
                  <a:pt x="8279" y="5089"/>
                </a:lnTo>
                <a:lnTo>
                  <a:pt x="8240" y="5069"/>
                </a:lnTo>
                <a:lnTo>
                  <a:pt x="8200" y="5051"/>
                </a:lnTo>
                <a:lnTo>
                  <a:pt x="8159" y="5034"/>
                </a:lnTo>
                <a:lnTo>
                  <a:pt x="8116" y="5020"/>
                </a:lnTo>
                <a:lnTo>
                  <a:pt x="8073" y="5007"/>
                </a:lnTo>
                <a:lnTo>
                  <a:pt x="8029" y="4997"/>
                </a:lnTo>
                <a:lnTo>
                  <a:pt x="7985" y="4989"/>
                </a:lnTo>
                <a:lnTo>
                  <a:pt x="7939" y="4983"/>
                </a:lnTo>
                <a:lnTo>
                  <a:pt x="7893" y="4979"/>
                </a:lnTo>
                <a:lnTo>
                  <a:pt x="7847" y="4978"/>
                </a:lnTo>
                <a:lnTo>
                  <a:pt x="7843" y="4978"/>
                </a:lnTo>
                <a:lnTo>
                  <a:pt x="7843" y="4485"/>
                </a:lnTo>
                <a:lnTo>
                  <a:pt x="7842" y="4441"/>
                </a:lnTo>
                <a:lnTo>
                  <a:pt x="7838" y="4398"/>
                </a:lnTo>
                <a:lnTo>
                  <a:pt x="7833" y="4355"/>
                </a:lnTo>
                <a:lnTo>
                  <a:pt x="7825" y="4313"/>
                </a:lnTo>
                <a:lnTo>
                  <a:pt x="7816" y="4271"/>
                </a:lnTo>
                <a:lnTo>
                  <a:pt x="7804" y="4229"/>
                </a:lnTo>
                <a:lnTo>
                  <a:pt x="7791" y="4189"/>
                </a:lnTo>
                <a:lnTo>
                  <a:pt x="7776" y="4150"/>
                </a:lnTo>
                <a:lnTo>
                  <a:pt x="7759" y="4112"/>
                </a:lnTo>
                <a:lnTo>
                  <a:pt x="7740" y="4075"/>
                </a:lnTo>
                <a:lnTo>
                  <a:pt x="7720" y="4039"/>
                </a:lnTo>
                <a:lnTo>
                  <a:pt x="7697" y="4004"/>
                </a:lnTo>
                <a:lnTo>
                  <a:pt x="7674" y="3970"/>
                </a:lnTo>
                <a:lnTo>
                  <a:pt x="7648" y="3937"/>
                </a:lnTo>
                <a:lnTo>
                  <a:pt x="7622" y="3906"/>
                </a:lnTo>
                <a:lnTo>
                  <a:pt x="7593" y="3876"/>
                </a:lnTo>
                <a:lnTo>
                  <a:pt x="7564" y="3848"/>
                </a:lnTo>
                <a:lnTo>
                  <a:pt x="7533" y="3820"/>
                </a:lnTo>
                <a:lnTo>
                  <a:pt x="7501" y="3795"/>
                </a:lnTo>
                <a:lnTo>
                  <a:pt x="7467" y="3769"/>
                </a:lnTo>
                <a:lnTo>
                  <a:pt x="7433" y="3747"/>
                </a:lnTo>
                <a:lnTo>
                  <a:pt x="7397" y="3726"/>
                </a:lnTo>
                <a:lnTo>
                  <a:pt x="7360" y="3707"/>
                </a:lnTo>
                <a:lnTo>
                  <a:pt x="7322" y="3690"/>
                </a:lnTo>
                <a:lnTo>
                  <a:pt x="7284" y="3674"/>
                </a:lnTo>
                <a:lnTo>
                  <a:pt x="7244" y="3660"/>
                </a:lnTo>
                <a:lnTo>
                  <a:pt x="7204" y="3649"/>
                </a:lnTo>
                <a:lnTo>
                  <a:pt x="7162" y="3639"/>
                </a:lnTo>
                <a:lnTo>
                  <a:pt x="7120" y="3631"/>
                </a:lnTo>
                <a:lnTo>
                  <a:pt x="7077" y="3626"/>
                </a:lnTo>
                <a:lnTo>
                  <a:pt x="7034" y="3623"/>
                </a:lnTo>
                <a:lnTo>
                  <a:pt x="6990" y="3621"/>
                </a:lnTo>
                <a:lnTo>
                  <a:pt x="5764" y="3621"/>
                </a:lnTo>
                <a:lnTo>
                  <a:pt x="5720" y="3623"/>
                </a:lnTo>
                <a:lnTo>
                  <a:pt x="5676" y="3626"/>
                </a:lnTo>
                <a:lnTo>
                  <a:pt x="5633" y="3631"/>
                </a:lnTo>
                <a:lnTo>
                  <a:pt x="5591" y="3639"/>
                </a:lnTo>
                <a:lnTo>
                  <a:pt x="5550" y="3649"/>
                </a:lnTo>
                <a:lnTo>
                  <a:pt x="5509" y="3660"/>
                </a:lnTo>
                <a:lnTo>
                  <a:pt x="5469" y="3674"/>
                </a:lnTo>
                <a:lnTo>
                  <a:pt x="5430" y="3690"/>
                </a:lnTo>
                <a:lnTo>
                  <a:pt x="5392" y="3707"/>
                </a:lnTo>
                <a:lnTo>
                  <a:pt x="5355" y="3726"/>
                </a:lnTo>
                <a:lnTo>
                  <a:pt x="5319" y="3747"/>
                </a:lnTo>
                <a:lnTo>
                  <a:pt x="5284" y="3769"/>
                </a:lnTo>
                <a:lnTo>
                  <a:pt x="5250" y="3795"/>
                </a:lnTo>
                <a:lnTo>
                  <a:pt x="5218" y="3820"/>
                </a:lnTo>
                <a:lnTo>
                  <a:pt x="5187" y="3848"/>
                </a:lnTo>
                <a:lnTo>
                  <a:pt x="5156" y="3876"/>
                </a:lnTo>
                <a:lnTo>
                  <a:pt x="5127" y="3906"/>
                </a:lnTo>
                <a:lnTo>
                  <a:pt x="5100" y="3937"/>
                </a:lnTo>
                <a:lnTo>
                  <a:pt x="5075" y="3970"/>
                </a:lnTo>
                <a:lnTo>
                  <a:pt x="5051" y="4004"/>
                </a:lnTo>
                <a:lnTo>
                  <a:pt x="5028" y="4039"/>
                </a:lnTo>
                <a:lnTo>
                  <a:pt x="5008" y="4075"/>
                </a:lnTo>
                <a:lnTo>
                  <a:pt x="4989" y="4112"/>
                </a:lnTo>
                <a:lnTo>
                  <a:pt x="4971" y="4150"/>
                </a:lnTo>
                <a:lnTo>
                  <a:pt x="4956" y="4189"/>
                </a:lnTo>
                <a:lnTo>
                  <a:pt x="4942" y="4229"/>
                </a:lnTo>
                <a:lnTo>
                  <a:pt x="4931" y="4271"/>
                </a:lnTo>
                <a:lnTo>
                  <a:pt x="4921" y="4313"/>
                </a:lnTo>
                <a:lnTo>
                  <a:pt x="4913" y="4355"/>
                </a:lnTo>
                <a:lnTo>
                  <a:pt x="4908" y="4398"/>
                </a:lnTo>
                <a:lnTo>
                  <a:pt x="4905" y="4441"/>
                </a:lnTo>
                <a:lnTo>
                  <a:pt x="4903" y="4485"/>
                </a:lnTo>
                <a:lnTo>
                  <a:pt x="4903" y="7244"/>
                </a:lnTo>
                <a:lnTo>
                  <a:pt x="3995" y="7244"/>
                </a:lnTo>
                <a:lnTo>
                  <a:pt x="3319" y="7244"/>
                </a:lnTo>
                <a:lnTo>
                  <a:pt x="135" y="7244"/>
                </a:lnTo>
                <a:lnTo>
                  <a:pt x="7" y="9214"/>
                </a:lnTo>
                <a:lnTo>
                  <a:pt x="5" y="9266"/>
                </a:lnTo>
                <a:lnTo>
                  <a:pt x="3" y="9332"/>
                </a:lnTo>
                <a:lnTo>
                  <a:pt x="2" y="9412"/>
                </a:lnTo>
                <a:lnTo>
                  <a:pt x="1" y="9502"/>
                </a:lnTo>
                <a:lnTo>
                  <a:pt x="0" y="9604"/>
                </a:lnTo>
                <a:lnTo>
                  <a:pt x="0" y="9713"/>
                </a:lnTo>
                <a:lnTo>
                  <a:pt x="0" y="9829"/>
                </a:lnTo>
                <a:lnTo>
                  <a:pt x="1" y="9951"/>
                </a:lnTo>
                <a:lnTo>
                  <a:pt x="1" y="10078"/>
                </a:lnTo>
                <a:lnTo>
                  <a:pt x="2" y="10207"/>
                </a:lnTo>
                <a:lnTo>
                  <a:pt x="3" y="10337"/>
                </a:lnTo>
                <a:lnTo>
                  <a:pt x="4" y="10467"/>
                </a:lnTo>
                <a:lnTo>
                  <a:pt x="4" y="10597"/>
                </a:lnTo>
                <a:lnTo>
                  <a:pt x="5" y="10723"/>
                </a:lnTo>
                <a:lnTo>
                  <a:pt x="5" y="10844"/>
                </a:lnTo>
                <a:lnTo>
                  <a:pt x="5" y="10960"/>
                </a:lnTo>
                <a:close/>
                <a:moveTo>
                  <a:pt x="2434" y="296"/>
                </a:moveTo>
                <a:lnTo>
                  <a:pt x="2432" y="280"/>
                </a:lnTo>
                <a:lnTo>
                  <a:pt x="2430" y="265"/>
                </a:lnTo>
                <a:lnTo>
                  <a:pt x="2427" y="250"/>
                </a:lnTo>
                <a:lnTo>
                  <a:pt x="2424" y="235"/>
                </a:lnTo>
                <a:lnTo>
                  <a:pt x="2419" y="220"/>
                </a:lnTo>
                <a:lnTo>
                  <a:pt x="2415" y="206"/>
                </a:lnTo>
                <a:lnTo>
                  <a:pt x="2409" y="192"/>
                </a:lnTo>
                <a:lnTo>
                  <a:pt x="2403" y="178"/>
                </a:lnTo>
                <a:lnTo>
                  <a:pt x="2396" y="165"/>
                </a:lnTo>
                <a:lnTo>
                  <a:pt x="2389" y="152"/>
                </a:lnTo>
                <a:lnTo>
                  <a:pt x="2381" y="140"/>
                </a:lnTo>
                <a:lnTo>
                  <a:pt x="2373" y="128"/>
                </a:lnTo>
                <a:lnTo>
                  <a:pt x="2364" y="117"/>
                </a:lnTo>
                <a:lnTo>
                  <a:pt x="2354" y="105"/>
                </a:lnTo>
                <a:lnTo>
                  <a:pt x="2344" y="95"/>
                </a:lnTo>
                <a:lnTo>
                  <a:pt x="2334" y="85"/>
                </a:lnTo>
                <a:lnTo>
                  <a:pt x="2323" y="75"/>
                </a:lnTo>
                <a:lnTo>
                  <a:pt x="2312" y="66"/>
                </a:lnTo>
                <a:lnTo>
                  <a:pt x="2300" y="57"/>
                </a:lnTo>
                <a:lnTo>
                  <a:pt x="2288" y="49"/>
                </a:lnTo>
                <a:lnTo>
                  <a:pt x="2275" y="42"/>
                </a:lnTo>
                <a:lnTo>
                  <a:pt x="2262" y="35"/>
                </a:lnTo>
                <a:lnTo>
                  <a:pt x="2249" y="28"/>
                </a:lnTo>
                <a:lnTo>
                  <a:pt x="2235" y="23"/>
                </a:lnTo>
                <a:lnTo>
                  <a:pt x="2221" y="17"/>
                </a:lnTo>
                <a:lnTo>
                  <a:pt x="2206" y="13"/>
                </a:lnTo>
                <a:lnTo>
                  <a:pt x="2192" y="9"/>
                </a:lnTo>
                <a:lnTo>
                  <a:pt x="2177" y="6"/>
                </a:lnTo>
                <a:lnTo>
                  <a:pt x="2162" y="3"/>
                </a:lnTo>
                <a:lnTo>
                  <a:pt x="2147" y="1"/>
                </a:lnTo>
                <a:lnTo>
                  <a:pt x="2131" y="0"/>
                </a:lnTo>
                <a:lnTo>
                  <a:pt x="2116" y="0"/>
                </a:lnTo>
                <a:lnTo>
                  <a:pt x="902" y="0"/>
                </a:lnTo>
                <a:lnTo>
                  <a:pt x="886" y="0"/>
                </a:lnTo>
                <a:lnTo>
                  <a:pt x="871" y="1"/>
                </a:lnTo>
                <a:lnTo>
                  <a:pt x="855" y="3"/>
                </a:lnTo>
                <a:lnTo>
                  <a:pt x="840" y="6"/>
                </a:lnTo>
                <a:lnTo>
                  <a:pt x="826" y="9"/>
                </a:lnTo>
                <a:lnTo>
                  <a:pt x="811" y="13"/>
                </a:lnTo>
                <a:lnTo>
                  <a:pt x="797" y="17"/>
                </a:lnTo>
                <a:lnTo>
                  <a:pt x="783" y="23"/>
                </a:lnTo>
                <a:lnTo>
                  <a:pt x="769" y="28"/>
                </a:lnTo>
                <a:lnTo>
                  <a:pt x="756" y="35"/>
                </a:lnTo>
                <a:lnTo>
                  <a:pt x="743" y="42"/>
                </a:lnTo>
                <a:lnTo>
                  <a:pt x="730" y="49"/>
                </a:lnTo>
                <a:lnTo>
                  <a:pt x="717" y="57"/>
                </a:lnTo>
                <a:lnTo>
                  <a:pt x="706" y="66"/>
                </a:lnTo>
                <a:lnTo>
                  <a:pt x="694" y="75"/>
                </a:lnTo>
                <a:lnTo>
                  <a:pt x="683" y="85"/>
                </a:lnTo>
                <a:lnTo>
                  <a:pt x="673" y="95"/>
                </a:lnTo>
                <a:lnTo>
                  <a:pt x="663" y="105"/>
                </a:lnTo>
                <a:lnTo>
                  <a:pt x="654" y="117"/>
                </a:lnTo>
                <a:lnTo>
                  <a:pt x="645" y="128"/>
                </a:lnTo>
                <a:lnTo>
                  <a:pt x="636" y="140"/>
                </a:lnTo>
                <a:lnTo>
                  <a:pt x="628" y="152"/>
                </a:lnTo>
                <a:lnTo>
                  <a:pt x="621" y="165"/>
                </a:lnTo>
                <a:lnTo>
                  <a:pt x="614" y="178"/>
                </a:lnTo>
                <a:lnTo>
                  <a:pt x="608" y="192"/>
                </a:lnTo>
                <a:lnTo>
                  <a:pt x="603" y="206"/>
                </a:lnTo>
                <a:lnTo>
                  <a:pt x="598" y="220"/>
                </a:lnTo>
                <a:lnTo>
                  <a:pt x="593" y="235"/>
                </a:lnTo>
                <a:lnTo>
                  <a:pt x="590" y="250"/>
                </a:lnTo>
                <a:lnTo>
                  <a:pt x="587" y="265"/>
                </a:lnTo>
                <a:lnTo>
                  <a:pt x="585" y="280"/>
                </a:lnTo>
                <a:lnTo>
                  <a:pt x="584" y="296"/>
                </a:lnTo>
                <a:lnTo>
                  <a:pt x="175" y="6567"/>
                </a:lnTo>
                <a:lnTo>
                  <a:pt x="2842" y="6567"/>
                </a:lnTo>
                <a:lnTo>
                  <a:pt x="2434" y="296"/>
                </a:lnTo>
                <a:close/>
                <a:moveTo>
                  <a:pt x="7317" y="15504"/>
                </a:moveTo>
                <a:lnTo>
                  <a:pt x="7333" y="15498"/>
                </a:lnTo>
                <a:lnTo>
                  <a:pt x="7351" y="15492"/>
                </a:lnTo>
                <a:lnTo>
                  <a:pt x="7372" y="15486"/>
                </a:lnTo>
                <a:lnTo>
                  <a:pt x="7394" y="15479"/>
                </a:lnTo>
                <a:lnTo>
                  <a:pt x="7418" y="15471"/>
                </a:lnTo>
                <a:lnTo>
                  <a:pt x="7443" y="15463"/>
                </a:lnTo>
                <a:lnTo>
                  <a:pt x="7468" y="15455"/>
                </a:lnTo>
                <a:lnTo>
                  <a:pt x="7494" y="15446"/>
                </a:lnTo>
                <a:lnTo>
                  <a:pt x="7520" y="15437"/>
                </a:lnTo>
                <a:lnTo>
                  <a:pt x="7546" y="15428"/>
                </a:lnTo>
                <a:lnTo>
                  <a:pt x="7570" y="15420"/>
                </a:lnTo>
                <a:lnTo>
                  <a:pt x="7594" y="15412"/>
                </a:lnTo>
                <a:lnTo>
                  <a:pt x="7617" y="15404"/>
                </a:lnTo>
                <a:lnTo>
                  <a:pt x="7637" y="15397"/>
                </a:lnTo>
                <a:lnTo>
                  <a:pt x="7656" y="15391"/>
                </a:lnTo>
                <a:lnTo>
                  <a:pt x="7671" y="15385"/>
                </a:lnTo>
                <a:lnTo>
                  <a:pt x="7675" y="15403"/>
                </a:lnTo>
                <a:lnTo>
                  <a:pt x="7679" y="15420"/>
                </a:lnTo>
                <a:lnTo>
                  <a:pt x="7684" y="15436"/>
                </a:lnTo>
                <a:lnTo>
                  <a:pt x="7689" y="15452"/>
                </a:lnTo>
                <a:lnTo>
                  <a:pt x="7695" y="15467"/>
                </a:lnTo>
                <a:lnTo>
                  <a:pt x="7701" y="15482"/>
                </a:lnTo>
                <a:lnTo>
                  <a:pt x="7708" y="15497"/>
                </a:lnTo>
                <a:lnTo>
                  <a:pt x="7715" y="15511"/>
                </a:lnTo>
                <a:lnTo>
                  <a:pt x="7723" y="15524"/>
                </a:lnTo>
                <a:lnTo>
                  <a:pt x="7731" y="15537"/>
                </a:lnTo>
                <a:lnTo>
                  <a:pt x="7740" y="15549"/>
                </a:lnTo>
                <a:lnTo>
                  <a:pt x="7750" y="15561"/>
                </a:lnTo>
                <a:lnTo>
                  <a:pt x="7760" y="15572"/>
                </a:lnTo>
                <a:lnTo>
                  <a:pt x="7770" y="15583"/>
                </a:lnTo>
                <a:lnTo>
                  <a:pt x="7781" y="15594"/>
                </a:lnTo>
                <a:lnTo>
                  <a:pt x="7793" y="15604"/>
                </a:lnTo>
                <a:lnTo>
                  <a:pt x="7805" y="15613"/>
                </a:lnTo>
                <a:lnTo>
                  <a:pt x="7817" y="15622"/>
                </a:lnTo>
                <a:lnTo>
                  <a:pt x="7830" y="15630"/>
                </a:lnTo>
                <a:lnTo>
                  <a:pt x="7843" y="15637"/>
                </a:lnTo>
                <a:lnTo>
                  <a:pt x="7856" y="15644"/>
                </a:lnTo>
                <a:lnTo>
                  <a:pt x="7869" y="15651"/>
                </a:lnTo>
                <a:lnTo>
                  <a:pt x="7883" y="15656"/>
                </a:lnTo>
                <a:lnTo>
                  <a:pt x="7897" y="15661"/>
                </a:lnTo>
                <a:lnTo>
                  <a:pt x="7911" y="15666"/>
                </a:lnTo>
                <a:lnTo>
                  <a:pt x="7926" y="15670"/>
                </a:lnTo>
                <a:lnTo>
                  <a:pt x="7941" y="15673"/>
                </a:lnTo>
                <a:lnTo>
                  <a:pt x="7956" y="15676"/>
                </a:lnTo>
                <a:lnTo>
                  <a:pt x="7971" y="15678"/>
                </a:lnTo>
                <a:lnTo>
                  <a:pt x="7987" y="15680"/>
                </a:lnTo>
                <a:lnTo>
                  <a:pt x="8003" y="15680"/>
                </a:lnTo>
                <a:lnTo>
                  <a:pt x="8019" y="15681"/>
                </a:lnTo>
                <a:lnTo>
                  <a:pt x="8037" y="15680"/>
                </a:lnTo>
                <a:lnTo>
                  <a:pt x="8055" y="15679"/>
                </a:lnTo>
                <a:lnTo>
                  <a:pt x="8072" y="15677"/>
                </a:lnTo>
                <a:lnTo>
                  <a:pt x="8089" y="15675"/>
                </a:lnTo>
                <a:lnTo>
                  <a:pt x="8105" y="15671"/>
                </a:lnTo>
                <a:lnTo>
                  <a:pt x="8122" y="15667"/>
                </a:lnTo>
                <a:lnTo>
                  <a:pt x="8137" y="15663"/>
                </a:lnTo>
                <a:lnTo>
                  <a:pt x="8152" y="15657"/>
                </a:lnTo>
                <a:lnTo>
                  <a:pt x="8166" y="15651"/>
                </a:lnTo>
                <a:lnTo>
                  <a:pt x="8180" y="15644"/>
                </a:lnTo>
                <a:lnTo>
                  <a:pt x="8193" y="15636"/>
                </a:lnTo>
                <a:lnTo>
                  <a:pt x="8206" y="15627"/>
                </a:lnTo>
                <a:lnTo>
                  <a:pt x="8218" y="15618"/>
                </a:lnTo>
                <a:lnTo>
                  <a:pt x="8229" y="15608"/>
                </a:lnTo>
                <a:lnTo>
                  <a:pt x="8241" y="15598"/>
                </a:lnTo>
                <a:lnTo>
                  <a:pt x="8251" y="15586"/>
                </a:lnTo>
                <a:lnTo>
                  <a:pt x="8261" y="15574"/>
                </a:lnTo>
                <a:lnTo>
                  <a:pt x="8271" y="15561"/>
                </a:lnTo>
                <a:lnTo>
                  <a:pt x="8280" y="15548"/>
                </a:lnTo>
                <a:lnTo>
                  <a:pt x="8288" y="15535"/>
                </a:lnTo>
                <a:lnTo>
                  <a:pt x="8295" y="15520"/>
                </a:lnTo>
                <a:lnTo>
                  <a:pt x="8302" y="15506"/>
                </a:lnTo>
                <a:lnTo>
                  <a:pt x="8309" y="15491"/>
                </a:lnTo>
                <a:lnTo>
                  <a:pt x="8314" y="15475"/>
                </a:lnTo>
                <a:lnTo>
                  <a:pt x="8319" y="15459"/>
                </a:lnTo>
                <a:lnTo>
                  <a:pt x="8323" y="15442"/>
                </a:lnTo>
                <a:lnTo>
                  <a:pt x="8327" y="15425"/>
                </a:lnTo>
                <a:lnTo>
                  <a:pt x="8330" y="15407"/>
                </a:lnTo>
                <a:lnTo>
                  <a:pt x="8332" y="15389"/>
                </a:lnTo>
                <a:lnTo>
                  <a:pt x="8334" y="15370"/>
                </a:lnTo>
                <a:lnTo>
                  <a:pt x="8335" y="15350"/>
                </a:lnTo>
                <a:lnTo>
                  <a:pt x="8335" y="15330"/>
                </a:lnTo>
                <a:lnTo>
                  <a:pt x="8334" y="15295"/>
                </a:lnTo>
                <a:lnTo>
                  <a:pt x="8331" y="15261"/>
                </a:lnTo>
                <a:lnTo>
                  <a:pt x="8327" y="15228"/>
                </a:lnTo>
                <a:lnTo>
                  <a:pt x="8320" y="15196"/>
                </a:lnTo>
                <a:lnTo>
                  <a:pt x="8316" y="15181"/>
                </a:lnTo>
                <a:lnTo>
                  <a:pt x="8312" y="15166"/>
                </a:lnTo>
                <a:lnTo>
                  <a:pt x="8306" y="15152"/>
                </a:lnTo>
                <a:lnTo>
                  <a:pt x="8300" y="15138"/>
                </a:lnTo>
                <a:lnTo>
                  <a:pt x="8293" y="15125"/>
                </a:lnTo>
                <a:lnTo>
                  <a:pt x="8286" y="15112"/>
                </a:lnTo>
                <a:lnTo>
                  <a:pt x="8278" y="15099"/>
                </a:lnTo>
                <a:lnTo>
                  <a:pt x="8270" y="15087"/>
                </a:lnTo>
                <a:lnTo>
                  <a:pt x="8260" y="15075"/>
                </a:lnTo>
                <a:lnTo>
                  <a:pt x="8250" y="15065"/>
                </a:lnTo>
                <a:lnTo>
                  <a:pt x="8239" y="15054"/>
                </a:lnTo>
                <a:lnTo>
                  <a:pt x="8228" y="15045"/>
                </a:lnTo>
                <a:lnTo>
                  <a:pt x="8215" y="15036"/>
                </a:lnTo>
                <a:lnTo>
                  <a:pt x="8202" y="15027"/>
                </a:lnTo>
                <a:lnTo>
                  <a:pt x="8189" y="15019"/>
                </a:lnTo>
                <a:lnTo>
                  <a:pt x="8174" y="15012"/>
                </a:lnTo>
                <a:lnTo>
                  <a:pt x="8159" y="15006"/>
                </a:lnTo>
                <a:lnTo>
                  <a:pt x="8143" y="15000"/>
                </a:lnTo>
                <a:lnTo>
                  <a:pt x="8126" y="14995"/>
                </a:lnTo>
                <a:lnTo>
                  <a:pt x="8107" y="14991"/>
                </a:lnTo>
                <a:lnTo>
                  <a:pt x="8088" y="14988"/>
                </a:lnTo>
                <a:lnTo>
                  <a:pt x="8068" y="14986"/>
                </a:lnTo>
                <a:lnTo>
                  <a:pt x="8047" y="14985"/>
                </a:lnTo>
                <a:lnTo>
                  <a:pt x="8026" y="14984"/>
                </a:lnTo>
                <a:lnTo>
                  <a:pt x="7849" y="14984"/>
                </a:lnTo>
                <a:lnTo>
                  <a:pt x="7849" y="14665"/>
                </a:lnTo>
                <a:lnTo>
                  <a:pt x="8029" y="14665"/>
                </a:lnTo>
                <a:lnTo>
                  <a:pt x="8046" y="14665"/>
                </a:lnTo>
                <a:lnTo>
                  <a:pt x="8063" y="14664"/>
                </a:lnTo>
                <a:lnTo>
                  <a:pt x="8079" y="14662"/>
                </a:lnTo>
                <a:lnTo>
                  <a:pt x="8094" y="14660"/>
                </a:lnTo>
                <a:lnTo>
                  <a:pt x="8109" y="14657"/>
                </a:lnTo>
                <a:lnTo>
                  <a:pt x="8125" y="14653"/>
                </a:lnTo>
                <a:lnTo>
                  <a:pt x="8139" y="14649"/>
                </a:lnTo>
                <a:lnTo>
                  <a:pt x="8153" y="14644"/>
                </a:lnTo>
                <a:lnTo>
                  <a:pt x="8166" y="14639"/>
                </a:lnTo>
                <a:lnTo>
                  <a:pt x="8179" y="14633"/>
                </a:lnTo>
                <a:lnTo>
                  <a:pt x="8192" y="14626"/>
                </a:lnTo>
                <a:lnTo>
                  <a:pt x="8203" y="14619"/>
                </a:lnTo>
                <a:lnTo>
                  <a:pt x="8215" y="14611"/>
                </a:lnTo>
                <a:lnTo>
                  <a:pt x="8226" y="14602"/>
                </a:lnTo>
                <a:lnTo>
                  <a:pt x="8236" y="14593"/>
                </a:lnTo>
                <a:lnTo>
                  <a:pt x="8246" y="14583"/>
                </a:lnTo>
                <a:lnTo>
                  <a:pt x="8256" y="14572"/>
                </a:lnTo>
                <a:lnTo>
                  <a:pt x="8265" y="14561"/>
                </a:lnTo>
                <a:lnTo>
                  <a:pt x="8273" y="14549"/>
                </a:lnTo>
                <a:lnTo>
                  <a:pt x="8281" y="14537"/>
                </a:lnTo>
                <a:lnTo>
                  <a:pt x="8288" y="14524"/>
                </a:lnTo>
                <a:lnTo>
                  <a:pt x="8294" y="14511"/>
                </a:lnTo>
                <a:lnTo>
                  <a:pt x="8300" y="14497"/>
                </a:lnTo>
                <a:lnTo>
                  <a:pt x="8306" y="14482"/>
                </a:lnTo>
                <a:lnTo>
                  <a:pt x="8310" y="14466"/>
                </a:lnTo>
                <a:lnTo>
                  <a:pt x="8314" y="14450"/>
                </a:lnTo>
                <a:lnTo>
                  <a:pt x="8318" y="14434"/>
                </a:lnTo>
                <a:lnTo>
                  <a:pt x="8320" y="14417"/>
                </a:lnTo>
                <a:lnTo>
                  <a:pt x="8322" y="14400"/>
                </a:lnTo>
                <a:lnTo>
                  <a:pt x="8324" y="14382"/>
                </a:lnTo>
                <a:lnTo>
                  <a:pt x="8325" y="14363"/>
                </a:lnTo>
                <a:lnTo>
                  <a:pt x="8325" y="14344"/>
                </a:lnTo>
                <a:lnTo>
                  <a:pt x="8325" y="14329"/>
                </a:lnTo>
                <a:lnTo>
                  <a:pt x="8324" y="14314"/>
                </a:lnTo>
                <a:lnTo>
                  <a:pt x="8323" y="14299"/>
                </a:lnTo>
                <a:lnTo>
                  <a:pt x="8321" y="14284"/>
                </a:lnTo>
                <a:lnTo>
                  <a:pt x="8318" y="14270"/>
                </a:lnTo>
                <a:lnTo>
                  <a:pt x="8315" y="14257"/>
                </a:lnTo>
                <a:lnTo>
                  <a:pt x="8311" y="14244"/>
                </a:lnTo>
                <a:lnTo>
                  <a:pt x="8306" y="14231"/>
                </a:lnTo>
                <a:lnTo>
                  <a:pt x="8301" y="14218"/>
                </a:lnTo>
                <a:lnTo>
                  <a:pt x="8296" y="14206"/>
                </a:lnTo>
                <a:lnTo>
                  <a:pt x="8290" y="14194"/>
                </a:lnTo>
                <a:lnTo>
                  <a:pt x="8283" y="14183"/>
                </a:lnTo>
                <a:lnTo>
                  <a:pt x="8275" y="14172"/>
                </a:lnTo>
                <a:lnTo>
                  <a:pt x="8267" y="14161"/>
                </a:lnTo>
                <a:lnTo>
                  <a:pt x="8259" y="14151"/>
                </a:lnTo>
                <a:lnTo>
                  <a:pt x="8250" y="14141"/>
                </a:lnTo>
                <a:lnTo>
                  <a:pt x="8240" y="14132"/>
                </a:lnTo>
                <a:lnTo>
                  <a:pt x="8230" y="14123"/>
                </a:lnTo>
                <a:lnTo>
                  <a:pt x="8219" y="14115"/>
                </a:lnTo>
                <a:lnTo>
                  <a:pt x="8208" y="14107"/>
                </a:lnTo>
                <a:lnTo>
                  <a:pt x="8197" y="14100"/>
                </a:lnTo>
                <a:lnTo>
                  <a:pt x="8184" y="14094"/>
                </a:lnTo>
                <a:lnTo>
                  <a:pt x="8172" y="14088"/>
                </a:lnTo>
                <a:lnTo>
                  <a:pt x="8159" y="14083"/>
                </a:lnTo>
                <a:lnTo>
                  <a:pt x="8145" y="14079"/>
                </a:lnTo>
                <a:lnTo>
                  <a:pt x="8131" y="14075"/>
                </a:lnTo>
                <a:lnTo>
                  <a:pt x="8116" y="14071"/>
                </a:lnTo>
                <a:lnTo>
                  <a:pt x="8101" y="14069"/>
                </a:lnTo>
                <a:lnTo>
                  <a:pt x="8085" y="14066"/>
                </a:lnTo>
                <a:lnTo>
                  <a:pt x="8069" y="14065"/>
                </a:lnTo>
                <a:lnTo>
                  <a:pt x="8053" y="14064"/>
                </a:lnTo>
                <a:lnTo>
                  <a:pt x="8036" y="14064"/>
                </a:lnTo>
                <a:lnTo>
                  <a:pt x="8019" y="14064"/>
                </a:lnTo>
                <a:lnTo>
                  <a:pt x="8003" y="14065"/>
                </a:lnTo>
                <a:lnTo>
                  <a:pt x="7987" y="14067"/>
                </a:lnTo>
                <a:lnTo>
                  <a:pt x="7971" y="14069"/>
                </a:lnTo>
                <a:lnTo>
                  <a:pt x="7956" y="14071"/>
                </a:lnTo>
                <a:lnTo>
                  <a:pt x="7941" y="14075"/>
                </a:lnTo>
                <a:lnTo>
                  <a:pt x="7927" y="14079"/>
                </a:lnTo>
                <a:lnTo>
                  <a:pt x="7913" y="14083"/>
                </a:lnTo>
                <a:lnTo>
                  <a:pt x="7899" y="14089"/>
                </a:lnTo>
                <a:lnTo>
                  <a:pt x="7886" y="14095"/>
                </a:lnTo>
                <a:lnTo>
                  <a:pt x="7873" y="14101"/>
                </a:lnTo>
                <a:lnTo>
                  <a:pt x="7861" y="14108"/>
                </a:lnTo>
                <a:lnTo>
                  <a:pt x="7848" y="14116"/>
                </a:lnTo>
                <a:lnTo>
                  <a:pt x="7837" y="14124"/>
                </a:lnTo>
                <a:lnTo>
                  <a:pt x="7825" y="14133"/>
                </a:lnTo>
                <a:lnTo>
                  <a:pt x="7814" y="14143"/>
                </a:lnTo>
                <a:lnTo>
                  <a:pt x="7804" y="14153"/>
                </a:lnTo>
                <a:lnTo>
                  <a:pt x="7793" y="14163"/>
                </a:lnTo>
                <a:lnTo>
                  <a:pt x="7783" y="14174"/>
                </a:lnTo>
                <a:lnTo>
                  <a:pt x="7774" y="14185"/>
                </a:lnTo>
                <a:lnTo>
                  <a:pt x="7765" y="14196"/>
                </a:lnTo>
                <a:lnTo>
                  <a:pt x="7757" y="14208"/>
                </a:lnTo>
                <a:lnTo>
                  <a:pt x="7748" y="14220"/>
                </a:lnTo>
                <a:lnTo>
                  <a:pt x="7741" y="14233"/>
                </a:lnTo>
                <a:lnTo>
                  <a:pt x="7733" y="14246"/>
                </a:lnTo>
                <a:lnTo>
                  <a:pt x="7727" y="14259"/>
                </a:lnTo>
                <a:lnTo>
                  <a:pt x="7720" y="14272"/>
                </a:lnTo>
                <a:lnTo>
                  <a:pt x="7714" y="14286"/>
                </a:lnTo>
                <a:lnTo>
                  <a:pt x="7709" y="14301"/>
                </a:lnTo>
                <a:lnTo>
                  <a:pt x="7703" y="14315"/>
                </a:lnTo>
                <a:lnTo>
                  <a:pt x="7699" y="14330"/>
                </a:lnTo>
                <a:lnTo>
                  <a:pt x="7694" y="14346"/>
                </a:lnTo>
                <a:lnTo>
                  <a:pt x="7350" y="14221"/>
                </a:lnTo>
                <a:lnTo>
                  <a:pt x="7357" y="14192"/>
                </a:lnTo>
                <a:lnTo>
                  <a:pt x="7366" y="14164"/>
                </a:lnTo>
                <a:lnTo>
                  <a:pt x="7375" y="14136"/>
                </a:lnTo>
                <a:lnTo>
                  <a:pt x="7386" y="14110"/>
                </a:lnTo>
                <a:lnTo>
                  <a:pt x="7397" y="14084"/>
                </a:lnTo>
                <a:lnTo>
                  <a:pt x="7409" y="14058"/>
                </a:lnTo>
                <a:lnTo>
                  <a:pt x="7422" y="14034"/>
                </a:lnTo>
                <a:lnTo>
                  <a:pt x="7437" y="14009"/>
                </a:lnTo>
                <a:lnTo>
                  <a:pt x="7452" y="13986"/>
                </a:lnTo>
                <a:lnTo>
                  <a:pt x="7468" y="13964"/>
                </a:lnTo>
                <a:lnTo>
                  <a:pt x="7485" y="13943"/>
                </a:lnTo>
                <a:lnTo>
                  <a:pt x="7503" y="13922"/>
                </a:lnTo>
                <a:lnTo>
                  <a:pt x="7522" y="13902"/>
                </a:lnTo>
                <a:lnTo>
                  <a:pt x="7542" y="13883"/>
                </a:lnTo>
                <a:lnTo>
                  <a:pt x="7563" y="13864"/>
                </a:lnTo>
                <a:lnTo>
                  <a:pt x="7585" y="13847"/>
                </a:lnTo>
                <a:lnTo>
                  <a:pt x="7607" y="13830"/>
                </a:lnTo>
                <a:lnTo>
                  <a:pt x="7631" y="13814"/>
                </a:lnTo>
                <a:lnTo>
                  <a:pt x="7655" y="13800"/>
                </a:lnTo>
                <a:lnTo>
                  <a:pt x="7680" y="13786"/>
                </a:lnTo>
                <a:lnTo>
                  <a:pt x="7706" y="13774"/>
                </a:lnTo>
                <a:lnTo>
                  <a:pt x="7733" y="13762"/>
                </a:lnTo>
                <a:lnTo>
                  <a:pt x="7760" y="13752"/>
                </a:lnTo>
                <a:lnTo>
                  <a:pt x="7788" y="13743"/>
                </a:lnTo>
                <a:lnTo>
                  <a:pt x="7817" y="13735"/>
                </a:lnTo>
                <a:lnTo>
                  <a:pt x="7847" y="13728"/>
                </a:lnTo>
                <a:lnTo>
                  <a:pt x="7878" y="13722"/>
                </a:lnTo>
                <a:lnTo>
                  <a:pt x="7909" y="13717"/>
                </a:lnTo>
                <a:lnTo>
                  <a:pt x="7941" y="13713"/>
                </a:lnTo>
                <a:lnTo>
                  <a:pt x="7974" y="13711"/>
                </a:lnTo>
                <a:lnTo>
                  <a:pt x="8008" y="13709"/>
                </a:lnTo>
                <a:lnTo>
                  <a:pt x="8042" y="13708"/>
                </a:lnTo>
                <a:lnTo>
                  <a:pt x="8081" y="13709"/>
                </a:lnTo>
                <a:lnTo>
                  <a:pt x="8119" y="13711"/>
                </a:lnTo>
                <a:lnTo>
                  <a:pt x="8157" y="13714"/>
                </a:lnTo>
                <a:lnTo>
                  <a:pt x="8193" y="13718"/>
                </a:lnTo>
                <a:lnTo>
                  <a:pt x="8228" y="13723"/>
                </a:lnTo>
                <a:lnTo>
                  <a:pt x="8261" y="13730"/>
                </a:lnTo>
                <a:lnTo>
                  <a:pt x="8293" y="13738"/>
                </a:lnTo>
                <a:lnTo>
                  <a:pt x="8324" y="13747"/>
                </a:lnTo>
                <a:lnTo>
                  <a:pt x="8354" y="13757"/>
                </a:lnTo>
                <a:lnTo>
                  <a:pt x="8383" y="13769"/>
                </a:lnTo>
                <a:lnTo>
                  <a:pt x="8411" y="13781"/>
                </a:lnTo>
                <a:lnTo>
                  <a:pt x="8437" y="13795"/>
                </a:lnTo>
                <a:lnTo>
                  <a:pt x="8463" y="13810"/>
                </a:lnTo>
                <a:lnTo>
                  <a:pt x="8487" y="13827"/>
                </a:lnTo>
                <a:lnTo>
                  <a:pt x="8510" y="13844"/>
                </a:lnTo>
                <a:lnTo>
                  <a:pt x="8532" y="13863"/>
                </a:lnTo>
                <a:lnTo>
                  <a:pt x="8552" y="13883"/>
                </a:lnTo>
                <a:lnTo>
                  <a:pt x="8572" y="13904"/>
                </a:lnTo>
                <a:lnTo>
                  <a:pt x="8590" y="13926"/>
                </a:lnTo>
                <a:lnTo>
                  <a:pt x="8606" y="13949"/>
                </a:lnTo>
                <a:lnTo>
                  <a:pt x="8622" y="13973"/>
                </a:lnTo>
                <a:lnTo>
                  <a:pt x="8636" y="13999"/>
                </a:lnTo>
                <a:lnTo>
                  <a:pt x="8648" y="14025"/>
                </a:lnTo>
                <a:lnTo>
                  <a:pt x="8660" y="14054"/>
                </a:lnTo>
                <a:lnTo>
                  <a:pt x="8670" y="14083"/>
                </a:lnTo>
                <a:lnTo>
                  <a:pt x="8678" y="14113"/>
                </a:lnTo>
                <a:lnTo>
                  <a:pt x="8686" y="14144"/>
                </a:lnTo>
                <a:lnTo>
                  <a:pt x="8692" y="14176"/>
                </a:lnTo>
                <a:lnTo>
                  <a:pt x="8696" y="14209"/>
                </a:lnTo>
                <a:lnTo>
                  <a:pt x="8700" y="14244"/>
                </a:lnTo>
                <a:lnTo>
                  <a:pt x="8702" y="14280"/>
                </a:lnTo>
                <a:lnTo>
                  <a:pt x="8702" y="14316"/>
                </a:lnTo>
                <a:lnTo>
                  <a:pt x="8702" y="14345"/>
                </a:lnTo>
                <a:lnTo>
                  <a:pt x="8700" y="14376"/>
                </a:lnTo>
                <a:lnTo>
                  <a:pt x="8696" y="14409"/>
                </a:lnTo>
                <a:lnTo>
                  <a:pt x="8691" y="14444"/>
                </a:lnTo>
                <a:lnTo>
                  <a:pt x="8684" y="14481"/>
                </a:lnTo>
                <a:lnTo>
                  <a:pt x="8675" y="14517"/>
                </a:lnTo>
                <a:lnTo>
                  <a:pt x="8665" y="14553"/>
                </a:lnTo>
                <a:lnTo>
                  <a:pt x="8652" y="14588"/>
                </a:lnTo>
                <a:lnTo>
                  <a:pt x="8644" y="14605"/>
                </a:lnTo>
                <a:lnTo>
                  <a:pt x="8636" y="14623"/>
                </a:lnTo>
                <a:lnTo>
                  <a:pt x="8627" y="14639"/>
                </a:lnTo>
                <a:lnTo>
                  <a:pt x="8618" y="14656"/>
                </a:lnTo>
                <a:lnTo>
                  <a:pt x="8608" y="14672"/>
                </a:lnTo>
                <a:lnTo>
                  <a:pt x="8597" y="14688"/>
                </a:lnTo>
                <a:lnTo>
                  <a:pt x="8585" y="14704"/>
                </a:lnTo>
                <a:lnTo>
                  <a:pt x="8573" y="14719"/>
                </a:lnTo>
                <a:lnTo>
                  <a:pt x="8560" y="14734"/>
                </a:lnTo>
                <a:lnTo>
                  <a:pt x="8546" y="14748"/>
                </a:lnTo>
                <a:lnTo>
                  <a:pt x="8531" y="14761"/>
                </a:lnTo>
                <a:lnTo>
                  <a:pt x="8515" y="14773"/>
                </a:lnTo>
                <a:lnTo>
                  <a:pt x="8498" y="14784"/>
                </a:lnTo>
                <a:lnTo>
                  <a:pt x="8481" y="14795"/>
                </a:lnTo>
                <a:lnTo>
                  <a:pt x="8463" y="14804"/>
                </a:lnTo>
                <a:lnTo>
                  <a:pt x="8443" y="14813"/>
                </a:lnTo>
                <a:lnTo>
                  <a:pt x="8443" y="14826"/>
                </a:lnTo>
                <a:lnTo>
                  <a:pt x="8463" y="14834"/>
                </a:lnTo>
                <a:lnTo>
                  <a:pt x="8483" y="14844"/>
                </a:lnTo>
                <a:lnTo>
                  <a:pt x="8501" y="14854"/>
                </a:lnTo>
                <a:lnTo>
                  <a:pt x="8518" y="14865"/>
                </a:lnTo>
                <a:lnTo>
                  <a:pt x="8535" y="14876"/>
                </a:lnTo>
                <a:lnTo>
                  <a:pt x="8551" y="14889"/>
                </a:lnTo>
                <a:lnTo>
                  <a:pt x="8565" y="14902"/>
                </a:lnTo>
                <a:lnTo>
                  <a:pt x="8579" y="14916"/>
                </a:lnTo>
                <a:lnTo>
                  <a:pt x="8593" y="14932"/>
                </a:lnTo>
                <a:lnTo>
                  <a:pt x="8605" y="14947"/>
                </a:lnTo>
                <a:lnTo>
                  <a:pt x="8617" y="14962"/>
                </a:lnTo>
                <a:lnTo>
                  <a:pt x="8628" y="14978"/>
                </a:lnTo>
                <a:lnTo>
                  <a:pt x="8639" y="14995"/>
                </a:lnTo>
                <a:lnTo>
                  <a:pt x="8649" y="15011"/>
                </a:lnTo>
                <a:lnTo>
                  <a:pt x="8658" y="15029"/>
                </a:lnTo>
                <a:lnTo>
                  <a:pt x="8666" y="15047"/>
                </a:lnTo>
                <a:lnTo>
                  <a:pt x="8674" y="15065"/>
                </a:lnTo>
                <a:lnTo>
                  <a:pt x="8681" y="15083"/>
                </a:lnTo>
                <a:lnTo>
                  <a:pt x="8688" y="15101"/>
                </a:lnTo>
                <a:lnTo>
                  <a:pt x="8694" y="15120"/>
                </a:lnTo>
                <a:lnTo>
                  <a:pt x="8699" y="15139"/>
                </a:lnTo>
                <a:lnTo>
                  <a:pt x="8704" y="15158"/>
                </a:lnTo>
                <a:lnTo>
                  <a:pt x="8707" y="15177"/>
                </a:lnTo>
                <a:lnTo>
                  <a:pt x="8711" y="15196"/>
                </a:lnTo>
                <a:lnTo>
                  <a:pt x="8716" y="15234"/>
                </a:lnTo>
                <a:lnTo>
                  <a:pt x="8719" y="15272"/>
                </a:lnTo>
                <a:lnTo>
                  <a:pt x="8721" y="15309"/>
                </a:lnTo>
                <a:lnTo>
                  <a:pt x="8722" y="15345"/>
                </a:lnTo>
                <a:lnTo>
                  <a:pt x="8721" y="15388"/>
                </a:lnTo>
                <a:lnTo>
                  <a:pt x="8719" y="15429"/>
                </a:lnTo>
                <a:lnTo>
                  <a:pt x="8715" y="15468"/>
                </a:lnTo>
                <a:lnTo>
                  <a:pt x="8709" y="15506"/>
                </a:lnTo>
                <a:lnTo>
                  <a:pt x="8702" y="15543"/>
                </a:lnTo>
                <a:lnTo>
                  <a:pt x="8694" y="15578"/>
                </a:lnTo>
                <a:lnTo>
                  <a:pt x="8683" y="15612"/>
                </a:lnTo>
                <a:lnTo>
                  <a:pt x="8671" y="15645"/>
                </a:lnTo>
                <a:lnTo>
                  <a:pt x="8658" y="15676"/>
                </a:lnTo>
                <a:lnTo>
                  <a:pt x="8643" y="15706"/>
                </a:lnTo>
                <a:lnTo>
                  <a:pt x="8627" y="15735"/>
                </a:lnTo>
                <a:lnTo>
                  <a:pt x="8610" y="15762"/>
                </a:lnTo>
                <a:lnTo>
                  <a:pt x="8591" y="15788"/>
                </a:lnTo>
                <a:lnTo>
                  <a:pt x="8571" y="15814"/>
                </a:lnTo>
                <a:lnTo>
                  <a:pt x="8550" y="15838"/>
                </a:lnTo>
                <a:lnTo>
                  <a:pt x="8527" y="15860"/>
                </a:lnTo>
                <a:lnTo>
                  <a:pt x="8503" y="15881"/>
                </a:lnTo>
                <a:lnTo>
                  <a:pt x="8478" y="15901"/>
                </a:lnTo>
                <a:lnTo>
                  <a:pt x="8452" y="15920"/>
                </a:lnTo>
                <a:lnTo>
                  <a:pt x="8424" y="15937"/>
                </a:lnTo>
                <a:lnTo>
                  <a:pt x="8396" y="15952"/>
                </a:lnTo>
                <a:lnTo>
                  <a:pt x="8366" y="15967"/>
                </a:lnTo>
                <a:lnTo>
                  <a:pt x="8336" y="15980"/>
                </a:lnTo>
                <a:lnTo>
                  <a:pt x="8304" y="15992"/>
                </a:lnTo>
                <a:lnTo>
                  <a:pt x="8271" y="16002"/>
                </a:lnTo>
                <a:lnTo>
                  <a:pt x="8237" y="16011"/>
                </a:lnTo>
                <a:lnTo>
                  <a:pt x="8203" y="16019"/>
                </a:lnTo>
                <a:lnTo>
                  <a:pt x="8167" y="16025"/>
                </a:lnTo>
                <a:lnTo>
                  <a:pt x="8131" y="16030"/>
                </a:lnTo>
                <a:lnTo>
                  <a:pt x="8093" y="16033"/>
                </a:lnTo>
                <a:lnTo>
                  <a:pt x="8055" y="16035"/>
                </a:lnTo>
                <a:lnTo>
                  <a:pt x="8016" y="16036"/>
                </a:lnTo>
                <a:lnTo>
                  <a:pt x="7981" y="16035"/>
                </a:lnTo>
                <a:lnTo>
                  <a:pt x="7947" y="16034"/>
                </a:lnTo>
                <a:lnTo>
                  <a:pt x="7913" y="16031"/>
                </a:lnTo>
                <a:lnTo>
                  <a:pt x="7881" y="16027"/>
                </a:lnTo>
                <a:lnTo>
                  <a:pt x="7849" y="16022"/>
                </a:lnTo>
                <a:lnTo>
                  <a:pt x="7818" y="16016"/>
                </a:lnTo>
                <a:lnTo>
                  <a:pt x="7788" y="16009"/>
                </a:lnTo>
                <a:lnTo>
                  <a:pt x="7758" y="16001"/>
                </a:lnTo>
                <a:lnTo>
                  <a:pt x="7729" y="15992"/>
                </a:lnTo>
                <a:lnTo>
                  <a:pt x="7701" y="15982"/>
                </a:lnTo>
                <a:lnTo>
                  <a:pt x="7674" y="15970"/>
                </a:lnTo>
                <a:lnTo>
                  <a:pt x="7647" y="15958"/>
                </a:lnTo>
                <a:lnTo>
                  <a:pt x="7621" y="15944"/>
                </a:lnTo>
                <a:lnTo>
                  <a:pt x="7596" y="15930"/>
                </a:lnTo>
                <a:lnTo>
                  <a:pt x="7572" y="15914"/>
                </a:lnTo>
                <a:lnTo>
                  <a:pt x="7548" y="15897"/>
                </a:lnTo>
                <a:lnTo>
                  <a:pt x="7526" y="15879"/>
                </a:lnTo>
                <a:lnTo>
                  <a:pt x="7504" y="15860"/>
                </a:lnTo>
                <a:lnTo>
                  <a:pt x="7484" y="15841"/>
                </a:lnTo>
                <a:lnTo>
                  <a:pt x="7464" y="15820"/>
                </a:lnTo>
                <a:lnTo>
                  <a:pt x="7446" y="15798"/>
                </a:lnTo>
                <a:lnTo>
                  <a:pt x="7429" y="15776"/>
                </a:lnTo>
                <a:lnTo>
                  <a:pt x="7413" y="15752"/>
                </a:lnTo>
                <a:lnTo>
                  <a:pt x="7398" y="15728"/>
                </a:lnTo>
                <a:lnTo>
                  <a:pt x="7384" y="15703"/>
                </a:lnTo>
                <a:lnTo>
                  <a:pt x="7371" y="15677"/>
                </a:lnTo>
                <a:lnTo>
                  <a:pt x="7359" y="15651"/>
                </a:lnTo>
                <a:lnTo>
                  <a:pt x="7349" y="15623"/>
                </a:lnTo>
                <a:lnTo>
                  <a:pt x="7339" y="15595"/>
                </a:lnTo>
                <a:lnTo>
                  <a:pt x="7331" y="15565"/>
                </a:lnTo>
                <a:lnTo>
                  <a:pt x="7323" y="15535"/>
                </a:lnTo>
                <a:lnTo>
                  <a:pt x="7317" y="15504"/>
                </a:lnTo>
                <a:close/>
                <a:moveTo>
                  <a:pt x="6664" y="16016"/>
                </a:moveTo>
                <a:lnTo>
                  <a:pt x="6664" y="14074"/>
                </a:lnTo>
                <a:lnTo>
                  <a:pt x="6043" y="14074"/>
                </a:lnTo>
                <a:lnTo>
                  <a:pt x="6043" y="16016"/>
                </a:lnTo>
                <a:lnTo>
                  <a:pt x="5669" y="16016"/>
                </a:lnTo>
                <a:lnTo>
                  <a:pt x="5669" y="13728"/>
                </a:lnTo>
                <a:lnTo>
                  <a:pt x="7038" y="13728"/>
                </a:lnTo>
                <a:lnTo>
                  <a:pt x="7038" y="16016"/>
                </a:lnTo>
                <a:lnTo>
                  <a:pt x="6664" y="16016"/>
                </a:lnTo>
                <a:close/>
                <a:moveTo>
                  <a:pt x="4881" y="16016"/>
                </a:moveTo>
                <a:lnTo>
                  <a:pt x="4881" y="15027"/>
                </a:lnTo>
                <a:lnTo>
                  <a:pt x="4238" y="15027"/>
                </a:lnTo>
                <a:lnTo>
                  <a:pt x="4238" y="16016"/>
                </a:lnTo>
                <a:lnTo>
                  <a:pt x="3861" y="16016"/>
                </a:lnTo>
                <a:lnTo>
                  <a:pt x="3861" y="13728"/>
                </a:lnTo>
                <a:lnTo>
                  <a:pt x="4238" y="13728"/>
                </a:lnTo>
                <a:lnTo>
                  <a:pt x="4238" y="14688"/>
                </a:lnTo>
                <a:lnTo>
                  <a:pt x="4881" y="14688"/>
                </a:lnTo>
                <a:lnTo>
                  <a:pt x="4881" y="13728"/>
                </a:lnTo>
                <a:lnTo>
                  <a:pt x="5256" y="13728"/>
                </a:lnTo>
                <a:lnTo>
                  <a:pt x="5256" y="16016"/>
                </a:lnTo>
                <a:lnTo>
                  <a:pt x="4881" y="16016"/>
                </a:lnTo>
                <a:close/>
                <a:moveTo>
                  <a:pt x="3099" y="16016"/>
                </a:moveTo>
                <a:lnTo>
                  <a:pt x="3099" y="14678"/>
                </a:lnTo>
                <a:lnTo>
                  <a:pt x="3086" y="14678"/>
                </a:lnTo>
                <a:lnTo>
                  <a:pt x="2919" y="15106"/>
                </a:lnTo>
                <a:lnTo>
                  <a:pt x="2702" y="15605"/>
                </a:lnTo>
                <a:lnTo>
                  <a:pt x="2436" y="15605"/>
                </a:lnTo>
                <a:lnTo>
                  <a:pt x="2212" y="15089"/>
                </a:lnTo>
                <a:lnTo>
                  <a:pt x="2048" y="14675"/>
                </a:lnTo>
                <a:lnTo>
                  <a:pt x="2035" y="14678"/>
                </a:lnTo>
                <a:lnTo>
                  <a:pt x="2035" y="16016"/>
                </a:lnTo>
                <a:lnTo>
                  <a:pt x="1661" y="16016"/>
                </a:lnTo>
                <a:lnTo>
                  <a:pt x="1661" y="13728"/>
                </a:lnTo>
                <a:lnTo>
                  <a:pt x="2019" y="13728"/>
                </a:lnTo>
                <a:lnTo>
                  <a:pt x="2341" y="14478"/>
                </a:lnTo>
                <a:lnTo>
                  <a:pt x="2564" y="15030"/>
                </a:lnTo>
                <a:lnTo>
                  <a:pt x="2577" y="15030"/>
                </a:lnTo>
                <a:lnTo>
                  <a:pt x="2797" y="14474"/>
                </a:lnTo>
                <a:lnTo>
                  <a:pt x="3112" y="13728"/>
                </a:lnTo>
                <a:lnTo>
                  <a:pt x="3473" y="13728"/>
                </a:lnTo>
                <a:lnTo>
                  <a:pt x="3473" y="16016"/>
                </a:lnTo>
                <a:lnTo>
                  <a:pt x="3099" y="16016"/>
                </a:lnTo>
                <a:close/>
                <a:moveTo>
                  <a:pt x="3186" y="10815"/>
                </a:moveTo>
                <a:lnTo>
                  <a:pt x="3186" y="12756"/>
                </a:lnTo>
                <a:lnTo>
                  <a:pt x="2812" y="12756"/>
                </a:lnTo>
                <a:lnTo>
                  <a:pt x="2812" y="10467"/>
                </a:lnTo>
                <a:lnTo>
                  <a:pt x="4069" y="10467"/>
                </a:lnTo>
                <a:lnTo>
                  <a:pt x="4069" y="10815"/>
                </a:lnTo>
                <a:lnTo>
                  <a:pt x="3186" y="10815"/>
                </a:lnTo>
                <a:close/>
                <a:moveTo>
                  <a:pt x="5320" y="12756"/>
                </a:moveTo>
                <a:lnTo>
                  <a:pt x="5320" y="10812"/>
                </a:lnTo>
                <a:lnTo>
                  <a:pt x="4699" y="10812"/>
                </a:lnTo>
                <a:lnTo>
                  <a:pt x="4699" y="12756"/>
                </a:lnTo>
                <a:lnTo>
                  <a:pt x="4325" y="12756"/>
                </a:lnTo>
                <a:lnTo>
                  <a:pt x="4325" y="10467"/>
                </a:lnTo>
                <a:lnTo>
                  <a:pt x="5694" y="10467"/>
                </a:lnTo>
                <a:lnTo>
                  <a:pt x="5694" y="12756"/>
                </a:lnTo>
                <a:lnTo>
                  <a:pt x="5320" y="12756"/>
                </a:lnTo>
                <a:close/>
                <a:moveTo>
                  <a:pt x="7125" y="12756"/>
                </a:moveTo>
                <a:lnTo>
                  <a:pt x="7125" y="11765"/>
                </a:lnTo>
                <a:lnTo>
                  <a:pt x="6481" y="11765"/>
                </a:lnTo>
                <a:lnTo>
                  <a:pt x="6481" y="12756"/>
                </a:lnTo>
                <a:lnTo>
                  <a:pt x="6104" y="12756"/>
                </a:lnTo>
                <a:lnTo>
                  <a:pt x="6104" y="10467"/>
                </a:lnTo>
                <a:lnTo>
                  <a:pt x="6481" y="10467"/>
                </a:lnTo>
                <a:lnTo>
                  <a:pt x="6481" y="11427"/>
                </a:lnTo>
                <a:lnTo>
                  <a:pt x="7125" y="11427"/>
                </a:lnTo>
                <a:lnTo>
                  <a:pt x="7125" y="10467"/>
                </a:lnTo>
                <a:lnTo>
                  <a:pt x="7499" y="10467"/>
                </a:lnTo>
                <a:lnTo>
                  <a:pt x="7499" y="12756"/>
                </a:lnTo>
                <a:lnTo>
                  <a:pt x="7125" y="12756"/>
                </a:lnTo>
                <a:close/>
                <a:moveTo>
                  <a:pt x="6257" y="9771"/>
                </a:moveTo>
                <a:lnTo>
                  <a:pt x="5811" y="9771"/>
                </a:lnTo>
                <a:lnTo>
                  <a:pt x="5811" y="7244"/>
                </a:lnTo>
                <a:lnTo>
                  <a:pt x="5581" y="7244"/>
                </a:lnTo>
                <a:lnTo>
                  <a:pt x="5581" y="4485"/>
                </a:lnTo>
                <a:lnTo>
                  <a:pt x="5582" y="4467"/>
                </a:lnTo>
                <a:lnTo>
                  <a:pt x="5585" y="4449"/>
                </a:lnTo>
                <a:lnTo>
                  <a:pt x="5589" y="4431"/>
                </a:lnTo>
                <a:lnTo>
                  <a:pt x="5596" y="4415"/>
                </a:lnTo>
                <a:lnTo>
                  <a:pt x="5603" y="4399"/>
                </a:lnTo>
                <a:lnTo>
                  <a:pt x="5613" y="4383"/>
                </a:lnTo>
                <a:lnTo>
                  <a:pt x="5623" y="4369"/>
                </a:lnTo>
                <a:lnTo>
                  <a:pt x="5635" y="4356"/>
                </a:lnTo>
                <a:lnTo>
                  <a:pt x="5648" y="4344"/>
                </a:lnTo>
                <a:lnTo>
                  <a:pt x="5663" y="4333"/>
                </a:lnTo>
                <a:lnTo>
                  <a:pt x="5678" y="4324"/>
                </a:lnTo>
                <a:lnTo>
                  <a:pt x="5694" y="4316"/>
                </a:lnTo>
                <a:lnTo>
                  <a:pt x="5710" y="4309"/>
                </a:lnTo>
                <a:lnTo>
                  <a:pt x="5728" y="4305"/>
                </a:lnTo>
                <a:lnTo>
                  <a:pt x="5745" y="4302"/>
                </a:lnTo>
                <a:lnTo>
                  <a:pt x="5764" y="4301"/>
                </a:lnTo>
                <a:lnTo>
                  <a:pt x="6990" y="4301"/>
                </a:lnTo>
                <a:lnTo>
                  <a:pt x="7008" y="4302"/>
                </a:lnTo>
                <a:lnTo>
                  <a:pt x="7026" y="4305"/>
                </a:lnTo>
                <a:lnTo>
                  <a:pt x="7043" y="4309"/>
                </a:lnTo>
                <a:lnTo>
                  <a:pt x="7059" y="4316"/>
                </a:lnTo>
                <a:lnTo>
                  <a:pt x="7075" y="4324"/>
                </a:lnTo>
                <a:lnTo>
                  <a:pt x="7089" y="4333"/>
                </a:lnTo>
                <a:lnTo>
                  <a:pt x="7103" y="4344"/>
                </a:lnTo>
                <a:lnTo>
                  <a:pt x="7115" y="4356"/>
                </a:lnTo>
                <a:lnTo>
                  <a:pt x="7126" y="4369"/>
                </a:lnTo>
                <a:lnTo>
                  <a:pt x="7137" y="4383"/>
                </a:lnTo>
                <a:lnTo>
                  <a:pt x="7145" y="4399"/>
                </a:lnTo>
                <a:lnTo>
                  <a:pt x="7153" y="4415"/>
                </a:lnTo>
                <a:lnTo>
                  <a:pt x="7158" y="4431"/>
                </a:lnTo>
                <a:lnTo>
                  <a:pt x="7163" y="4449"/>
                </a:lnTo>
                <a:lnTo>
                  <a:pt x="7165" y="4467"/>
                </a:lnTo>
                <a:lnTo>
                  <a:pt x="7166" y="4485"/>
                </a:lnTo>
                <a:lnTo>
                  <a:pt x="7166" y="4978"/>
                </a:lnTo>
                <a:lnTo>
                  <a:pt x="7120" y="4980"/>
                </a:lnTo>
                <a:lnTo>
                  <a:pt x="7074" y="4983"/>
                </a:lnTo>
                <a:lnTo>
                  <a:pt x="7029" y="4989"/>
                </a:lnTo>
                <a:lnTo>
                  <a:pt x="6984" y="4997"/>
                </a:lnTo>
                <a:lnTo>
                  <a:pt x="6940" y="5008"/>
                </a:lnTo>
                <a:lnTo>
                  <a:pt x="6898" y="5020"/>
                </a:lnTo>
                <a:lnTo>
                  <a:pt x="6855" y="5035"/>
                </a:lnTo>
                <a:lnTo>
                  <a:pt x="6814" y="5051"/>
                </a:lnTo>
                <a:lnTo>
                  <a:pt x="6774" y="5070"/>
                </a:lnTo>
                <a:lnTo>
                  <a:pt x="6735" y="5090"/>
                </a:lnTo>
                <a:lnTo>
                  <a:pt x="6697" y="5112"/>
                </a:lnTo>
                <a:lnTo>
                  <a:pt x="6660" y="5137"/>
                </a:lnTo>
                <a:lnTo>
                  <a:pt x="6623" y="5162"/>
                </a:lnTo>
                <a:lnTo>
                  <a:pt x="6589" y="5190"/>
                </a:lnTo>
                <a:lnTo>
                  <a:pt x="6556" y="5219"/>
                </a:lnTo>
                <a:lnTo>
                  <a:pt x="6524" y="5249"/>
                </a:lnTo>
                <a:lnTo>
                  <a:pt x="6494" y="5281"/>
                </a:lnTo>
                <a:lnTo>
                  <a:pt x="6466" y="5314"/>
                </a:lnTo>
                <a:lnTo>
                  <a:pt x="6439" y="5348"/>
                </a:lnTo>
                <a:lnTo>
                  <a:pt x="6413" y="5384"/>
                </a:lnTo>
                <a:lnTo>
                  <a:pt x="6389" y="5421"/>
                </a:lnTo>
                <a:lnTo>
                  <a:pt x="6367" y="5459"/>
                </a:lnTo>
                <a:lnTo>
                  <a:pt x="6347" y="5498"/>
                </a:lnTo>
                <a:lnTo>
                  <a:pt x="6329" y="5539"/>
                </a:lnTo>
                <a:lnTo>
                  <a:pt x="6313" y="5581"/>
                </a:lnTo>
                <a:lnTo>
                  <a:pt x="6298" y="5623"/>
                </a:lnTo>
                <a:lnTo>
                  <a:pt x="6286" y="5666"/>
                </a:lnTo>
                <a:lnTo>
                  <a:pt x="6276" y="5710"/>
                </a:lnTo>
                <a:lnTo>
                  <a:pt x="6268" y="5754"/>
                </a:lnTo>
                <a:lnTo>
                  <a:pt x="6262" y="5800"/>
                </a:lnTo>
                <a:lnTo>
                  <a:pt x="6258" y="5846"/>
                </a:lnTo>
                <a:lnTo>
                  <a:pt x="6257" y="5892"/>
                </a:lnTo>
                <a:lnTo>
                  <a:pt x="6257" y="9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73" name="proiz_bitum"/>
          <p:cNvSpPr>
            <a:spLocks noChangeAspect="1" noEditPoints="1"/>
          </p:cNvSpPr>
          <p:nvPr/>
        </p:nvSpPr>
        <p:spPr bwMode="auto">
          <a:xfrm>
            <a:off x="3274851" y="1743143"/>
            <a:ext cx="819865" cy="648072"/>
          </a:xfrm>
          <a:custGeom>
            <a:avLst/>
            <a:gdLst>
              <a:gd name="T0" fmla="*/ 4423 w 16128"/>
              <a:gd name="T1" fmla="*/ 396 h 14112"/>
              <a:gd name="T2" fmla="*/ 4405 w 16128"/>
              <a:gd name="T3" fmla="*/ 293 h 14112"/>
              <a:gd name="T4" fmla="*/ 4364 w 16128"/>
              <a:gd name="T5" fmla="*/ 201 h 14112"/>
              <a:gd name="T6" fmla="*/ 4301 w 16128"/>
              <a:gd name="T7" fmla="*/ 122 h 14112"/>
              <a:gd name="T8" fmla="*/ 4223 w 16128"/>
              <a:gd name="T9" fmla="*/ 61 h 14112"/>
              <a:gd name="T10" fmla="*/ 4131 w 16128"/>
              <a:gd name="T11" fmla="*/ 19 h 14112"/>
              <a:gd name="T12" fmla="*/ 4029 w 16128"/>
              <a:gd name="T13" fmla="*/ 1 h 14112"/>
              <a:gd name="T14" fmla="*/ 1850 w 16128"/>
              <a:gd name="T15" fmla="*/ 5 h 14112"/>
              <a:gd name="T16" fmla="*/ 1751 w 16128"/>
              <a:gd name="T17" fmla="*/ 32 h 14112"/>
              <a:gd name="T18" fmla="*/ 1664 w 16128"/>
              <a:gd name="T19" fmla="*/ 83 h 14112"/>
              <a:gd name="T20" fmla="*/ 1593 w 16128"/>
              <a:gd name="T21" fmla="*/ 151 h 14112"/>
              <a:gd name="T22" fmla="*/ 1538 w 16128"/>
              <a:gd name="T23" fmla="*/ 236 h 14112"/>
              <a:gd name="T24" fmla="*/ 1506 w 16128"/>
              <a:gd name="T25" fmla="*/ 333 h 14112"/>
              <a:gd name="T26" fmla="*/ 1497 w 16128"/>
              <a:gd name="T27" fmla="*/ 7017 h 14112"/>
              <a:gd name="T28" fmla="*/ 353 w 16128"/>
              <a:gd name="T29" fmla="*/ 12399 h 14112"/>
              <a:gd name="T30" fmla="*/ 254 w 16128"/>
              <a:gd name="T31" fmla="*/ 12428 h 14112"/>
              <a:gd name="T32" fmla="*/ 167 w 16128"/>
              <a:gd name="T33" fmla="*/ 12477 h 14112"/>
              <a:gd name="T34" fmla="*/ 95 w 16128"/>
              <a:gd name="T35" fmla="*/ 12547 h 14112"/>
              <a:gd name="T36" fmla="*/ 41 w 16128"/>
              <a:gd name="T37" fmla="*/ 12631 h 14112"/>
              <a:gd name="T38" fmla="*/ 8 w 16128"/>
              <a:gd name="T39" fmla="*/ 12728 h 14112"/>
              <a:gd name="T40" fmla="*/ 0 w 16128"/>
              <a:gd name="T41" fmla="*/ 13695 h 14112"/>
              <a:gd name="T42" fmla="*/ 13 w 16128"/>
              <a:gd name="T43" fmla="*/ 13799 h 14112"/>
              <a:gd name="T44" fmla="*/ 50 w 16128"/>
              <a:gd name="T45" fmla="*/ 13894 h 14112"/>
              <a:gd name="T46" fmla="*/ 108 w 16128"/>
              <a:gd name="T47" fmla="*/ 13976 h 14112"/>
              <a:gd name="T48" fmla="*/ 183 w 16128"/>
              <a:gd name="T49" fmla="*/ 14040 h 14112"/>
              <a:gd name="T50" fmla="*/ 273 w 16128"/>
              <a:gd name="T51" fmla="*/ 14087 h 14112"/>
              <a:gd name="T52" fmla="*/ 374 w 16128"/>
              <a:gd name="T53" fmla="*/ 14110 h 14112"/>
              <a:gd name="T54" fmla="*/ 15754 w 16128"/>
              <a:gd name="T55" fmla="*/ 14110 h 14112"/>
              <a:gd name="T56" fmla="*/ 15855 w 16128"/>
              <a:gd name="T57" fmla="*/ 14087 h 14112"/>
              <a:gd name="T58" fmla="*/ 15945 w 16128"/>
              <a:gd name="T59" fmla="*/ 14040 h 14112"/>
              <a:gd name="T60" fmla="*/ 16020 w 16128"/>
              <a:gd name="T61" fmla="*/ 13976 h 14112"/>
              <a:gd name="T62" fmla="*/ 16078 w 16128"/>
              <a:gd name="T63" fmla="*/ 13894 h 14112"/>
              <a:gd name="T64" fmla="*/ 16115 w 16128"/>
              <a:gd name="T65" fmla="*/ 13799 h 14112"/>
              <a:gd name="T66" fmla="*/ 16128 w 16128"/>
              <a:gd name="T67" fmla="*/ 13695 h 14112"/>
              <a:gd name="T68" fmla="*/ 16120 w 16128"/>
              <a:gd name="T69" fmla="*/ 12728 h 14112"/>
              <a:gd name="T70" fmla="*/ 16087 w 16128"/>
              <a:gd name="T71" fmla="*/ 12631 h 14112"/>
              <a:gd name="T72" fmla="*/ 16033 w 16128"/>
              <a:gd name="T73" fmla="*/ 12547 h 14112"/>
              <a:gd name="T74" fmla="*/ 15961 w 16128"/>
              <a:gd name="T75" fmla="*/ 12477 h 14112"/>
              <a:gd name="T76" fmla="*/ 15874 w 16128"/>
              <a:gd name="T77" fmla="*/ 12428 h 14112"/>
              <a:gd name="T78" fmla="*/ 15775 w 16128"/>
              <a:gd name="T79" fmla="*/ 12399 h 14112"/>
              <a:gd name="T80" fmla="*/ 14652 w 16128"/>
              <a:gd name="T81" fmla="*/ 9064 h 14112"/>
              <a:gd name="T82" fmla="*/ 9536 w 16128"/>
              <a:gd name="T83" fmla="*/ 9064 h 14112"/>
              <a:gd name="T84" fmla="*/ 9530 w 16128"/>
              <a:gd name="T85" fmla="*/ 375 h 14112"/>
              <a:gd name="T86" fmla="*/ 9506 w 16128"/>
              <a:gd name="T87" fmla="*/ 274 h 14112"/>
              <a:gd name="T88" fmla="*/ 9460 w 16128"/>
              <a:gd name="T89" fmla="*/ 184 h 14112"/>
              <a:gd name="T90" fmla="*/ 9396 w 16128"/>
              <a:gd name="T91" fmla="*/ 108 h 14112"/>
              <a:gd name="T92" fmla="*/ 9314 w 16128"/>
              <a:gd name="T93" fmla="*/ 50 h 14112"/>
              <a:gd name="T94" fmla="*/ 9219 w 16128"/>
              <a:gd name="T95" fmla="*/ 13 h 14112"/>
              <a:gd name="T96" fmla="*/ 9115 w 16128"/>
              <a:gd name="T97" fmla="*/ 0 h 14112"/>
              <a:gd name="T98" fmla="*/ 6938 w 16128"/>
              <a:gd name="T99" fmla="*/ 8 h 14112"/>
              <a:gd name="T100" fmla="*/ 6841 w 16128"/>
              <a:gd name="T101" fmla="*/ 41 h 14112"/>
              <a:gd name="T102" fmla="*/ 6757 w 16128"/>
              <a:gd name="T103" fmla="*/ 95 h 14112"/>
              <a:gd name="T104" fmla="*/ 6688 w 16128"/>
              <a:gd name="T105" fmla="*/ 168 h 14112"/>
              <a:gd name="T106" fmla="*/ 6638 w 16128"/>
              <a:gd name="T107" fmla="*/ 254 h 14112"/>
              <a:gd name="T108" fmla="*/ 6609 w 16128"/>
              <a:gd name="T109" fmla="*/ 353 h 14112"/>
              <a:gd name="T110" fmla="*/ 6600 w 16128"/>
              <a:gd name="T111" fmla="*/ 7017 h 14112"/>
              <a:gd name="T112" fmla="*/ 7544 w 16128"/>
              <a:gd name="T113" fmla="*/ 5400 h 14112"/>
              <a:gd name="T114" fmla="*/ 9451 w 16128"/>
              <a:gd name="T115" fmla="*/ 12619 h 14112"/>
              <a:gd name="T116" fmla="*/ 10432 w 16128"/>
              <a:gd name="T117" fmla="*/ 12619 h 14112"/>
              <a:gd name="T118" fmla="*/ 11413 w 16128"/>
              <a:gd name="T119" fmla="*/ 12619 h 14112"/>
              <a:gd name="T120" fmla="*/ 12393 w 16128"/>
              <a:gd name="T121" fmla="*/ 12619 h 14112"/>
              <a:gd name="T122" fmla="*/ 13374 w 16128"/>
              <a:gd name="T123" fmla="*/ 12619 h 14112"/>
              <a:gd name="T124" fmla="*/ 2442 w 16128"/>
              <a:gd name="T125" fmla="*/ 5400 h 14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28" h="14112">
                <a:moveTo>
                  <a:pt x="4432" y="12394"/>
                </a:moveTo>
                <a:lnTo>
                  <a:pt x="4432" y="7017"/>
                </a:lnTo>
                <a:lnTo>
                  <a:pt x="4423" y="6931"/>
                </a:lnTo>
                <a:lnTo>
                  <a:pt x="4423" y="417"/>
                </a:lnTo>
                <a:lnTo>
                  <a:pt x="4423" y="396"/>
                </a:lnTo>
                <a:lnTo>
                  <a:pt x="4421" y="375"/>
                </a:lnTo>
                <a:lnTo>
                  <a:pt x="4419" y="353"/>
                </a:lnTo>
                <a:lnTo>
                  <a:pt x="4415" y="333"/>
                </a:lnTo>
                <a:lnTo>
                  <a:pt x="4410" y="313"/>
                </a:lnTo>
                <a:lnTo>
                  <a:pt x="4405" y="293"/>
                </a:lnTo>
                <a:lnTo>
                  <a:pt x="4398" y="274"/>
                </a:lnTo>
                <a:lnTo>
                  <a:pt x="4391" y="254"/>
                </a:lnTo>
                <a:lnTo>
                  <a:pt x="4383" y="236"/>
                </a:lnTo>
                <a:lnTo>
                  <a:pt x="4374" y="218"/>
                </a:lnTo>
                <a:lnTo>
                  <a:pt x="4364" y="201"/>
                </a:lnTo>
                <a:lnTo>
                  <a:pt x="4353" y="184"/>
                </a:lnTo>
                <a:lnTo>
                  <a:pt x="4340" y="168"/>
                </a:lnTo>
                <a:lnTo>
                  <a:pt x="4328" y="151"/>
                </a:lnTo>
                <a:lnTo>
                  <a:pt x="4315" y="136"/>
                </a:lnTo>
                <a:lnTo>
                  <a:pt x="4301" y="122"/>
                </a:lnTo>
                <a:lnTo>
                  <a:pt x="4287" y="108"/>
                </a:lnTo>
                <a:lnTo>
                  <a:pt x="4272" y="95"/>
                </a:lnTo>
                <a:lnTo>
                  <a:pt x="4256" y="83"/>
                </a:lnTo>
                <a:lnTo>
                  <a:pt x="4240" y="72"/>
                </a:lnTo>
                <a:lnTo>
                  <a:pt x="4223" y="61"/>
                </a:lnTo>
                <a:lnTo>
                  <a:pt x="4205" y="50"/>
                </a:lnTo>
                <a:lnTo>
                  <a:pt x="4187" y="41"/>
                </a:lnTo>
                <a:lnTo>
                  <a:pt x="4169" y="32"/>
                </a:lnTo>
                <a:lnTo>
                  <a:pt x="4150" y="25"/>
                </a:lnTo>
                <a:lnTo>
                  <a:pt x="4131" y="19"/>
                </a:lnTo>
                <a:lnTo>
                  <a:pt x="4111" y="13"/>
                </a:lnTo>
                <a:lnTo>
                  <a:pt x="4090" y="8"/>
                </a:lnTo>
                <a:lnTo>
                  <a:pt x="4070" y="5"/>
                </a:lnTo>
                <a:lnTo>
                  <a:pt x="4050" y="2"/>
                </a:lnTo>
                <a:lnTo>
                  <a:pt x="4029" y="1"/>
                </a:lnTo>
                <a:lnTo>
                  <a:pt x="4007" y="0"/>
                </a:lnTo>
                <a:lnTo>
                  <a:pt x="1913" y="0"/>
                </a:lnTo>
                <a:lnTo>
                  <a:pt x="1892" y="1"/>
                </a:lnTo>
                <a:lnTo>
                  <a:pt x="1871" y="2"/>
                </a:lnTo>
                <a:lnTo>
                  <a:pt x="1850" y="5"/>
                </a:lnTo>
                <a:lnTo>
                  <a:pt x="1830" y="8"/>
                </a:lnTo>
                <a:lnTo>
                  <a:pt x="1809" y="13"/>
                </a:lnTo>
                <a:lnTo>
                  <a:pt x="1789" y="19"/>
                </a:lnTo>
                <a:lnTo>
                  <a:pt x="1770" y="25"/>
                </a:lnTo>
                <a:lnTo>
                  <a:pt x="1751" y="32"/>
                </a:lnTo>
                <a:lnTo>
                  <a:pt x="1733" y="41"/>
                </a:lnTo>
                <a:lnTo>
                  <a:pt x="1715" y="50"/>
                </a:lnTo>
                <a:lnTo>
                  <a:pt x="1697" y="61"/>
                </a:lnTo>
                <a:lnTo>
                  <a:pt x="1680" y="72"/>
                </a:lnTo>
                <a:lnTo>
                  <a:pt x="1664" y="83"/>
                </a:lnTo>
                <a:lnTo>
                  <a:pt x="1649" y="95"/>
                </a:lnTo>
                <a:lnTo>
                  <a:pt x="1634" y="108"/>
                </a:lnTo>
                <a:lnTo>
                  <a:pt x="1619" y="122"/>
                </a:lnTo>
                <a:lnTo>
                  <a:pt x="1605" y="136"/>
                </a:lnTo>
                <a:lnTo>
                  <a:pt x="1593" y="151"/>
                </a:lnTo>
                <a:lnTo>
                  <a:pt x="1580" y="168"/>
                </a:lnTo>
                <a:lnTo>
                  <a:pt x="1568" y="184"/>
                </a:lnTo>
                <a:lnTo>
                  <a:pt x="1557" y="201"/>
                </a:lnTo>
                <a:lnTo>
                  <a:pt x="1547" y="218"/>
                </a:lnTo>
                <a:lnTo>
                  <a:pt x="1538" y="236"/>
                </a:lnTo>
                <a:lnTo>
                  <a:pt x="1530" y="254"/>
                </a:lnTo>
                <a:lnTo>
                  <a:pt x="1522" y="274"/>
                </a:lnTo>
                <a:lnTo>
                  <a:pt x="1516" y="293"/>
                </a:lnTo>
                <a:lnTo>
                  <a:pt x="1510" y="313"/>
                </a:lnTo>
                <a:lnTo>
                  <a:pt x="1506" y="333"/>
                </a:lnTo>
                <a:lnTo>
                  <a:pt x="1502" y="353"/>
                </a:lnTo>
                <a:lnTo>
                  <a:pt x="1499" y="375"/>
                </a:lnTo>
                <a:lnTo>
                  <a:pt x="1498" y="396"/>
                </a:lnTo>
                <a:lnTo>
                  <a:pt x="1497" y="417"/>
                </a:lnTo>
                <a:lnTo>
                  <a:pt x="1497" y="7017"/>
                </a:lnTo>
                <a:lnTo>
                  <a:pt x="1497" y="12394"/>
                </a:lnTo>
                <a:lnTo>
                  <a:pt x="416" y="12394"/>
                </a:lnTo>
                <a:lnTo>
                  <a:pt x="395" y="12395"/>
                </a:lnTo>
                <a:lnTo>
                  <a:pt x="374" y="12396"/>
                </a:lnTo>
                <a:lnTo>
                  <a:pt x="353" y="12399"/>
                </a:lnTo>
                <a:lnTo>
                  <a:pt x="333" y="12404"/>
                </a:lnTo>
                <a:lnTo>
                  <a:pt x="312" y="12408"/>
                </a:lnTo>
                <a:lnTo>
                  <a:pt x="292" y="12414"/>
                </a:lnTo>
                <a:lnTo>
                  <a:pt x="273" y="12420"/>
                </a:lnTo>
                <a:lnTo>
                  <a:pt x="254" y="12428"/>
                </a:lnTo>
                <a:lnTo>
                  <a:pt x="236" y="12436"/>
                </a:lnTo>
                <a:lnTo>
                  <a:pt x="218" y="12445"/>
                </a:lnTo>
                <a:lnTo>
                  <a:pt x="201" y="12455"/>
                </a:lnTo>
                <a:lnTo>
                  <a:pt x="183" y="12466"/>
                </a:lnTo>
                <a:lnTo>
                  <a:pt x="167" y="12477"/>
                </a:lnTo>
                <a:lnTo>
                  <a:pt x="151" y="12490"/>
                </a:lnTo>
                <a:lnTo>
                  <a:pt x="136" y="12503"/>
                </a:lnTo>
                <a:lnTo>
                  <a:pt x="122" y="12517"/>
                </a:lnTo>
                <a:lnTo>
                  <a:pt x="108" y="12532"/>
                </a:lnTo>
                <a:lnTo>
                  <a:pt x="95" y="12547"/>
                </a:lnTo>
                <a:lnTo>
                  <a:pt x="83" y="12562"/>
                </a:lnTo>
                <a:lnTo>
                  <a:pt x="72" y="12578"/>
                </a:lnTo>
                <a:lnTo>
                  <a:pt x="60" y="12595"/>
                </a:lnTo>
                <a:lnTo>
                  <a:pt x="50" y="12613"/>
                </a:lnTo>
                <a:lnTo>
                  <a:pt x="41" y="12631"/>
                </a:lnTo>
                <a:lnTo>
                  <a:pt x="32" y="12650"/>
                </a:lnTo>
                <a:lnTo>
                  <a:pt x="25" y="12668"/>
                </a:lnTo>
                <a:lnTo>
                  <a:pt x="19" y="12688"/>
                </a:lnTo>
                <a:lnTo>
                  <a:pt x="13" y="12707"/>
                </a:lnTo>
                <a:lnTo>
                  <a:pt x="8" y="12728"/>
                </a:lnTo>
                <a:lnTo>
                  <a:pt x="5" y="12748"/>
                </a:lnTo>
                <a:lnTo>
                  <a:pt x="2" y="12769"/>
                </a:lnTo>
                <a:lnTo>
                  <a:pt x="1" y="12790"/>
                </a:lnTo>
                <a:lnTo>
                  <a:pt x="0" y="12811"/>
                </a:lnTo>
                <a:lnTo>
                  <a:pt x="0" y="13695"/>
                </a:lnTo>
                <a:lnTo>
                  <a:pt x="1" y="13716"/>
                </a:lnTo>
                <a:lnTo>
                  <a:pt x="2" y="13737"/>
                </a:lnTo>
                <a:lnTo>
                  <a:pt x="5" y="13759"/>
                </a:lnTo>
                <a:lnTo>
                  <a:pt x="8" y="13779"/>
                </a:lnTo>
                <a:lnTo>
                  <a:pt x="13" y="13799"/>
                </a:lnTo>
                <a:lnTo>
                  <a:pt x="19" y="13819"/>
                </a:lnTo>
                <a:lnTo>
                  <a:pt x="25" y="13838"/>
                </a:lnTo>
                <a:lnTo>
                  <a:pt x="32" y="13858"/>
                </a:lnTo>
                <a:lnTo>
                  <a:pt x="41" y="13876"/>
                </a:lnTo>
                <a:lnTo>
                  <a:pt x="50" y="13894"/>
                </a:lnTo>
                <a:lnTo>
                  <a:pt x="60" y="13911"/>
                </a:lnTo>
                <a:lnTo>
                  <a:pt x="72" y="13928"/>
                </a:lnTo>
                <a:lnTo>
                  <a:pt x="83" y="13944"/>
                </a:lnTo>
                <a:lnTo>
                  <a:pt x="95" y="13961"/>
                </a:lnTo>
                <a:lnTo>
                  <a:pt x="108" y="13976"/>
                </a:lnTo>
                <a:lnTo>
                  <a:pt x="122" y="13990"/>
                </a:lnTo>
                <a:lnTo>
                  <a:pt x="136" y="14004"/>
                </a:lnTo>
                <a:lnTo>
                  <a:pt x="151" y="14017"/>
                </a:lnTo>
                <a:lnTo>
                  <a:pt x="167" y="14029"/>
                </a:lnTo>
                <a:lnTo>
                  <a:pt x="183" y="14040"/>
                </a:lnTo>
                <a:lnTo>
                  <a:pt x="201" y="14051"/>
                </a:lnTo>
                <a:lnTo>
                  <a:pt x="218" y="14062"/>
                </a:lnTo>
                <a:lnTo>
                  <a:pt x="236" y="14071"/>
                </a:lnTo>
                <a:lnTo>
                  <a:pt x="254" y="14080"/>
                </a:lnTo>
                <a:lnTo>
                  <a:pt x="273" y="14087"/>
                </a:lnTo>
                <a:lnTo>
                  <a:pt x="292" y="14093"/>
                </a:lnTo>
                <a:lnTo>
                  <a:pt x="312" y="14099"/>
                </a:lnTo>
                <a:lnTo>
                  <a:pt x="333" y="14104"/>
                </a:lnTo>
                <a:lnTo>
                  <a:pt x="353" y="14107"/>
                </a:lnTo>
                <a:lnTo>
                  <a:pt x="374" y="14110"/>
                </a:lnTo>
                <a:lnTo>
                  <a:pt x="395" y="14111"/>
                </a:lnTo>
                <a:lnTo>
                  <a:pt x="416" y="14112"/>
                </a:lnTo>
                <a:lnTo>
                  <a:pt x="15712" y="14112"/>
                </a:lnTo>
                <a:lnTo>
                  <a:pt x="15733" y="14111"/>
                </a:lnTo>
                <a:lnTo>
                  <a:pt x="15754" y="14110"/>
                </a:lnTo>
                <a:lnTo>
                  <a:pt x="15775" y="14107"/>
                </a:lnTo>
                <a:lnTo>
                  <a:pt x="15795" y="14104"/>
                </a:lnTo>
                <a:lnTo>
                  <a:pt x="15816" y="14099"/>
                </a:lnTo>
                <a:lnTo>
                  <a:pt x="15836" y="14093"/>
                </a:lnTo>
                <a:lnTo>
                  <a:pt x="15855" y="14087"/>
                </a:lnTo>
                <a:lnTo>
                  <a:pt x="15874" y="14080"/>
                </a:lnTo>
                <a:lnTo>
                  <a:pt x="15892" y="14071"/>
                </a:lnTo>
                <a:lnTo>
                  <a:pt x="15910" y="14062"/>
                </a:lnTo>
                <a:lnTo>
                  <a:pt x="15927" y="14051"/>
                </a:lnTo>
                <a:lnTo>
                  <a:pt x="15945" y="14040"/>
                </a:lnTo>
                <a:lnTo>
                  <a:pt x="15961" y="14029"/>
                </a:lnTo>
                <a:lnTo>
                  <a:pt x="15977" y="14017"/>
                </a:lnTo>
                <a:lnTo>
                  <a:pt x="15992" y="14004"/>
                </a:lnTo>
                <a:lnTo>
                  <a:pt x="16006" y="13990"/>
                </a:lnTo>
                <a:lnTo>
                  <a:pt x="16020" y="13976"/>
                </a:lnTo>
                <a:lnTo>
                  <a:pt x="16033" y="13961"/>
                </a:lnTo>
                <a:lnTo>
                  <a:pt x="16045" y="13944"/>
                </a:lnTo>
                <a:lnTo>
                  <a:pt x="16056" y="13928"/>
                </a:lnTo>
                <a:lnTo>
                  <a:pt x="16068" y="13911"/>
                </a:lnTo>
                <a:lnTo>
                  <a:pt x="16078" y="13894"/>
                </a:lnTo>
                <a:lnTo>
                  <a:pt x="16087" y="13876"/>
                </a:lnTo>
                <a:lnTo>
                  <a:pt x="16096" y="13858"/>
                </a:lnTo>
                <a:lnTo>
                  <a:pt x="16103" y="13838"/>
                </a:lnTo>
                <a:lnTo>
                  <a:pt x="16109" y="13819"/>
                </a:lnTo>
                <a:lnTo>
                  <a:pt x="16115" y="13799"/>
                </a:lnTo>
                <a:lnTo>
                  <a:pt x="16120" y="13779"/>
                </a:lnTo>
                <a:lnTo>
                  <a:pt x="16123" y="13759"/>
                </a:lnTo>
                <a:lnTo>
                  <a:pt x="16126" y="13737"/>
                </a:lnTo>
                <a:lnTo>
                  <a:pt x="16127" y="13716"/>
                </a:lnTo>
                <a:lnTo>
                  <a:pt x="16128" y="13695"/>
                </a:lnTo>
                <a:lnTo>
                  <a:pt x="16128" y="12811"/>
                </a:lnTo>
                <a:lnTo>
                  <a:pt x="16127" y="12790"/>
                </a:lnTo>
                <a:lnTo>
                  <a:pt x="16126" y="12769"/>
                </a:lnTo>
                <a:lnTo>
                  <a:pt x="16123" y="12748"/>
                </a:lnTo>
                <a:lnTo>
                  <a:pt x="16120" y="12728"/>
                </a:lnTo>
                <a:lnTo>
                  <a:pt x="16115" y="12707"/>
                </a:lnTo>
                <a:lnTo>
                  <a:pt x="16109" y="12688"/>
                </a:lnTo>
                <a:lnTo>
                  <a:pt x="16103" y="12668"/>
                </a:lnTo>
                <a:lnTo>
                  <a:pt x="16096" y="12650"/>
                </a:lnTo>
                <a:lnTo>
                  <a:pt x="16087" y="12631"/>
                </a:lnTo>
                <a:lnTo>
                  <a:pt x="16078" y="12613"/>
                </a:lnTo>
                <a:lnTo>
                  <a:pt x="16068" y="12595"/>
                </a:lnTo>
                <a:lnTo>
                  <a:pt x="16056" y="12578"/>
                </a:lnTo>
                <a:lnTo>
                  <a:pt x="16045" y="12562"/>
                </a:lnTo>
                <a:lnTo>
                  <a:pt x="16033" y="12547"/>
                </a:lnTo>
                <a:lnTo>
                  <a:pt x="16020" y="12532"/>
                </a:lnTo>
                <a:lnTo>
                  <a:pt x="16006" y="12517"/>
                </a:lnTo>
                <a:lnTo>
                  <a:pt x="15992" y="12503"/>
                </a:lnTo>
                <a:lnTo>
                  <a:pt x="15977" y="12490"/>
                </a:lnTo>
                <a:lnTo>
                  <a:pt x="15961" y="12477"/>
                </a:lnTo>
                <a:lnTo>
                  <a:pt x="15945" y="12466"/>
                </a:lnTo>
                <a:lnTo>
                  <a:pt x="15927" y="12455"/>
                </a:lnTo>
                <a:lnTo>
                  <a:pt x="15910" y="12445"/>
                </a:lnTo>
                <a:lnTo>
                  <a:pt x="15892" y="12436"/>
                </a:lnTo>
                <a:lnTo>
                  <a:pt x="15874" y="12428"/>
                </a:lnTo>
                <a:lnTo>
                  <a:pt x="15855" y="12420"/>
                </a:lnTo>
                <a:lnTo>
                  <a:pt x="15836" y="12414"/>
                </a:lnTo>
                <a:lnTo>
                  <a:pt x="15816" y="12408"/>
                </a:lnTo>
                <a:lnTo>
                  <a:pt x="15795" y="12404"/>
                </a:lnTo>
                <a:lnTo>
                  <a:pt x="15775" y="12399"/>
                </a:lnTo>
                <a:lnTo>
                  <a:pt x="15754" y="12396"/>
                </a:lnTo>
                <a:lnTo>
                  <a:pt x="15733" y="12395"/>
                </a:lnTo>
                <a:lnTo>
                  <a:pt x="15712" y="12394"/>
                </a:lnTo>
                <a:lnTo>
                  <a:pt x="14652" y="12394"/>
                </a:lnTo>
                <a:lnTo>
                  <a:pt x="14652" y="9064"/>
                </a:lnTo>
                <a:lnTo>
                  <a:pt x="13065" y="9064"/>
                </a:lnTo>
                <a:lnTo>
                  <a:pt x="13065" y="2972"/>
                </a:lnTo>
                <a:lnTo>
                  <a:pt x="11610" y="2972"/>
                </a:lnTo>
                <a:lnTo>
                  <a:pt x="11610" y="9064"/>
                </a:lnTo>
                <a:lnTo>
                  <a:pt x="9536" y="9064"/>
                </a:lnTo>
                <a:lnTo>
                  <a:pt x="9536" y="7017"/>
                </a:lnTo>
                <a:lnTo>
                  <a:pt x="9532" y="6955"/>
                </a:lnTo>
                <a:lnTo>
                  <a:pt x="9532" y="417"/>
                </a:lnTo>
                <a:lnTo>
                  <a:pt x="9531" y="396"/>
                </a:lnTo>
                <a:lnTo>
                  <a:pt x="9530" y="375"/>
                </a:lnTo>
                <a:lnTo>
                  <a:pt x="9527" y="353"/>
                </a:lnTo>
                <a:lnTo>
                  <a:pt x="9524" y="333"/>
                </a:lnTo>
                <a:lnTo>
                  <a:pt x="9519" y="313"/>
                </a:lnTo>
                <a:lnTo>
                  <a:pt x="9512" y="293"/>
                </a:lnTo>
                <a:lnTo>
                  <a:pt x="9506" y="274"/>
                </a:lnTo>
                <a:lnTo>
                  <a:pt x="9498" y="254"/>
                </a:lnTo>
                <a:lnTo>
                  <a:pt x="9490" y="236"/>
                </a:lnTo>
                <a:lnTo>
                  <a:pt x="9481" y="218"/>
                </a:lnTo>
                <a:lnTo>
                  <a:pt x="9471" y="201"/>
                </a:lnTo>
                <a:lnTo>
                  <a:pt x="9460" y="184"/>
                </a:lnTo>
                <a:lnTo>
                  <a:pt x="9449" y="168"/>
                </a:lnTo>
                <a:lnTo>
                  <a:pt x="9437" y="151"/>
                </a:lnTo>
                <a:lnTo>
                  <a:pt x="9424" y="136"/>
                </a:lnTo>
                <a:lnTo>
                  <a:pt x="9410" y="122"/>
                </a:lnTo>
                <a:lnTo>
                  <a:pt x="9396" y="108"/>
                </a:lnTo>
                <a:lnTo>
                  <a:pt x="9380" y="95"/>
                </a:lnTo>
                <a:lnTo>
                  <a:pt x="9364" y="83"/>
                </a:lnTo>
                <a:lnTo>
                  <a:pt x="9348" y="72"/>
                </a:lnTo>
                <a:lnTo>
                  <a:pt x="9331" y="61"/>
                </a:lnTo>
                <a:lnTo>
                  <a:pt x="9314" y="50"/>
                </a:lnTo>
                <a:lnTo>
                  <a:pt x="9296" y="41"/>
                </a:lnTo>
                <a:lnTo>
                  <a:pt x="9278" y="32"/>
                </a:lnTo>
                <a:lnTo>
                  <a:pt x="9258" y="25"/>
                </a:lnTo>
                <a:lnTo>
                  <a:pt x="9239" y="19"/>
                </a:lnTo>
                <a:lnTo>
                  <a:pt x="9219" y="13"/>
                </a:lnTo>
                <a:lnTo>
                  <a:pt x="9199" y="8"/>
                </a:lnTo>
                <a:lnTo>
                  <a:pt x="9179" y="5"/>
                </a:lnTo>
                <a:lnTo>
                  <a:pt x="9158" y="2"/>
                </a:lnTo>
                <a:lnTo>
                  <a:pt x="9137" y="1"/>
                </a:lnTo>
                <a:lnTo>
                  <a:pt x="9115" y="0"/>
                </a:lnTo>
                <a:lnTo>
                  <a:pt x="7022" y="0"/>
                </a:lnTo>
                <a:lnTo>
                  <a:pt x="7001" y="1"/>
                </a:lnTo>
                <a:lnTo>
                  <a:pt x="6979" y="2"/>
                </a:lnTo>
                <a:lnTo>
                  <a:pt x="6958" y="5"/>
                </a:lnTo>
                <a:lnTo>
                  <a:pt x="6938" y="8"/>
                </a:lnTo>
                <a:lnTo>
                  <a:pt x="6918" y="13"/>
                </a:lnTo>
                <a:lnTo>
                  <a:pt x="6898" y="19"/>
                </a:lnTo>
                <a:lnTo>
                  <a:pt x="6879" y="25"/>
                </a:lnTo>
                <a:lnTo>
                  <a:pt x="6859" y="32"/>
                </a:lnTo>
                <a:lnTo>
                  <a:pt x="6841" y="41"/>
                </a:lnTo>
                <a:lnTo>
                  <a:pt x="6823" y="50"/>
                </a:lnTo>
                <a:lnTo>
                  <a:pt x="6806" y="61"/>
                </a:lnTo>
                <a:lnTo>
                  <a:pt x="6789" y="72"/>
                </a:lnTo>
                <a:lnTo>
                  <a:pt x="6773" y="83"/>
                </a:lnTo>
                <a:lnTo>
                  <a:pt x="6757" y="95"/>
                </a:lnTo>
                <a:lnTo>
                  <a:pt x="6742" y="108"/>
                </a:lnTo>
                <a:lnTo>
                  <a:pt x="6727" y="122"/>
                </a:lnTo>
                <a:lnTo>
                  <a:pt x="6713" y="136"/>
                </a:lnTo>
                <a:lnTo>
                  <a:pt x="6700" y="151"/>
                </a:lnTo>
                <a:lnTo>
                  <a:pt x="6688" y="168"/>
                </a:lnTo>
                <a:lnTo>
                  <a:pt x="6676" y="184"/>
                </a:lnTo>
                <a:lnTo>
                  <a:pt x="6665" y="201"/>
                </a:lnTo>
                <a:lnTo>
                  <a:pt x="6656" y="218"/>
                </a:lnTo>
                <a:lnTo>
                  <a:pt x="6646" y="236"/>
                </a:lnTo>
                <a:lnTo>
                  <a:pt x="6638" y="254"/>
                </a:lnTo>
                <a:lnTo>
                  <a:pt x="6631" y="274"/>
                </a:lnTo>
                <a:lnTo>
                  <a:pt x="6624" y="293"/>
                </a:lnTo>
                <a:lnTo>
                  <a:pt x="6619" y="313"/>
                </a:lnTo>
                <a:lnTo>
                  <a:pt x="6613" y="333"/>
                </a:lnTo>
                <a:lnTo>
                  <a:pt x="6609" y="353"/>
                </a:lnTo>
                <a:lnTo>
                  <a:pt x="6607" y="375"/>
                </a:lnTo>
                <a:lnTo>
                  <a:pt x="6605" y="396"/>
                </a:lnTo>
                <a:lnTo>
                  <a:pt x="6605" y="417"/>
                </a:lnTo>
                <a:lnTo>
                  <a:pt x="6605" y="6957"/>
                </a:lnTo>
                <a:lnTo>
                  <a:pt x="6600" y="7017"/>
                </a:lnTo>
                <a:lnTo>
                  <a:pt x="6600" y="9064"/>
                </a:lnTo>
                <a:lnTo>
                  <a:pt x="5131" y="9064"/>
                </a:lnTo>
                <a:lnTo>
                  <a:pt x="5131" y="12394"/>
                </a:lnTo>
                <a:lnTo>
                  <a:pt x="4432" y="12394"/>
                </a:lnTo>
                <a:close/>
                <a:moveTo>
                  <a:pt x="7544" y="5400"/>
                </a:moveTo>
                <a:lnTo>
                  <a:pt x="7080" y="5400"/>
                </a:lnTo>
                <a:lnTo>
                  <a:pt x="7080" y="2000"/>
                </a:lnTo>
                <a:lnTo>
                  <a:pt x="7544" y="2000"/>
                </a:lnTo>
                <a:lnTo>
                  <a:pt x="7544" y="5400"/>
                </a:lnTo>
                <a:close/>
                <a:moveTo>
                  <a:pt x="9451" y="12619"/>
                </a:moveTo>
                <a:lnTo>
                  <a:pt x="9451" y="9881"/>
                </a:lnTo>
                <a:lnTo>
                  <a:pt x="9914" y="9881"/>
                </a:lnTo>
                <a:lnTo>
                  <a:pt x="9914" y="12619"/>
                </a:lnTo>
                <a:lnTo>
                  <a:pt x="9451" y="12619"/>
                </a:lnTo>
                <a:close/>
                <a:moveTo>
                  <a:pt x="10432" y="12619"/>
                </a:moveTo>
                <a:lnTo>
                  <a:pt x="10432" y="9881"/>
                </a:lnTo>
                <a:lnTo>
                  <a:pt x="10894" y="9881"/>
                </a:lnTo>
                <a:lnTo>
                  <a:pt x="10894" y="12619"/>
                </a:lnTo>
                <a:lnTo>
                  <a:pt x="10432" y="12619"/>
                </a:lnTo>
                <a:close/>
                <a:moveTo>
                  <a:pt x="11413" y="12619"/>
                </a:moveTo>
                <a:lnTo>
                  <a:pt x="11413" y="9881"/>
                </a:lnTo>
                <a:lnTo>
                  <a:pt x="11875" y="9881"/>
                </a:lnTo>
                <a:lnTo>
                  <a:pt x="11875" y="12619"/>
                </a:lnTo>
                <a:lnTo>
                  <a:pt x="11413" y="12619"/>
                </a:lnTo>
                <a:close/>
                <a:moveTo>
                  <a:pt x="12393" y="12619"/>
                </a:moveTo>
                <a:lnTo>
                  <a:pt x="12393" y="9881"/>
                </a:lnTo>
                <a:lnTo>
                  <a:pt x="12856" y="9881"/>
                </a:lnTo>
                <a:lnTo>
                  <a:pt x="12856" y="12619"/>
                </a:lnTo>
                <a:lnTo>
                  <a:pt x="12393" y="12619"/>
                </a:lnTo>
                <a:close/>
                <a:moveTo>
                  <a:pt x="13374" y="12619"/>
                </a:moveTo>
                <a:lnTo>
                  <a:pt x="13374" y="9881"/>
                </a:lnTo>
                <a:lnTo>
                  <a:pt x="13837" y="9881"/>
                </a:lnTo>
                <a:lnTo>
                  <a:pt x="13837" y="12619"/>
                </a:lnTo>
                <a:lnTo>
                  <a:pt x="13374" y="12619"/>
                </a:lnTo>
                <a:close/>
                <a:moveTo>
                  <a:pt x="2442" y="5400"/>
                </a:moveTo>
                <a:lnTo>
                  <a:pt x="1980" y="5400"/>
                </a:lnTo>
                <a:lnTo>
                  <a:pt x="1980" y="2000"/>
                </a:lnTo>
                <a:lnTo>
                  <a:pt x="2442" y="2000"/>
                </a:lnTo>
                <a:lnTo>
                  <a:pt x="2442" y="5400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74" name="TextBox 73"/>
          <p:cNvSpPr txBox="1">
            <a:spLocks noChangeAspect="1"/>
          </p:cNvSpPr>
          <p:nvPr/>
        </p:nvSpPr>
        <p:spPr>
          <a:xfrm>
            <a:off x="3334390" y="2427219"/>
            <a:ext cx="904342" cy="30777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400" b="1" dirty="0" smtClean="0">
                <a:solidFill>
                  <a:srgbClr val="004077"/>
                </a:solidFill>
              </a:rPr>
              <a:t>ГПН-БМ</a:t>
            </a:r>
          </a:p>
        </p:txBody>
      </p:sp>
      <p:sp>
        <p:nvSpPr>
          <p:cNvPr id="75" name="bitum_01"/>
          <p:cNvSpPr>
            <a:spLocks noEditPoints="1"/>
          </p:cNvSpPr>
          <p:nvPr/>
        </p:nvSpPr>
        <p:spPr bwMode="auto">
          <a:xfrm>
            <a:off x="3779912" y="3994710"/>
            <a:ext cx="684076" cy="540059"/>
          </a:xfrm>
          <a:custGeom>
            <a:avLst/>
            <a:gdLst>
              <a:gd name="T0" fmla="*/ 779 w 16128"/>
              <a:gd name="T1" fmla="*/ 3970 h 12384"/>
              <a:gd name="T2" fmla="*/ 515 w 16128"/>
              <a:gd name="T3" fmla="*/ 4505 h 12384"/>
              <a:gd name="T4" fmla="*/ 291 w 16128"/>
              <a:gd name="T5" fmla="*/ 5054 h 12384"/>
              <a:gd name="T6" fmla="*/ 125 w 16128"/>
              <a:gd name="T7" fmla="*/ 5603 h 12384"/>
              <a:gd name="T8" fmla="*/ 25 w 16128"/>
              <a:gd name="T9" fmla="*/ 6152 h 12384"/>
              <a:gd name="T10" fmla="*/ 2 w 16128"/>
              <a:gd name="T11" fmla="*/ 6703 h 12384"/>
              <a:gd name="T12" fmla="*/ 69 w 16128"/>
              <a:gd name="T13" fmla="*/ 7254 h 12384"/>
              <a:gd name="T14" fmla="*/ 218 w 16128"/>
              <a:gd name="T15" fmla="*/ 7749 h 12384"/>
              <a:gd name="T16" fmla="*/ 429 w 16128"/>
              <a:gd name="T17" fmla="*/ 8174 h 12384"/>
              <a:gd name="T18" fmla="*/ 703 w 16128"/>
              <a:gd name="T19" fmla="*/ 8548 h 12384"/>
              <a:gd name="T20" fmla="*/ 1029 w 16128"/>
              <a:gd name="T21" fmla="*/ 8869 h 12384"/>
              <a:gd name="T22" fmla="*/ 1320 w 16128"/>
              <a:gd name="T23" fmla="*/ 9082 h 12384"/>
              <a:gd name="T24" fmla="*/ 1743 w 16128"/>
              <a:gd name="T25" fmla="*/ 9304 h 12384"/>
              <a:gd name="T26" fmla="*/ 2308 w 16128"/>
              <a:gd name="T27" fmla="*/ 9483 h 12384"/>
              <a:gd name="T28" fmla="*/ 2811 w 16128"/>
              <a:gd name="T29" fmla="*/ 9550 h 12384"/>
              <a:gd name="T30" fmla="*/ 3219 w 16128"/>
              <a:gd name="T31" fmla="*/ 9546 h 12384"/>
              <a:gd name="T32" fmla="*/ 3586 w 16128"/>
              <a:gd name="T33" fmla="*/ 9503 h 12384"/>
              <a:gd name="T34" fmla="*/ 3980 w 16128"/>
              <a:gd name="T35" fmla="*/ 9406 h 12384"/>
              <a:gd name="T36" fmla="*/ 4374 w 16128"/>
              <a:gd name="T37" fmla="*/ 9251 h 12384"/>
              <a:gd name="T38" fmla="*/ 4736 w 16128"/>
              <a:gd name="T39" fmla="*/ 9042 h 12384"/>
              <a:gd name="T40" fmla="*/ 5059 w 16128"/>
              <a:gd name="T41" fmla="*/ 8782 h 12384"/>
              <a:gd name="T42" fmla="*/ 5395 w 16128"/>
              <a:gd name="T43" fmla="*/ 8400 h 12384"/>
              <a:gd name="T44" fmla="*/ 5687 w 16128"/>
              <a:gd name="T45" fmla="*/ 7894 h 12384"/>
              <a:gd name="T46" fmla="*/ 5888 w 16128"/>
              <a:gd name="T47" fmla="*/ 7301 h 12384"/>
              <a:gd name="T48" fmla="*/ 5987 w 16128"/>
              <a:gd name="T49" fmla="*/ 6624 h 12384"/>
              <a:gd name="T50" fmla="*/ 5969 w 16128"/>
              <a:gd name="T51" fmla="*/ 6011 h 12384"/>
              <a:gd name="T52" fmla="*/ 5837 w 16128"/>
              <a:gd name="T53" fmla="*/ 5427 h 12384"/>
              <a:gd name="T54" fmla="*/ 5608 w 16128"/>
              <a:gd name="T55" fmla="*/ 4807 h 12384"/>
              <a:gd name="T56" fmla="*/ 5304 w 16128"/>
              <a:gd name="T57" fmla="*/ 4169 h 12384"/>
              <a:gd name="T58" fmla="*/ 5024 w 16128"/>
              <a:gd name="T59" fmla="*/ 3661 h 12384"/>
              <a:gd name="T60" fmla="*/ 4770 w 16128"/>
              <a:gd name="T61" fmla="*/ 3239 h 12384"/>
              <a:gd name="T62" fmla="*/ 4520 w 16128"/>
              <a:gd name="T63" fmla="*/ 2850 h 12384"/>
              <a:gd name="T64" fmla="*/ 4276 w 16128"/>
              <a:gd name="T65" fmla="*/ 2488 h 12384"/>
              <a:gd name="T66" fmla="*/ 3756 w 16128"/>
              <a:gd name="T67" fmla="*/ 1764 h 12384"/>
              <a:gd name="T68" fmla="*/ 3160 w 16128"/>
              <a:gd name="T69" fmla="*/ 994 h 12384"/>
              <a:gd name="T70" fmla="*/ 2538 w 16128"/>
              <a:gd name="T71" fmla="*/ 1336 h 12384"/>
              <a:gd name="T72" fmla="*/ 1680 w 16128"/>
              <a:gd name="T73" fmla="*/ 2511 h 12384"/>
              <a:gd name="T74" fmla="*/ 10527 w 16128"/>
              <a:gd name="T75" fmla="*/ 0 h 12384"/>
              <a:gd name="T76" fmla="*/ 2045 w 16128"/>
              <a:gd name="T77" fmla="*/ 10246 h 12384"/>
              <a:gd name="T78" fmla="*/ 1458 w 16128"/>
              <a:gd name="T79" fmla="*/ 10053 h 12384"/>
              <a:gd name="T80" fmla="*/ 2275 w 16128"/>
              <a:gd name="T81" fmla="*/ 10295 h 12384"/>
              <a:gd name="T82" fmla="*/ 5847 w 16128"/>
              <a:gd name="T83" fmla="*/ 3517 h 12384"/>
              <a:gd name="T84" fmla="*/ 6299 w 16128"/>
              <a:gd name="T85" fmla="*/ 4425 h 12384"/>
              <a:gd name="T86" fmla="*/ 6629 w 16128"/>
              <a:gd name="T87" fmla="*/ 5316 h 12384"/>
              <a:gd name="T88" fmla="*/ 6787 w 16128"/>
              <a:gd name="T89" fmla="*/ 6153 h 12384"/>
              <a:gd name="T90" fmla="*/ 6754 w 16128"/>
              <a:gd name="T91" fmla="*/ 7008 h 12384"/>
              <a:gd name="T92" fmla="*/ 6578 w 16128"/>
              <a:gd name="T93" fmla="*/ 7802 h 12384"/>
              <a:gd name="T94" fmla="*/ 6279 w 16128"/>
              <a:gd name="T95" fmla="*/ 8499 h 12384"/>
              <a:gd name="T96" fmla="*/ 5868 w 16128"/>
              <a:gd name="T97" fmla="*/ 9092 h 12384"/>
              <a:gd name="T98" fmla="*/ 5398 w 16128"/>
              <a:gd name="T99" fmla="*/ 9546 h 12384"/>
              <a:gd name="T100" fmla="*/ 4873 w 16128"/>
              <a:gd name="T101" fmla="*/ 9895 h 12384"/>
              <a:gd name="T102" fmla="*/ 4290 w 16128"/>
              <a:gd name="T103" fmla="*/ 10149 h 12384"/>
              <a:gd name="T104" fmla="*/ 3660 w 16128"/>
              <a:gd name="T105" fmla="*/ 10304 h 12384"/>
              <a:gd name="T106" fmla="*/ 13265 w 16128"/>
              <a:gd name="T107" fmla="*/ 12384 h 12384"/>
              <a:gd name="T108" fmla="*/ 8504 w 16128"/>
              <a:gd name="T109" fmla="*/ 2566 h 12384"/>
              <a:gd name="T110" fmla="*/ 7427 w 16128"/>
              <a:gd name="T111" fmla="*/ 9818 h 12384"/>
              <a:gd name="T112" fmla="*/ 4876 w 16128"/>
              <a:gd name="T113" fmla="*/ 1959 h 12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6128" h="12384">
                <a:moveTo>
                  <a:pt x="1259" y="3152"/>
                </a:moveTo>
                <a:lnTo>
                  <a:pt x="1183" y="3273"/>
                </a:lnTo>
                <a:lnTo>
                  <a:pt x="1108" y="3397"/>
                </a:lnTo>
                <a:lnTo>
                  <a:pt x="1033" y="3521"/>
                </a:lnTo>
                <a:lnTo>
                  <a:pt x="959" y="3648"/>
                </a:lnTo>
                <a:lnTo>
                  <a:pt x="886" y="3776"/>
                </a:lnTo>
                <a:lnTo>
                  <a:pt x="814" y="3906"/>
                </a:lnTo>
                <a:lnTo>
                  <a:pt x="779" y="3970"/>
                </a:lnTo>
                <a:lnTo>
                  <a:pt x="745" y="4036"/>
                </a:lnTo>
                <a:lnTo>
                  <a:pt x="711" y="4103"/>
                </a:lnTo>
                <a:lnTo>
                  <a:pt x="676" y="4169"/>
                </a:lnTo>
                <a:lnTo>
                  <a:pt x="643" y="4236"/>
                </a:lnTo>
                <a:lnTo>
                  <a:pt x="611" y="4302"/>
                </a:lnTo>
                <a:lnTo>
                  <a:pt x="578" y="4369"/>
                </a:lnTo>
                <a:lnTo>
                  <a:pt x="546" y="4437"/>
                </a:lnTo>
                <a:lnTo>
                  <a:pt x="515" y="4505"/>
                </a:lnTo>
                <a:lnTo>
                  <a:pt x="485" y="4573"/>
                </a:lnTo>
                <a:lnTo>
                  <a:pt x="455" y="4640"/>
                </a:lnTo>
                <a:lnTo>
                  <a:pt x="425" y="4709"/>
                </a:lnTo>
                <a:lnTo>
                  <a:pt x="397" y="4778"/>
                </a:lnTo>
                <a:lnTo>
                  <a:pt x="370" y="4847"/>
                </a:lnTo>
                <a:lnTo>
                  <a:pt x="343" y="4916"/>
                </a:lnTo>
                <a:lnTo>
                  <a:pt x="317" y="4986"/>
                </a:lnTo>
                <a:lnTo>
                  <a:pt x="291" y="5054"/>
                </a:lnTo>
                <a:lnTo>
                  <a:pt x="267" y="5124"/>
                </a:lnTo>
                <a:lnTo>
                  <a:pt x="243" y="5194"/>
                </a:lnTo>
                <a:lnTo>
                  <a:pt x="221" y="5264"/>
                </a:lnTo>
                <a:lnTo>
                  <a:pt x="200" y="5332"/>
                </a:lnTo>
                <a:lnTo>
                  <a:pt x="179" y="5399"/>
                </a:lnTo>
                <a:lnTo>
                  <a:pt x="160" y="5466"/>
                </a:lnTo>
                <a:lnTo>
                  <a:pt x="142" y="5535"/>
                </a:lnTo>
                <a:lnTo>
                  <a:pt x="125" y="5603"/>
                </a:lnTo>
                <a:lnTo>
                  <a:pt x="109" y="5671"/>
                </a:lnTo>
                <a:lnTo>
                  <a:pt x="94" y="5740"/>
                </a:lnTo>
                <a:lnTo>
                  <a:pt x="80" y="5807"/>
                </a:lnTo>
                <a:lnTo>
                  <a:pt x="67" y="5876"/>
                </a:lnTo>
                <a:lnTo>
                  <a:pt x="54" y="5945"/>
                </a:lnTo>
                <a:lnTo>
                  <a:pt x="43" y="6014"/>
                </a:lnTo>
                <a:lnTo>
                  <a:pt x="34" y="6083"/>
                </a:lnTo>
                <a:lnTo>
                  <a:pt x="25" y="6152"/>
                </a:lnTo>
                <a:lnTo>
                  <a:pt x="18" y="6220"/>
                </a:lnTo>
                <a:lnTo>
                  <a:pt x="12" y="6289"/>
                </a:lnTo>
                <a:lnTo>
                  <a:pt x="7" y="6358"/>
                </a:lnTo>
                <a:lnTo>
                  <a:pt x="3" y="6427"/>
                </a:lnTo>
                <a:lnTo>
                  <a:pt x="1" y="6496"/>
                </a:lnTo>
                <a:lnTo>
                  <a:pt x="0" y="6564"/>
                </a:lnTo>
                <a:lnTo>
                  <a:pt x="0" y="6634"/>
                </a:lnTo>
                <a:lnTo>
                  <a:pt x="2" y="6703"/>
                </a:lnTo>
                <a:lnTo>
                  <a:pt x="5" y="6772"/>
                </a:lnTo>
                <a:lnTo>
                  <a:pt x="10" y="6841"/>
                </a:lnTo>
                <a:lnTo>
                  <a:pt x="16" y="6910"/>
                </a:lnTo>
                <a:lnTo>
                  <a:pt x="23" y="6978"/>
                </a:lnTo>
                <a:lnTo>
                  <a:pt x="32" y="7047"/>
                </a:lnTo>
                <a:lnTo>
                  <a:pt x="42" y="7116"/>
                </a:lnTo>
                <a:lnTo>
                  <a:pt x="54" y="7185"/>
                </a:lnTo>
                <a:lnTo>
                  <a:pt x="69" y="7254"/>
                </a:lnTo>
                <a:lnTo>
                  <a:pt x="84" y="7323"/>
                </a:lnTo>
                <a:lnTo>
                  <a:pt x="101" y="7391"/>
                </a:lnTo>
                <a:lnTo>
                  <a:pt x="119" y="7459"/>
                </a:lnTo>
                <a:lnTo>
                  <a:pt x="136" y="7519"/>
                </a:lnTo>
                <a:lnTo>
                  <a:pt x="155" y="7578"/>
                </a:lnTo>
                <a:lnTo>
                  <a:pt x="174" y="7635"/>
                </a:lnTo>
                <a:lnTo>
                  <a:pt x="196" y="7693"/>
                </a:lnTo>
                <a:lnTo>
                  <a:pt x="218" y="7749"/>
                </a:lnTo>
                <a:lnTo>
                  <a:pt x="240" y="7804"/>
                </a:lnTo>
                <a:lnTo>
                  <a:pt x="264" y="7860"/>
                </a:lnTo>
                <a:lnTo>
                  <a:pt x="289" y="7914"/>
                </a:lnTo>
                <a:lnTo>
                  <a:pt x="316" y="7967"/>
                </a:lnTo>
                <a:lnTo>
                  <a:pt x="343" y="8020"/>
                </a:lnTo>
                <a:lnTo>
                  <a:pt x="371" y="8072"/>
                </a:lnTo>
                <a:lnTo>
                  <a:pt x="399" y="8123"/>
                </a:lnTo>
                <a:lnTo>
                  <a:pt x="429" y="8174"/>
                </a:lnTo>
                <a:lnTo>
                  <a:pt x="461" y="8223"/>
                </a:lnTo>
                <a:lnTo>
                  <a:pt x="493" y="8273"/>
                </a:lnTo>
                <a:lnTo>
                  <a:pt x="525" y="8320"/>
                </a:lnTo>
                <a:lnTo>
                  <a:pt x="559" y="8368"/>
                </a:lnTo>
                <a:lnTo>
                  <a:pt x="594" y="8415"/>
                </a:lnTo>
                <a:lnTo>
                  <a:pt x="629" y="8460"/>
                </a:lnTo>
                <a:lnTo>
                  <a:pt x="665" y="8505"/>
                </a:lnTo>
                <a:lnTo>
                  <a:pt x="703" y="8548"/>
                </a:lnTo>
                <a:lnTo>
                  <a:pt x="741" y="8592"/>
                </a:lnTo>
                <a:lnTo>
                  <a:pt x="780" y="8634"/>
                </a:lnTo>
                <a:lnTo>
                  <a:pt x="820" y="8676"/>
                </a:lnTo>
                <a:lnTo>
                  <a:pt x="860" y="8716"/>
                </a:lnTo>
                <a:lnTo>
                  <a:pt x="901" y="8756"/>
                </a:lnTo>
                <a:lnTo>
                  <a:pt x="943" y="8794"/>
                </a:lnTo>
                <a:lnTo>
                  <a:pt x="986" y="8832"/>
                </a:lnTo>
                <a:lnTo>
                  <a:pt x="1029" y="8869"/>
                </a:lnTo>
                <a:lnTo>
                  <a:pt x="1074" y="8905"/>
                </a:lnTo>
                <a:lnTo>
                  <a:pt x="1119" y="8940"/>
                </a:lnTo>
                <a:lnTo>
                  <a:pt x="1164" y="8974"/>
                </a:lnTo>
                <a:lnTo>
                  <a:pt x="1195" y="8997"/>
                </a:lnTo>
                <a:lnTo>
                  <a:pt x="1226" y="9019"/>
                </a:lnTo>
                <a:lnTo>
                  <a:pt x="1257" y="9040"/>
                </a:lnTo>
                <a:lnTo>
                  <a:pt x="1288" y="9060"/>
                </a:lnTo>
                <a:lnTo>
                  <a:pt x="1320" y="9082"/>
                </a:lnTo>
                <a:lnTo>
                  <a:pt x="1352" y="9102"/>
                </a:lnTo>
                <a:lnTo>
                  <a:pt x="1384" y="9121"/>
                </a:lnTo>
                <a:lnTo>
                  <a:pt x="1417" y="9140"/>
                </a:lnTo>
                <a:lnTo>
                  <a:pt x="1481" y="9177"/>
                </a:lnTo>
                <a:lnTo>
                  <a:pt x="1544" y="9211"/>
                </a:lnTo>
                <a:lnTo>
                  <a:pt x="1610" y="9243"/>
                </a:lnTo>
                <a:lnTo>
                  <a:pt x="1676" y="9275"/>
                </a:lnTo>
                <a:lnTo>
                  <a:pt x="1743" y="9304"/>
                </a:lnTo>
                <a:lnTo>
                  <a:pt x="1811" y="9333"/>
                </a:lnTo>
                <a:lnTo>
                  <a:pt x="1880" y="9359"/>
                </a:lnTo>
                <a:lnTo>
                  <a:pt x="1949" y="9384"/>
                </a:lnTo>
                <a:lnTo>
                  <a:pt x="2020" y="9407"/>
                </a:lnTo>
                <a:lnTo>
                  <a:pt x="2091" y="9429"/>
                </a:lnTo>
                <a:lnTo>
                  <a:pt x="2162" y="9449"/>
                </a:lnTo>
                <a:lnTo>
                  <a:pt x="2235" y="9467"/>
                </a:lnTo>
                <a:lnTo>
                  <a:pt x="2308" y="9483"/>
                </a:lnTo>
                <a:lnTo>
                  <a:pt x="2382" y="9499"/>
                </a:lnTo>
                <a:lnTo>
                  <a:pt x="2456" y="9512"/>
                </a:lnTo>
                <a:lnTo>
                  <a:pt x="2531" y="9523"/>
                </a:lnTo>
                <a:lnTo>
                  <a:pt x="2587" y="9530"/>
                </a:lnTo>
                <a:lnTo>
                  <a:pt x="2643" y="9536"/>
                </a:lnTo>
                <a:lnTo>
                  <a:pt x="2698" y="9542"/>
                </a:lnTo>
                <a:lnTo>
                  <a:pt x="2755" y="9546"/>
                </a:lnTo>
                <a:lnTo>
                  <a:pt x="2811" y="9550"/>
                </a:lnTo>
                <a:lnTo>
                  <a:pt x="2869" y="9552"/>
                </a:lnTo>
                <a:lnTo>
                  <a:pt x="2925" y="9553"/>
                </a:lnTo>
                <a:lnTo>
                  <a:pt x="2983" y="9554"/>
                </a:lnTo>
                <a:lnTo>
                  <a:pt x="3030" y="9554"/>
                </a:lnTo>
                <a:lnTo>
                  <a:pt x="3077" y="9553"/>
                </a:lnTo>
                <a:lnTo>
                  <a:pt x="3125" y="9551"/>
                </a:lnTo>
                <a:lnTo>
                  <a:pt x="3172" y="9549"/>
                </a:lnTo>
                <a:lnTo>
                  <a:pt x="3219" y="9546"/>
                </a:lnTo>
                <a:lnTo>
                  <a:pt x="3266" y="9543"/>
                </a:lnTo>
                <a:lnTo>
                  <a:pt x="3312" y="9539"/>
                </a:lnTo>
                <a:lnTo>
                  <a:pt x="3359" y="9534"/>
                </a:lnTo>
                <a:lnTo>
                  <a:pt x="3404" y="9529"/>
                </a:lnTo>
                <a:lnTo>
                  <a:pt x="3450" y="9523"/>
                </a:lnTo>
                <a:lnTo>
                  <a:pt x="3496" y="9517"/>
                </a:lnTo>
                <a:lnTo>
                  <a:pt x="3541" y="9510"/>
                </a:lnTo>
                <a:lnTo>
                  <a:pt x="3586" y="9503"/>
                </a:lnTo>
                <a:lnTo>
                  <a:pt x="3631" y="9493"/>
                </a:lnTo>
                <a:lnTo>
                  <a:pt x="3675" y="9485"/>
                </a:lnTo>
                <a:lnTo>
                  <a:pt x="3720" y="9475"/>
                </a:lnTo>
                <a:lnTo>
                  <a:pt x="3773" y="9463"/>
                </a:lnTo>
                <a:lnTo>
                  <a:pt x="3825" y="9450"/>
                </a:lnTo>
                <a:lnTo>
                  <a:pt x="3877" y="9437"/>
                </a:lnTo>
                <a:lnTo>
                  <a:pt x="3929" y="9422"/>
                </a:lnTo>
                <a:lnTo>
                  <a:pt x="3980" y="9406"/>
                </a:lnTo>
                <a:lnTo>
                  <a:pt x="4031" y="9389"/>
                </a:lnTo>
                <a:lnTo>
                  <a:pt x="4081" y="9372"/>
                </a:lnTo>
                <a:lnTo>
                  <a:pt x="4131" y="9354"/>
                </a:lnTo>
                <a:lnTo>
                  <a:pt x="4180" y="9335"/>
                </a:lnTo>
                <a:lnTo>
                  <a:pt x="4230" y="9315"/>
                </a:lnTo>
                <a:lnTo>
                  <a:pt x="4278" y="9294"/>
                </a:lnTo>
                <a:lnTo>
                  <a:pt x="4326" y="9273"/>
                </a:lnTo>
                <a:lnTo>
                  <a:pt x="4374" y="9251"/>
                </a:lnTo>
                <a:lnTo>
                  <a:pt x="4421" y="9227"/>
                </a:lnTo>
                <a:lnTo>
                  <a:pt x="4467" y="9203"/>
                </a:lnTo>
                <a:lnTo>
                  <a:pt x="4514" y="9179"/>
                </a:lnTo>
                <a:lnTo>
                  <a:pt x="4559" y="9153"/>
                </a:lnTo>
                <a:lnTo>
                  <a:pt x="4604" y="9126"/>
                </a:lnTo>
                <a:lnTo>
                  <a:pt x="4648" y="9099"/>
                </a:lnTo>
                <a:lnTo>
                  <a:pt x="4692" y="9071"/>
                </a:lnTo>
                <a:lnTo>
                  <a:pt x="4736" y="9042"/>
                </a:lnTo>
                <a:lnTo>
                  <a:pt x="4778" y="9013"/>
                </a:lnTo>
                <a:lnTo>
                  <a:pt x="4820" y="8982"/>
                </a:lnTo>
                <a:lnTo>
                  <a:pt x="4862" y="8951"/>
                </a:lnTo>
                <a:lnTo>
                  <a:pt x="4902" y="8919"/>
                </a:lnTo>
                <a:lnTo>
                  <a:pt x="4942" y="8885"/>
                </a:lnTo>
                <a:lnTo>
                  <a:pt x="4983" y="8852"/>
                </a:lnTo>
                <a:lnTo>
                  <a:pt x="5021" y="8817"/>
                </a:lnTo>
                <a:lnTo>
                  <a:pt x="5059" y="8782"/>
                </a:lnTo>
                <a:lnTo>
                  <a:pt x="5097" y="8746"/>
                </a:lnTo>
                <a:lnTo>
                  <a:pt x="5135" y="8709"/>
                </a:lnTo>
                <a:lnTo>
                  <a:pt x="5171" y="8671"/>
                </a:lnTo>
                <a:lnTo>
                  <a:pt x="5218" y="8620"/>
                </a:lnTo>
                <a:lnTo>
                  <a:pt x="5264" y="8567"/>
                </a:lnTo>
                <a:lnTo>
                  <a:pt x="5309" y="8513"/>
                </a:lnTo>
                <a:lnTo>
                  <a:pt x="5352" y="8457"/>
                </a:lnTo>
                <a:lnTo>
                  <a:pt x="5395" y="8400"/>
                </a:lnTo>
                <a:lnTo>
                  <a:pt x="5436" y="8342"/>
                </a:lnTo>
                <a:lnTo>
                  <a:pt x="5476" y="8282"/>
                </a:lnTo>
                <a:lnTo>
                  <a:pt x="5515" y="8221"/>
                </a:lnTo>
                <a:lnTo>
                  <a:pt x="5552" y="8159"/>
                </a:lnTo>
                <a:lnTo>
                  <a:pt x="5588" y="8095"/>
                </a:lnTo>
                <a:lnTo>
                  <a:pt x="5623" y="8029"/>
                </a:lnTo>
                <a:lnTo>
                  <a:pt x="5656" y="7962"/>
                </a:lnTo>
                <a:lnTo>
                  <a:pt x="5687" y="7894"/>
                </a:lnTo>
                <a:lnTo>
                  <a:pt x="5717" y="7825"/>
                </a:lnTo>
                <a:lnTo>
                  <a:pt x="5747" y="7754"/>
                </a:lnTo>
                <a:lnTo>
                  <a:pt x="5774" y="7682"/>
                </a:lnTo>
                <a:lnTo>
                  <a:pt x="5800" y="7609"/>
                </a:lnTo>
                <a:lnTo>
                  <a:pt x="5824" y="7534"/>
                </a:lnTo>
                <a:lnTo>
                  <a:pt x="5847" y="7457"/>
                </a:lnTo>
                <a:lnTo>
                  <a:pt x="5869" y="7380"/>
                </a:lnTo>
                <a:lnTo>
                  <a:pt x="5888" y="7301"/>
                </a:lnTo>
                <a:lnTo>
                  <a:pt x="5906" y="7221"/>
                </a:lnTo>
                <a:lnTo>
                  <a:pt x="5923" y="7139"/>
                </a:lnTo>
                <a:lnTo>
                  <a:pt x="5937" y="7057"/>
                </a:lnTo>
                <a:lnTo>
                  <a:pt x="5950" y="6973"/>
                </a:lnTo>
                <a:lnTo>
                  <a:pt x="5962" y="6887"/>
                </a:lnTo>
                <a:lnTo>
                  <a:pt x="5972" y="6801"/>
                </a:lnTo>
                <a:lnTo>
                  <a:pt x="5980" y="6713"/>
                </a:lnTo>
                <a:lnTo>
                  <a:pt x="5987" y="6624"/>
                </a:lnTo>
                <a:lnTo>
                  <a:pt x="5991" y="6534"/>
                </a:lnTo>
                <a:lnTo>
                  <a:pt x="5994" y="6442"/>
                </a:lnTo>
                <a:lnTo>
                  <a:pt x="5995" y="6349"/>
                </a:lnTo>
                <a:lnTo>
                  <a:pt x="5994" y="6283"/>
                </a:lnTo>
                <a:lnTo>
                  <a:pt x="5991" y="6216"/>
                </a:lnTo>
                <a:lnTo>
                  <a:pt x="5986" y="6148"/>
                </a:lnTo>
                <a:lnTo>
                  <a:pt x="5978" y="6080"/>
                </a:lnTo>
                <a:lnTo>
                  <a:pt x="5969" y="6011"/>
                </a:lnTo>
                <a:lnTo>
                  <a:pt x="5959" y="5940"/>
                </a:lnTo>
                <a:lnTo>
                  <a:pt x="5947" y="5869"/>
                </a:lnTo>
                <a:lnTo>
                  <a:pt x="5933" y="5797"/>
                </a:lnTo>
                <a:lnTo>
                  <a:pt x="5917" y="5724"/>
                </a:lnTo>
                <a:lnTo>
                  <a:pt x="5899" y="5652"/>
                </a:lnTo>
                <a:lnTo>
                  <a:pt x="5880" y="5577"/>
                </a:lnTo>
                <a:lnTo>
                  <a:pt x="5860" y="5503"/>
                </a:lnTo>
                <a:lnTo>
                  <a:pt x="5837" y="5427"/>
                </a:lnTo>
                <a:lnTo>
                  <a:pt x="5813" y="5351"/>
                </a:lnTo>
                <a:lnTo>
                  <a:pt x="5788" y="5275"/>
                </a:lnTo>
                <a:lnTo>
                  <a:pt x="5761" y="5198"/>
                </a:lnTo>
                <a:lnTo>
                  <a:pt x="5734" y="5121"/>
                </a:lnTo>
                <a:lnTo>
                  <a:pt x="5703" y="5043"/>
                </a:lnTo>
                <a:lnTo>
                  <a:pt x="5673" y="4964"/>
                </a:lnTo>
                <a:lnTo>
                  <a:pt x="5641" y="4886"/>
                </a:lnTo>
                <a:lnTo>
                  <a:pt x="5608" y="4807"/>
                </a:lnTo>
                <a:lnTo>
                  <a:pt x="5573" y="4729"/>
                </a:lnTo>
                <a:lnTo>
                  <a:pt x="5538" y="4649"/>
                </a:lnTo>
                <a:lnTo>
                  <a:pt x="5502" y="4570"/>
                </a:lnTo>
                <a:lnTo>
                  <a:pt x="5463" y="4490"/>
                </a:lnTo>
                <a:lnTo>
                  <a:pt x="5425" y="4410"/>
                </a:lnTo>
                <a:lnTo>
                  <a:pt x="5386" y="4329"/>
                </a:lnTo>
                <a:lnTo>
                  <a:pt x="5345" y="4249"/>
                </a:lnTo>
                <a:lnTo>
                  <a:pt x="5304" y="4169"/>
                </a:lnTo>
                <a:lnTo>
                  <a:pt x="5262" y="4088"/>
                </a:lnTo>
                <a:lnTo>
                  <a:pt x="5218" y="4008"/>
                </a:lnTo>
                <a:lnTo>
                  <a:pt x="5174" y="3928"/>
                </a:lnTo>
                <a:lnTo>
                  <a:pt x="5145" y="3874"/>
                </a:lnTo>
                <a:lnTo>
                  <a:pt x="5115" y="3821"/>
                </a:lnTo>
                <a:lnTo>
                  <a:pt x="5085" y="3767"/>
                </a:lnTo>
                <a:lnTo>
                  <a:pt x="5054" y="3714"/>
                </a:lnTo>
                <a:lnTo>
                  <a:pt x="5024" y="3661"/>
                </a:lnTo>
                <a:lnTo>
                  <a:pt x="4993" y="3608"/>
                </a:lnTo>
                <a:lnTo>
                  <a:pt x="4961" y="3554"/>
                </a:lnTo>
                <a:lnTo>
                  <a:pt x="4930" y="3502"/>
                </a:lnTo>
                <a:lnTo>
                  <a:pt x="4898" y="3449"/>
                </a:lnTo>
                <a:lnTo>
                  <a:pt x="4867" y="3397"/>
                </a:lnTo>
                <a:lnTo>
                  <a:pt x="4834" y="3344"/>
                </a:lnTo>
                <a:lnTo>
                  <a:pt x="4802" y="3291"/>
                </a:lnTo>
                <a:lnTo>
                  <a:pt x="4770" y="3239"/>
                </a:lnTo>
                <a:lnTo>
                  <a:pt x="4737" y="3187"/>
                </a:lnTo>
                <a:lnTo>
                  <a:pt x="4704" y="3134"/>
                </a:lnTo>
                <a:lnTo>
                  <a:pt x="4671" y="3083"/>
                </a:lnTo>
                <a:lnTo>
                  <a:pt x="4641" y="3036"/>
                </a:lnTo>
                <a:lnTo>
                  <a:pt x="4611" y="2990"/>
                </a:lnTo>
                <a:lnTo>
                  <a:pt x="4580" y="2943"/>
                </a:lnTo>
                <a:lnTo>
                  <a:pt x="4550" y="2897"/>
                </a:lnTo>
                <a:lnTo>
                  <a:pt x="4520" y="2850"/>
                </a:lnTo>
                <a:lnTo>
                  <a:pt x="4490" y="2805"/>
                </a:lnTo>
                <a:lnTo>
                  <a:pt x="4459" y="2758"/>
                </a:lnTo>
                <a:lnTo>
                  <a:pt x="4429" y="2712"/>
                </a:lnTo>
                <a:lnTo>
                  <a:pt x="4398" y="2667"/>
                </a:lnTo>
                <a:lnTo>
                  <a:pt x="4368" y="2622"/>
                </a:lnTo>
                <a:lnTo>
                  <a:pt x="4337" y="2577"/>
                </a:lnTo>
                <a:lnTo>
                  <a:pt x="4306" y="2532"/>
                </a:lnTo>
                <a:lnTo>
                  <a:pt x="4276" y="2488"/>
                </a:lnTo>
                <a:lnTo>
                  <a:pt x="4246" y="2444"/>
                </a:lnTo>
                <a:lnTo>
                  <a:pt x="4214" y="2400"/>
                </a:lnTo>
                <a:lnTo>
                  <a:pt x="4184" y="2356"/>
                </a:lnTo>
                <a:lnTo>
                  <a:pt x="4098" y="2233"/>
                </a:lnTo>
                <a:lnTo>
                  <a:pt x="4011" y="2111"/>
                </a:lnTo>
                <a:lnTo>
                  <a:pt x="3924" y="1993"/>
                </a:lnTo>
                <a:lnTo>
                  <a:pt x="3839" y="1877"/>
                </a:lnTo>
                <a:lnTo>
                  <a:pt x="3756" y="1764"/>
                </a:lnTo>
                <a:lnTo>
                  <a:pt x="3674" y="1655"/>
                </a:lnTo>
                <a:lnTo>
                  <a:pt x="3594" y="1549"/>
                </a:lnTo>
                <a:lnTo>
                  <a:pt x="3515" y="1446"/>
                </a:lnTo>
                <a:lnTo>
                  <a:pt x="3439" y="1348"/>
                </a:lnTo>
                <a:lnTo>
                  <a:pt x="3365" y="1253"/>
                </a:lnTo>
                <a:lnTo>
                  <a:pt x="3294" y="1163"/>
                </a:lnTo>
                <a:lnTo>
                  <a:pt x="3226" y="1076"/>
                </a:lnTo>
                <a:lnTo>
                  <a:pt x="3160" y="994"/>
                </a:lnTo>
                <a:lnTo>
                  <a:pt x="3098" y="917"/>
                </a:lnTo>
                <a:lnTo>
                  <a:pt x="3039" y="845"/>
                </a:lnTo>
                <a:lnTo>
                  <a:pt x="2984" y="777"/>
                </a:lnTo>
                <a:lnTo>
                  <a:pt x="2907" y="871"/>
                </a:lnTo>
                <a:lnTo>
                  <a:pt x="2823" y="975"/>
                </a:lnTo>
                <a:lnTo>
                  <a:pt x="2734" y="1087"/>
                </a:lnTo>
                <a:lnTo>
                  <a:pt x="2639" y="1207"/>
                </a:lnTo>
                <a:lnTo>
                  <a:pt x="2538" y="1336"/>
                </a:lnTo>
                <a:lnTo>
                  <a:pt x="2433" y="1473"/>
                </a:lnTo>
                <a:lnTo>
                  <a:pt x="2324" y="1615"/>
                </a:lnTo>
                <a:lnTo>
                  <a:pt x="2213" y="1765"/>
                </a:lnTo>
                <a:lnTo>
                  <a:pt x="2098" y="1922"/>
                </a:lnTo>
                <a:lnTo>
                  <a:pt x="1980" y="2084"/>
                </a:lnTo>
                <a:lnTo>
                  <a:pt x="1861" y="2251"/>
                </a:lnTo>
                <a:lnTo>
                  <a:pt x="1741" y="2423"/>
                </a:lnTo>
                <a:lnTo>
                  <a:pt x="1680" y="2511"/>
                </a:lnTo>
                <a:lnTo>
                  <a:pt x="1620" y="2600"/>
                </a:lnTo>
                <a:lnTo>
                  <a:pt x="1559" y="2689"/>
                </a:lnTo>
                <a:lnTo>
                  <a:pt x="1499" y="2780"/>
                </a:lnTo>
                <a:lnTo>
                  <a:pt x="1438" y="2872"/>
                </a:lnTo>
                <a:lnTo>
                  <a:pt x="1378" y="2964"/>
                </a:lnTo>
                <a:lnTo>
                  <a:pt x="1318" y="3058"/>
                </a:lnTo>
                <a:lnTo>
                  <a:pt x="1259" y="3152"/>
                </a:lnTo>
                <a:close/>
                <a:moveTo>
                  <a:pt x="10527" y="0"/>
                </a:moveTo>
                <a:lnTo>
                  <a:pt x="14641" y="12384"/>
                </a:lnTo>
                <a:lnTo>
                  <a:pt x="16128" y="12384"/>
                </a:lnTo>
                <a:lnTo>
                  <a:pt x="11076" y="0"/>
                </a:lnTo>
                <a:lnTo>
                  <a:pt x="10527" y="0"/>
                </a:lnTo>
                <a:close/>
                <a:moveTo>
                  <a:pt x="2275" y="10295"/>
                </a:moveTo>
                <a:lnTo>
                  <a:pt x="2197" y="10280"/>
                </a:lnTo>
                <a:lnTo>
                  <a:pt x="2121" y="10264"/>
                </a:lnTo>
                <a:lnTo>
                  <a:pt x="2045" y="10246"/>
                </a:lnTo>
                <a:lnTo>
                  <a:pt x="1970" y="10227"/>
                </a:lnTo>
                <a:lnTo>
                  <a:pt x="1895" y="10207"/>
                </a:lnTo>
                <a:lnTo>
                  <a:pt x="1820" y="10185"/>
                </a:lnTo>
                <a:lnTo>
                  <a:pt x="1746" y="10161"/>
                </a:lnTo>
                <a:lnTo>
                  <a:pt x="1673" y="10136"/>
                </a:lnTo>
                <a:lnTo>
                  <a:pt x="1601" y="10111"/>
                </a:lnTo>
                <a:lnTo>
                  <a:pt x="1529" y="10082"/>
                </a:lnTo>
                <a:lnTo>
                  <a:pt x="1458" y="10053"/>
                </a:lnTo>
                <a:lnTo>
                  <a:pt x="1387" y="10023"/>
                </a:lnTo>
                <a:lnTo>
                  <a:pt x="1317" y="9991"/>
                </a:lnTo>
                <a:lnTo>
                  <a:pt x="1248" y="9958"/>
                </a:lnTo>
                <a:lnTo>
                  <a:pt x="1179" y="9924"/>
                </a:lnTo>
                <a:lnTo>
                  <a:pt x="1112" y="9887"/>
                </a:lnTo>
                <a:lnTo>
                  <a:pt x="94" y="12384"/>
                </a:lnTo>
                <a:lnTo>
                  <a:pt x="1581" y="12384"/>
                </a:lnTo>
                <a:lnTo>
                  <a:pt x="2275" y="10295"/>
                </a:lnTo>
                <a:close/>
                <a:moveTo>
                  <a:pt x="6204" y="0"/>
                </a:moveTo>
                <a:lnTo>
                  <a:pt x="5457" y="2850"/>
                </a:lnTo>
                <a:lnTo>
                  <a:pt x="5524" y="2959"/>
                </a:lnTo>
                <a:lnTo>
                  <a:pt x="5590" y="3070"/>
                </a:lnTo>
                <a:lnTo>
                  <a:pt x="5656" y="3181"/>
                </a:lnTo>
                <a:lnTo>
                  <a:pt x="5720" y="3292"/>
                </a:lnTo>
                <a:lnTo>
                  <a:pt x="5785" y="3405"/>
                </a:lnTo>
                <a:lnTo>
                  <a:pt x="5847" y="3517"/>
                </a:lnTo>
                <a:lnTo>
                  <a:pt x="5909" y="3630"/>
                </a:lnTo>
                <a:lnTo>
                  <a:pt x="5969" y="3744"/>
                </a:lnTo>
                <a:lnTo>
                  <a:pt x="6028" y="3857"/>
                </a:lnTo>
                <a:lnTo>
                  <a:pt x="6085" y="3970"/>
                </a:lnTo>
                <a:lnTo>
                  <a:pt x="6142" y="4084"/>
                </a:lnTo>
                <a:lnTo>
                  <a:pt x="6196" y="4198"/>
                </a:lnTo>
                <a:lnTo>
                  <a:pt x="6249" y="4312"/>
                </a:lnTo>
                <a:lnTo>
                  <a:pt x="6299" y="4425"/>
                </a:lnTo>
                <a:lnTo>
                  <a:pt x="6348" y="4537"/>
                </a:lnTo>
                <a:lnTo>
                  <a:pt x="6395" y="4651"/>
                </a:lnTo>
                <a:lnTo>
                  <a:pt x="6440" y="4763"/>
                </a:lnTo>
                <a:lnTo>
                  <a:pt x="6482" y="4874"/>
                </a:lnTo>
                <a:lnTo>
                  <a:pt x="6523" y="4986"/>
                </a:lnTo>
                <a:lnTo>
                  <a:pt x="6560" y="5097"/>
                </a:lnTo>
                <a:lnTo>
                  <a:pt x="6596" y="5206"/>
                </a:lnTo>
                <a:lnTo>
                  <a:pt x="6629" y="5316"/>
                </a:lnTo>
                <a:lnTo>
                  <a:pt x="6659" y="5424"/>
                </a:lnTo>
                <a:lnTo>
                  <a:pt x="6686" y="5532"/>
                </a:lnTo>
                <a:lnTo>
                  <a:pt x="6711" y="5638"/>
                </a:lnTo>
                <a:lnTo>
                  <a:pt x="6732" y="5744"/>
                </a:lnTo>
                <a:lnTo>
                  <a:pt x="6751" y="5848"/>
                </a:lnTo>
                <a:lnTo>
                  <a:pt x="6767" y="5951"/>
                </a:lnTo>
                <a:lnTo>
                  <a:pt x="6779" y="6052"/>
                </a:lnTo>
                <a:lnTo>
                  <a:pt x="6787" y="6153"/>
                </a:lnTo>
                <a:lnTo>
                  <a:pt x="6793" y="6252"/>
                </a:lnTo>
                <a:lnTo>
                  <a:pt x="6794" y="6349"/>
                </a:lnTo>
                <a:lnTo>
                  <a:pt x="6793" y="6462"/>
                </a:lnTo>
                <a:lnTo>
                  <a:pt x="6790" y="6575"/>
                </a:lnTo>
                <a:lnTo>
                  <a:pt x="6784" y="6685"/>
                </a:lnTo>
                <a:lnTo>
                  <a:pt x="6776" y="6793"/>
                </a:lnTo>
                <a:lnTo>
                  <a:pt x="6766" y="6901"/>
                </a:lnTo>
                <a:lnTo>
                  <a:pt x="6754" y="7008"/>
                </a:lnTo>
                <a:lnTo>
                  <a:pt x="6738" y="7112"/>
                </a:lnTo>
                <a:lnTo>
                  <a:pt x="6722" y="7215"/>
                </a:lnTo>
                <a:lnTo>
                  <a:pt x="6703" y="7316"/>
                </a:lnTo>
                <a:lnTo>
                  <a:pt x="6682" y="7417"/>
                </a:lnTo>
                <a:lnTo>
                  <a:pt x="6659" y="7516"/>
                </a:lnTo>
                <a:lnTo>
                  <a:pt x="6635" y="7612"/>
                </a:lnTo>
                <a:lnTo>
                  <a:pt x="6607" y="7708"/>
                </a:lnTo>
                <a:lnTo>
                  <a:pt x="6578" y="7802"/>
                </a:lnTo>
                <a:lnTo>
                  <a:pt x="6547" y="7894"/>
                </a:lnTo>
                <a:lnTo>
                  <a:pt x="6515" y="7985"/>
                </a:lnTo>
                <a:lnTo>
                  <a:pt x="6479" y="8074"/>
                </a:lnTo>
                <a:lnTo>
                  <a:pt x="6443" y="8163"/>
                </a:lnTo>
                <a:lnTo>
                  <a:pt x="6405" y="8249"/>
                </a:lnTo>
                <a:lnTo>
                  <a:pt x="6365" y="8334"/>
                </a:lnTo>
                <a:lnTo>
                  <a:pt x="6322" y="8417"/>
                </a:lnTo>
                <a:lnTo>
                  <a:pt x="6279" y="8499"/>
                </a:lnTo>
                <a:lnTo>
                  <a:pt x="6232" y="8579"/>
                </a:lnTo>
                <a:lnTo>
                  <a:pt x="6185" y="8656"/>
                </a:lnTo>
                <a:lnTo>
                  <a:pt x="6137" y="8733"/>
                </a:lnTo>
                <a:lnTo>
                  <a:pt x="6086" y="8808"/>
                </a:lnTo>
                <a:lnTo>
                  <a:pt x="6034" y="8881"/>
                </a:lnTo>
                <a:lnTo>
                  <a:pt x="5979" y="8953"/>
                </a:lnTo>
                <a:lnTo>
                  <a:pt x="5924" y="9023"/>
                </a:lnTo>
                <a:lnTo>
                  <a:pt x="5868" y="9092"/>
                </a:lnTo>
                <a:lnTo>
                  <a:pt x="5809" y="9158"/>
                </a:lnTo>
                <a:lnTo>
                  <a:pt x="5749" y="9223"/>
                </a:lnTo>
                <a:lnTo>
                  <a:pt x="5693" y="9281"/>
                </a:lnTo>
                <a:lnTo>
                  <a:pt x="5637" y="9337"/>
                </a:lnTo>
                <a:lnTo>
                  <a:pt x="5578" y="9391"/>
                </a:lnTo>
                <a:lnTo>
                  <a:pt x="5520" y="9445"/>
                </a:lnTo>
                <a:lnTo>
                  <a:pt x="5459" y="9496"/>
                </a:lnTo>
                <a:lnTo>
                  <a:pt x="5398" y="9546"/>
                </a:lnTo>
                <a:lnTo>
                  <a:pt x="5336" y="9595"/>
                </a:lnTo>
                <a:lnTo>
                  <a:pt x="5273" y="9642"/>
                </a:lnTo>
                <a:lnTo>
                  <a:pt x="5208" y="9689"/>
                </a:lnTo>
                <a:lnTo>
                  <a:pt x="5144" y="9733"/>
                </a:lnTo>
                <a:lnTo>
                  <a:pt x="5077" y="9776"/>
                </a:lnTo>
                <a:lnTo>
                  <a:pt x="5010" y="9817"/>
                </a:lnTo>
                <a:lnTo>
                  <a:pt x="4942" y="9857"/>
                </a:lnTo>
                <a:lnTo>
                  <a:pt x="4873" y="9895"/>
                </a:lnTo>
                <a:lnTo>
                  <a:pt x="4803" y="9933"/>
                </a:lnTo>
                <a:lnTo>
                  <a:pt x="4733" y="9968"/>
                </a:lnTo>
                <a:lnTo>
                  <a:pt x="4661" y="10003"/>
                </a:lnTo>
                <a:lnTo>
                  <a:pt x="4588" y="10035"/>
                </a:lnTo>
                <a:lnTo>
                  <a:pt x="4515" y="10065"/>
                </a:lnTo>
                <a:lnTo>
                  <a:pt x="4440" y="10095"/>
                </a:lnTo>
                <a:lnTo>
                  <a:pt x="4366" y="10123"/>
                </a:lnTo>
                <a:lnTo>
                  <a:pt x="4290" y="10149"/>
                </a:lnTo>
                <a:lnTo>
                  <a:pt x="4213" y="10174"/>
                </a:lnTo>
                <a:lnTo>
                  <a:pt x="4137" y="10197"/>
                </a:lnTo>
                <a:lnTo>
                  <a:pt x="4059" y="10219"/>
                </a:lnTo>
                <a:lnTo>
                  <a:pt x="3981" y="10239"/>
                </a:lnTo>
                <a:lnTo>
                  <a:pt x="3901" y="10258"/>
                </a:lnTo>
                <a:lnTo>
                  <a:pt x="3821" y="10275"/>
                </a:lnTo>
                <a:lnTo>
                  <a:pt x="3741" y="10290"/>
                </a:lnTo>
                <a:lnTo>
                  <a:pt x="3660" y="10304"/>
                </a:lnTo>
                <a:lnTo>
                  <a:pt x="3578" y="10316"/>
                </a:lnTo>
                <a:lnTo>
                  <a:pt x="3497" y="10326"/>
                </a:lnTo>
                <a:lnTo>
                  <a:pt x="2956" y="12384"/>
                </a:lnTo>
                <a:lnTo>
                  <a:pt x="7325" y="12384"/>
                </a:lnTo>
                <a:lnTo>
                  <a:pt x="7365" y="11357"/>
                </a:lnTo>
                <a:lnTo>
                  <a:pt x="8856" y="11357"/>
                </a:lnTo>
                <a:lnTo>
                  <a:pt x="8898" y="12384"/>
                </a:lnTo>
                <a:lnTo>
                  <a:pt x="13265" y="12384"/>
                </a:lnTo>
                <a:lnTo>
                  <a:pt x="10018" y="0"/>
                </a:lnTo>
                <a:lnTo>
                  <a:pt x="8402" y="0"/>
                </a:lnTo>
                <a:lnTo>
                  <a:pt x="8443" y="1027"/>
                </a:lnTo>
                <a:lnTo>
                  <a:pt x="7779" y="1027"/>
                </a:lnTo>
                <a:lnTo>
                  <a:pt x="7820" y="0"/>
                </a:lnTo>
                <a:lnTo>
                  <a:pt x="6204" y="0"/>
                </a:lnTo>
                <a:close/>
                <a:moveTo>
                  <a:pt x="7717" y="2566"/>
                </a:moveTo>
                <a:lnTo>
                  <a:pt x="8504" y="2566"/>
                </a:lnTo>
                <a:lnTo>
                  <a:pt x="8619" y="5423"/>
                </a:lnTo>
                <a:lnTo>
                  <a:pt x="7603" y="5423"/>
                </a:lnTo>
                <a:lnTo>
                  <a:pt x="7717" y="2566"/>
                </a:lnTo>
                <a:close/>
                <a:moveTo>
                  <a:pt x="7427" y="9818"/>
                </a:moveTo>
                <a:lnTo>
                  <a:pt x="7542" y="6961"/>
                </a:lnTo>
                <a:lnTo>
                  <a:pt x="8680" y="6961"/>
                </a:lnTo>
                <a:lnTo>
                  <a:pt x="8795" y="9818"/>
                </a:lnTo>
                <a:lnTo>
                  <a:pt x="7427" y="9818"/>
                </a:lnTo>
                <a:close/>
                <a:moveTo>
                  <a:pt x="5146" y="0"/>
                </a:moveTo>
                <a:lnTo>
                  <a:pt x="4540" y="1486"/>
                </a:lnTo>
                <a:lnTo>
                  <a:pt x="4594" y="1562"/>
                </a:lnTo>
                <a:lnTo>
                  <a:pt x="4650" y="1639"/>
                </a:lnTo>
                <a:lnTo>
                  <a:pt x="4706" y="1718"/>
                </a:lnTo>
                <a:lnTo>
                  <a:pt x="4763" y="1797"/>
                </a:lnTo>
                <a:lnTo>
                  <a:pt x="4819" y="1878"/>
                </a:lnTo>
                <a:lnTo>
                  <a:pt x="4876" y="1959"/>
                </a:lnTo>
                <a:lnTo>
                  <a:pt x="4932" y="2042"/>
                </a:lnTo>
                <a:lnTo>
                  <a:pt x="4990" y="2126"/>
                </a:lnTo>
                <a:lnTo>
                  <a:pt x="5695" y="0"/>
                </a:lnTo>
                <a:lnTo>
                  <a:pt x="5146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76" name="trian14_1_solid"/>
          <p:cNvSpPr/>
          <p:nvPr/>
        </p:nvSpPr>
        <p:spPr>
          <a:xfrm rot="10800000">
            <a:off x="2339753" y="1665059"/>
            <a:ext cx="180000" cy="1260000"/>
          </a:xfrm>
          <a:prstGeom prst="homePlate">
            <a:avLst>
              <a:gd name="adj" fmla="val 965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77" name="Скругленный прямоугольник 76"/>
          <p:cNvSpPr/>
          <p:nvPr/>
        </p:nvSpPr>
        <p:spPr>
          <a:xfrm>
            <a:off x="3203848" y="1383103"/>
            <a:ext cx="985586" cy="157784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cxnSp>
        <p:nvCxnSpPr>
          <p:cNvPr id="78" name="Соединительная линия уступом 77"/>
          <p:cNvCxnSpPr/>
          <p:nvPr/>
        </p:nvCxnSpPr>
        <p:spPr>
          <a:xfrm>
            <a:off x="3995936" y="3573016"/>
            <a:ext cx="238734" cy="180020"/>
          </a:xfrm>
          <a:prstGeom prst="bentConnector3">
            <a:avLst>
              <a:gd name="adj1" fmla="val 99959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Соединительная линия уступом 78"/>
          <p:cNvCxnSpPr/>
          <p:nvPr/>
        </p:nvCxnSpPr>
        <p:spPr>
          <a:xfrm flipV="1">
            <a:off x="1411204" y="3620342"/>
            <a:ext cx="1965512" cy="619799"/>
          </a:xfrm>
          <a:prstGeom prst="bentConnector3">
            <a:avLst>
              <a:gd name="adj1" fmla="val 50000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Соединительная линия уступом 79"/>
          <p:cNvCxnSpPr/>
          <p:nvPr/>
        </p:nvCxnSpPr>
        <p:spPr>
          <a:xfrm rot="10800000" flipV="1">
            <a:off x="975380" y="3494528"/>
            <a:ext cx="2401734" cy="258507"/>
          </a:xfrm>
          <a:prstGeom prst="bentConnector3">
            <a:avLst>
              <a:gd name="adj1" fmla="val 99991"/>
            </a:avLst>
          </a:prstGeom>
          <a:ln w="317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rian14_1_solid"/>
          <p:cNvSpPr/>
          <p:nvPr/>
        </p:nvSpPr>
        <p:spPr>
          <a:xfrm>
            <a:off x="2879832" y="1665059"/>
            <a:ext cx="180000" cy="1260000"/>
          </a:xfrm>
          <a:prstGeom prst="homePlate">
            <a:avLst>
              <a:gd name="adj" fmla="val 96563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82" name="Picture126"/>
          <p:cNvSpPr>
            <a:spLocks noEditPoints="1"/>
          </p:cNvSpPr>
          <p:nvPr/>
        </p:nvSpPr>
        <p:spPr bwMode="auto">
          <a:xfrm>
            <a:off x="3477041" y="3234856"/>
            <a:ext cx="439200" cy="439200"/>
          </a:xfrm>
          <a:custGeom>
            <a:avLst/>
            <a:gdLst>
              <a:gd name="T0" fmla="*/ 456 w 729"/>
              <a:gd name="T1" fmla="*/ 395 h 912"/>
              <a:gd name="T2" fmla="*/ 273 w 729"/>
              <a:gd name="T3" fmla="*/ 443 h 912"/>
              <a:gd name="T4" fmla="*/ 259 w 729"/>
              <a:gd name="T5" fmla="*/ 450 h 912"/>
              <a:gd name="T6" fmla="*/ 232 w 729"/>
              <a:gd name="T7" fmla="*/ 465 h 912"/>
              <a:gd name="T8" fmla="*/ 207 w 729"/>
              <a:gd name="T9" fmla="*/ 484 h 912"/>
              <a:gd name="T10" fmla="*/ 185 w 729"/>
              <a:gd name="T11" fmla="*/ 505 h 912"/>
              <a:gd name="T12" fmla="*/ 91 w 729"/>
              <a:gd name="T13" fmla="*/ 517 h 912"/>
              <a:gd name="T14" fmla="*/ 175 w 729"/>
              <a:gd name="T15" fmla="*/ 821 h 912"/>
              <a:gd name="T16" fmla="*/ 183 w 729"/>
              <a:gd name="T17" fmla="*/ 832 h 912"/>
              <a:gd name="T18" fmla="*/ 203 w 729"/>
              <a:gd name="T19" fmla="*/ 850 h 912"/>
              <a:gd name="T20" fmla="*/ 223 w 729"/>
              <a:gd name="T21" fmla="*/ 867 h 912"/>
              <a:gd name="T22" fmla="*/ 246 w 729"/>
              <a:gd name="T23" fmla="*/ 881 h 912"/>
              <a:gd name="T24" fmla="*/ 270 w 729"/>
              <a:gd name="T25" fmla="*/ 893 h 912"/>
              <a:gd name="T26" fmla="*/ 296 w 729"/>
              <a:gd name="T27" fmla="*/ 902 h 912"/>
              <a:gd name="T28" fmla="*/ 323 w 729"/>
              <a:gd name="T29" fmla="*/ 909 h 912"/>
              <a:gd name="T30" fmla="*/ 351 w 729"/>
              <a:gd name="T31" fmla="*/ 912 h 912"/>
              <a:gd name="T32" fmla="*/ 365 w 729"/>
              <a:gd name="T33" fmla="*/ 912 h 912"/>
              <a:gd name="T34" fmla="*/ 393 w 729"/>
              <a:gd name="T35" fmla="*/ 911 h 912"/>
              <a:gd name="T36" fmla="*/ 420 w 729"/>
              <a:gd name="T37" fmla="*/ 906 h 912"/>
              <a:gd name="T38" fmla="*/ 447 w 729"/>
              <a:gd name="T39" fmla="*/ 898 h 912"/>
              <a:gd name="T40" fmla="*/ 472 w 729"/>
              <a:gd name="T41" fmla="*/ 887 h 912"/>
              <a:gd name="T42" fmla="*/ 495 w 729"/>
              <a:gd name="T43" fmla="*/ 874 h 912"/>
              <a:gd name="T44" fmla="*/ 517 w 729"/>
              <a:gd name="T45" fmla="*/ 858 h 912"/>
              <a:gd name="T46" fmla="*/ 536 w 729"/>
              <a:gd name="T47" fmla="*/ 841 h 912"/>
              <a:gd name="T48" fmla="*/ 554 w 729"/>
              <a:gd name="T49" fmla="*/ 821 h 912"/>
              <a:gd name="T50" fmla="*/ 638 w 729"/>
              <a:gd name="T51" fmla="*/ 517 h 912"/>
              <a:gd name="T52" fmla="*/ 554 w 729"/>
              <a:gd name="T53" fmla="*/ 517 h 912"/>
              <a:gd name="T54" fmla="*/ 534 w 729"/>
              <a:gd name="T55" fmla="*/ 494 h 912"/>
              <a:gd name="T56" fmla="*/ 510 w 729"/>
              <a:gd name="T57" fmla="*/ 474 h 912"/>
              <a:gd name="T58" fmla="*/ 483 w 729"/>
              <a:gd name="T59" fmla="*/ 457 h 912"/>
              <a:gd name="T60" fmla="*/ 456 w 729"/>
              <a:gd name="T61" fmla="*/ 443 h 912"/>
              <a:gd name="T62" fmla="*/ 0 w 729"/>
              <a:gd name="T63" fmla="*/ 852 h 912"/>
              <a:gd name="T64" fmla="*/ 61 w 729"/>
              <a:gd name="T65" fmla="*/ 486 h 912"/>
              <a:gd name="T66" fmla="*/ 0 w 729"/>
              <a:gd name="T67" fmla="*/ 852 h 912"/>
              <a:gd name="T68" fmla="*/ 669 w 729"/>
              <a:gd name="T69" fmla="*/ 852 h 912"/>
              <a:gd name="T70" fmla="*/ 729 w 729"/>
              <a:gd name="T71" fmla="*/ 486 h 912"/>
              <a:gd name="T72" fmla="*/ 487 w 729"/>
              <a:gd name="T73" fmla="*/ 304 h 912"/>
              <a:gd name="T74" fmla="*/ 243 w 729"/>
              <a:gd name="T75" fmla="*/ 365 h 912"/>
              <a:gd name="T76" fmla="*/ 487 w 729"/>
              <a:gd name="T77" fmla="*/ 304 h 912"/>
              <a:gd name="T78" fmla="*/ 30 w 729"/>
              <a:gd name="T79" fmla="*/ 0 h 912"/>
              <a:gd name="T80" fmla="*/ 77 w 729"/>
              <a:gd name="T81" fmla="*/ 61 h 912"/>
              <a:gd name="T82" fmla="*/ 303 w 729"/>
              <a:gd name="T83" fmla="*/ 274 h 912"/>
              <a:gd name="T84" fmla="*/ 426 w 729"/>
              <a:gd name="T85" fmla="*/ 251 h 912"/>
              <a:gd name="T86" fmla="*/ 699 w 729"/>
              <a:gd name="T87" fmla="*/ 61 h 912"/>
              <a:gd name="T88" fmla="*/ 426 w 729"/>
              <a:gd name="T89" fmla="*/ 172 h 912"/>
              <a:gd name="T90" fmla="*/ 303 w 729"/>
              <a:gd name="T91" fmla="*/ 152 h 912"/>
              <a:gd name="T92" fmla="*/ 173 w 729"/>
              <a:gd name="T93" fmla="*/ 61 h 912"/>
              <a:gd name="T94" fmla="*/ 426 w 729"/>
              <a:gd name="T95" fmla="*/ 172 h 9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29" h="912">
                <a:moveTo>
                  <a:pt x="456" y="443"/>
                </a:moveTo>
                <a:lnTo>
                  <a:pt x="456" y="395"/>
                </a:lnTo>
                <a:lnTo>
                  <a:pt x="273" y="395"/>
                </a:lnTo>
                <a:lnTo>
                  <a:pt x="273" y="443"/>
                </a:lnTo>
                <a:lnTo>
                  <a:pt x="273" y="443"/>
                </a:lnTo>
                <a:lnTo>
                  <a:pt x="259" y="450"/>
                </a:lnTo>
                <a:lnTo>
                  <a:pt x="246" y="457"/>
                </a:lnTo>
                <a:lnTo>
                  <a:pt x="232" y="465"/>
                </a:lnTo>
                <a:lnTo>
                  <a:pt x="220" y="474"/>
                </a:lnTo>
                <a:lnTo>
                  <a:pt x="207" y="484"/>
                </a:lnTo>
                <a:lnTo>
                  <a:pt x="196" y="494"/>
                </a:lnTo>
                <a:lnTo>
                  <a:pt x="185" y="505"/>
                </a:lnTo>
                <a:lnTo>
                  <a:pt x="175" y="517"/>
                </a:lnTo>
                <a:lnTo>
                  <a:pt x="91" y="517"/>
                </a:lnTo>
                <a:lnTo>
                  <a:pt x="91" y="821"/>
                </a:lnTo>
                <a:lnTo>
                  <a:pt x="175" y="821"/>
                </a:lnTo>
                <a:lnTo>
                  <a:pt x="175" y="821"/>
                </a:lnTo>
                <a:lnTo>
                  <a:pt x="183" y="832"/>
                </a:lnTo>
                <a:lnTo>
                  <a:pt x="193" y="841"/>
                </a:lnTo>
                <a:lnTo>
                  <a:pt x="203" y="850"/>
                </a:lnTo>
                <a:lnTo>
                  <a:pt x="212" y="858"/>
                </a:lnTo>
                <a:lnTo>
                  <a:pt x="223" y="867"/>
                </a:lnTo>
                <a:lnTo>
                  <a:pt x="235" y="874"/>
                </a:lnTo>
                <a:lnTo>
                  <a:pt x="246" y="881"/>
                </a:lnTo>
                <a:lnTo>
                  <a:pt x="257" y="887"/>
                </a:lnTo>
                <a:lnTo>
                  <a:pt x="270" y="893"/>
                </a:lnTo>
                <a:lnTo>
                  <a:pt x="283" y="898"/>
                </a:lnTo>
                <a:lnTo>
                  <a:pt x="296" y="902"/>
                </a:lnTo>
                <a:lnTo>
                  <a:pt x="309" y="906"/>
                </a:lnTo>
                <a:lnTo>
                  <a:pt x="323" y="909"/>
                </a:lnTo>
                <a:lnTo>
                  <a:pt x="337" y="911"/>
                </a:lnTo>
                <a:lnTo>
                  <a:pt x="351" y="912"/>
                </a:lnTo>
                <a:lnTo>
                  <a:pt x="365" y="912"/>
                </a:lnTo>
                <a:lnTo>
                  <a:pt x="365" y="912"/>
                </a:lnTo>
                <a:lnTo>
                  <a:pt x="378" y="912"/>
                </a:lnTo>
                <a:lnTo>
                  <a:pt x="393" y="911"/>
                </a:lnTo>
                <a:lnTo>
                  <a:pt x="406" y="909"/>
                </a:lnTo>
                <a:lnTo>
                  <a:pt x="420" y="906"/>
                </a:lnTo>
                <a:lnTo>
                  <a:pt x="434" y="902"/>
                </a:lnTo>
                <a:lnTo>
                  <a:pt x="447" y="898"/>
                </a:lnTo>
                <a:lnTo>
                  <a:pt x="459" y="893"/>
                </a:lnTo>
                <a:lnTo>
                  <a:pt x="472" y="887"/>
                </a:lnTo>
                <a:lnTo>
                  <a:pt x="483" y="881"/>
                </a:lnTo>
                <a:lnTo>
                  <a:pt x="495" y="874"/>
                </a:lnTo>
                <a:lnTo>
                  <a:pt x="506" y="867"/>
                </a:lnTo>
                <a:lnTo>
                  <a:pt x="517" y="858"/>
                </a:lnTo>
                <a:lnTo>
                  <a:pt x="526" y="850"/>
                </a:lnTo>
                <a:lnTo>
                  <a:pt x="536" y="841"/>
                </a:lnTo>
                <a:lnTo>
                  <a:pt x="546" y="832"/>
                </a:lnTo>
                <a:lnTo>
                  <a:pt x="554" y="821"/>
                </a:lnTo>
                <a:lnTo>
                  <a:pt x="638" y="821"/>
                </a:lnTo>
                <a:lnTo>
                  <a:pt x="638" y="517"/>
                </a:lnTo>
                <a:lnTo>
                  <a:pt x="554" y="517"/>
                </a:lnTo>
                <a:lnTo>
                  <a:pt x="554" y="517"/>
                </a:lnTo>
                <a:lnTo>
                  <a:pt x="545" y="505"/>
                </a:lnTo>
                <a:lnTo>
                  <a:pt x="534" y="494"/>
                </a:lnTo>
                <a:lnTo>
                  <a:pt x="522" y="484"/>
                </a:lnTo>
                <a:lnTo>
                  <a:pt x="510" y="474"/>
                </a:lnTo>
                <a:lnTo>
                  <a:pt x="497" y="465"/>
                </a:lnTo>
                <a:lnTo>
                  <a:pt x="483" y="457"/>
                </a:lnTo>
                <a:lnTo>
                  <a:pt x="471" y="450"/>
                </a:lnTo>
                <a:lnTo>
                  <a:pt x="456" y="443"/>
                </a:lnTo>
                <a:lnTo>
                  <a:pt x="456" y="443"/>
                </a:lnTo>
                <a:close/>
                <a:moveTo>
                  <a:pt x="0" y="852"/>
                </a:moveTo>
                <a:lnTo>
                  <a:pt x="61" y="852"/>
                </a:lnTo>
                <a:lnTo>
                  <a:pt x="61" y="486"/>
                </a:lnTo>
                <a:lnTo>
                  <a:pt x="0" y="486"/>
                </a:lnTo>
                <a:lnTo>
                  <a:pt x="0" y="852"/>
                </a:lnTo>
                <a:close/>
                <a:moveTo>
                  <a:pt x="669" y="486"/>
                </a:moveTo>
                <a:lnTo>
                  <a:pt x="669" y="852"/>
                </a:lnTo>
                <a:lnTo>
                  <a:pt x="729" y="852"/>
                </a:lnTo>
                <a:lnTo>
                  <a:pt x="729" y="486"/>
                </a:lnTo>
                <a:lnTo>
                  <a:pt x="669" y="486"/>
                </a:lnTo>
                <a:close/>
                <a:moveTo>
                  <a:pt x="487" y="304"/>
                </a:moveTo>
                <a:lnTo>
                  <a:pt x="243" y="304"/>
                </a:lnTo>
                <a:lnTo>
                  <a:pt x="243" y="365"/>
                </a:lnTo>
                <a:lnTo>
                  <a:pt x="487" y="365"/>
                </a:lnTo>
                <a:lnTo>
                  <a:pt x="487" y="304"/>
                </a:lnTo>
                <a:close/>
                <a:moveTo>
                  <a:pt x="699" y="0"/>
                </a:moveTo>
                <a:lnTo>
                  <a:pt x="30" y="0"/>
                </a:lnTo>
                <a:lnTo>
                  <a:pt x="30" y="61"/>
                </a:lnTo>
                <a:lnTo>
                  <a:pt x="77" y="61"/>
                </a:lnTo>
                <a:lnTo>
                  <a:pt x="303" y="251"/>
                </a:lnTo>
                <a:lnTo>
                  <a:pt x="303" y="274"/>
                </a:lnTo>
                <a:lnTo>
                  <a:pt x="426" y="274"/>
                </a:lnTo>
                <a:lnTo>
                  <a:pt x="426" y="251"/>
                </a:lnTo>
                <a:lnTo>
                  <a:pt x="652" y="61"/>
                </a:lnTo>
                <a:lnTo>
                  <a:pt x="699" y="61"/>
                </a:lnTo>
                <a:lnTo>
                  <a:pt x="699" y="0"/>
                </a:lnTo>
                <a:close/>
                <a:moveTo>
                  <a:pt x="426" y="172"/>
                </a:moveTo>
                <a:lnTo>
                  <a:pt x="426" y="152"/>
                </a:lnTo>
                <a:lnTo>
                  <a:pt x="303" y="152"/>
                </a:lnTo>
                <a:lnTo>
                  <a:pt x="303" y="172"/>
                </a:lnTo>
                <a:lnTo>
                  <a:pt x="173" y="61"/>
                </a:lnTo>
                <a:lnTo>
                  <a:pt x="557" y="61"/>
                </a:lnTo>
                <a:lnTo>
                  <a:pt x="426" y="172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3C3C3C"/>
              </a:solidFill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2627784" y="4293096"/>
            <a:ext cx="1098122" cy="276999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FFFFFF"/>
                </a:solidFill>
              </a:rPr>
              <a:t>Реализация</a:t>
            </a:r>
          </a:p>
        </p:txBody>
      </p:sp>
      <p:sp>
        <p:nvSpPr>
          <p:cNvPr id="84" name="Скругленный прямоугольник 83"/>
          <p:cNvSpPr/>
          <p:nvPr/>
        </p:nvSpPr>
        <p:spPr>
          <a:xfrm>
            <a:off x="2555776" y="3789040"/>
            <a:ext cx="1944216" cy="946085"/>
          </a:xfrm>
          <a:prstGeom prst="round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85" name="TextBox 84"/>
          <p:cNvSpPr txBox="1"/>
          <p:nvPr/>
        </p:nvSpPr>
        <p:spPr>
          <a:xfrm>
            <a:off x="1700196" y="3728065"/>
            <a:ext cx="567548" cy="276999"/>
          </a:xfrm>
          <a:prstGeom prst="rect">
            <a:avLst/>
          </a:prstGeom>
          <a:solidFill>
            <a:schemeClr val="accent1"/>
          </a:solidFill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dirty="0" smtClean="0">
                <a:solidFill>
                  <a:srgbClr val="FFFFFF"/>
                </a:solidFill>
              </a:rPr>
              <a:t>НИЦ</a:t>
            </a:r>
          </a:p>
        </p:txBody>
      </p:sp>
      <p:sp>
        <p:nvSpPr>
          <p:cNvPr id="86" name="gpn_onpz"/>
          <p:cNvSpPr>
            <a:spLocks noChangeAspect="1" noEditPoints="1"/>
          </p:cNvSpPr>
          <p:nvPr/>
        </p:nvSpPr>
        <p:spPr bwMode="auto">
          <a:xfrm>
            <a:off x="1547663" y="1340768"/>
            <a:ext cx="468053" cy="724447"/>
          </a:xfrm>
          <a:custGeom>
            <a:avLst/>
            <a:gdLst>
              <a:gd name="T0" fmla="*/ 10205 w 10336"/>
              <a:gd name="T1" fmla="*/ 5550 h 16419"/>
              <a:gd name="T2" fmla="*/ 9614 w 10336"/>
              <a:gd name="T3" fmla="*/ 5117 h 16419"/>
              <a:gd name="T4" fmla="*/ 9053 w 10336"/>
              <a:gd name="T5" fmla="*/ 5330 h 16419"/>
              <a:gd name="T6" fmla="*/ 9197 w 10336"/>
              <a:gd name="T7" fmla="*/ 6033 h 16419"/>
              <a:gd name="T8" fmla="*/ 8546 w 10336"/>
              <a:gd name="T9" fmla="*/ 5440 h 16419"/>
              <a:gd name="T10" fmla="*/ 7893 w 10336"/>
              <a:gd name="T11" fmla="*/ 5098 h 16419"/>
              <a:gd name="T12" fmla="*/ 7648 w 10336"/>
              <a:gd name="T13" fmla="*/ 4031 h 16419"/>
              <a:gd name="T14" fmla="*/ 7034 w 10336"/>
              <a:gd name="T15" fmla="*/ 3710 h 16419"/>
              <a:gd name="T16" fmla="*/ 5187 w 10336"/>
              <a:gd name="T17" fmla="*/ 3940 h 16419"/>
              <a:gd name="T18" fmla="*/ 4903 w 10336"/>
              <a:gd name="T19" fmla="*/ 4592 h 16419"/>
              <a:gd name="T20" fmla="*/ 4 w 10336"/>
              <a:gd name="T21" fmla="*/ 10718 h 16419"/>
              <a:gd name="T22" fmla="*/ 2376 w 10336"/>
              <a:gd name="T23" fmla="*/ 131 h 16419"/>
              <a:gd name="T24" fmla="*/ 2166 w 10336"/>
              <a:gd name="T25" fmla="*/ 3 h 16419"/>
              <a:gd name="T26" fmla="*/ 721 w 10336"/>
              <a:gd name="T27" fmla="*/ 58 h 16419"/>
              <a:gd name="T28" fmla="*/ 591 w 10336"/>
              <a:gd name="T29" fmla="*/ 271 h 16419"/>
              <a:gd name="T30" fmla="*/ 7326 w 10336"/>
              <a:gd name="T31" fmla="*/ 15788 h 16419"/>
              <a:gd name="T32" fmla="*/ 7505 w 10336"/>
              <a:gd name="T33" fmla="*/ 15933 h 16419"/>
              <a:gd name="T34" fmla="*/ 7727 w 10336"/>
              <a:gd name="T35" fmla="*/ 16053 h 16419"/>
              <a:gd name="T36" fmla="*/ 7984 w 10336"/>
              <a:gd name="T37" fmla="*/ 15981 h 16419"/>
              <a:gd name="T38" fmla="*/ 8089 w 10336"/>
              <a:gd name="T39" fmla="*/ 15717 h 16419"/>
              <a:gd name="T40" fmla="*/ 7982 w 10336"/>
              <a:gd name="T41" fmla="*/ 15404 h 16419"/>
              <a:gd name="T42" fmla="*/ 7818 w 10336"/>
              <a:gd name="T43" fmla="*/ 15014 h 16419"/>
              <a:gd name="T44" fmla="*/ 8028 w 10336"/>
              <a:gd name="T45" fmla="*/ 14896 h 16419"/>
              <a:gd name="T46" fmla="*/ 8075 w 10336"/>
              <a:gd name="T47" fmla="*/ 14625 h 16419"/>
              <a:gd name="T48" fmla="*/ 7951 w 10336"/>
              <a:gd name="T49" fmla="*/ 14436 h 16419"/>
              <a:gd name="T50" fmla="*/ 7697 w 10336"/>
              <a:gd name="T51" fmla="*/ 14411 h 16419"/>
              <a:gd name="T52" fmla="*/ 7504 w 10336"/>
              <a:gd name="T53" fmla="*/ 14560 h 16419"/>
              <a:gd name="T54" fmla="*/ 7178 w 10336"/>
              <a:gd name="T55" fmla="*/ 14369 h 16419"/>
              <a:gd name="T56" fmla="*/ 7544 w 10336"/>
              <a:gd name="T57" fmla="*/ 14071 h 16419"/>
              <a:gd name="T58" fmla="*/ 8109 w 10336"/>
              <a:gd name="T59" fmla="*/ 14085 h 16419"/>
              <a:gd name="T60" fmla="*/ 8434 w 10336"/>
              <a:gd name="T61" fmla="*/ 14450 h 16419"/>
              <a:gd name="T62" fmla="*/ 8400 w 10336"/>
              <a:gd name="T63" fmla="*/ 14954 h 16419"/>
              <a:gd name="T64" fmla="*/ 8219 w 10336"/>
              <a:gd name="T65" fmla="*/ 15189 h 16419"/>
              <a:gd name="T66" fmla="*/ 8437 w 10336"/>
              <a:gd name="T67" fmla="*/ 15443 h 16419"/>
              <a:gd name="T68" fmla="*/ 8439 w 10336"/>
              <a:gd name="T69" fmla="*/ 15985 h 16419"/>
              <a:gd name="T70" fmla="*/ 8058 w 10336"/>
              <a:gd name="T71" fmla="*/ 16374 h 16419"/>
              <a:gd name="T72" fmla="*/ 7485 w 10336"/>
              <a:gd name="T73" fmla="*/ 16374 h 16419"/>
              <a:gd name="T74" fmla="*/ 7127 w 10336"/>
              <a:gd name="T75" fmla="*/ 16052 h 16419"/>
              <a:gd name="T76" fmla="*/ 4637 w 10336"/>
              <a:gd name="T77" fmla="*/ 15386 h 16419"/>
              <a:gd name="T78" fmla="*/ 3245 w 10336"/>
              <a:gd name="T79" fmla="*/ 15885 h 16419"/>
              <a:gd name="T80" fmla="*/ 2910 w 10336"/>
              <a:gd name="T81" fmla="*/ 16340 h 16419"/>
              <a:gd name="T82" fmla="*/ 2372 w 10336"/>
              <a:gd name="T83" fmla="*/ 16400 h 16419"/>
              <a:gd name="T84" fmla="*/ 2047 w 10336"/>
              <a:gd name="T85" fmla="*/ 16214 h 16419"/>
              <a:gd name="T86" fmla="*/ 1864 w 10336"/>
              <a:gd name="T87" fmla="*/ 15686 h 16419"/>
              <a:gd name="T88" fmla="*/ 2002 w 10336"/>
              <a:gd name="T89" fmla="*/ 14304 h 16419"/>
              <a:gd name="T90" fmla="*/ 2388 w 10336"/>
              <a:gd name="T91" fmla="*/ 14056 h 16419"/>
              <a:gd name="T92" fmla="*/ 2791 w 10336"/>
              <a:gd name="T93" fmla="*/ 14069 h 16419"/>
              <a:gd name="T94" fmla="*/ 3171 w 10336"/>
              <a:gd name="T95" fmla="*/ 14379 h 16419"/>
              <a:gd name="T96" fmla="*/ 2876 w 10336"/>
              <a:gd name="T97" fmla="*/ 14683 h 16419"/>
              <a:gd name="T98" fmla="*/ 2722 w 10336"/>
              <a:gd name="T99" fmla="*/ 14448 h 16419"/>
              <a:gd name="T100" fmla="*/ 2391 w 10336"/>
              <a:gd name="T101" fmla="*/ 14454 h 16419"/>
              <a:gd name="T102" fmla="*/ 2239 w 10336"/>
              <a:gd name="T103" fmla="*/ 14704 h 16419"/>
              <a:gd name="T104" fmla="*/ 2296 w 10336"/>
              <a:gd name="T105" fmla="*/ 15911 h 16419"/>
              <a:gd name="T106" fmla="*/ 2547 w 10336"/>
              <a:gd name="T107" fmla="*/ 16055 h 16419"/>
              <a:gd name="T108" fmla="*/ 2791 w 10336"/>
              <a:gd name="T109" fmla="*/ 15966 h 16419"/>
              <a:gd name="T110" fmla="*/ 2884 w 10336"/>
              <a:gd name="T111" fmla="*/ 14757 h 16419"/>
              <a:gd name="T112" fmla="*/ 7132 w 10336"/>
              <a:gd name="T113" fmla="*/ 13060 h 16419"/>
              <a:gd name="T114" fmla="*/ 5581 w 10336"/>
              <a:gd name="T115" fmla="*/ 4592 h 16419"/>
              <a:gd name="T116" fmla="*/ 6990 w 10336"/>
              <a:gd name="T117" fmla="*/ 4403 h 16419"/>
              <a:gd name="T118" fmla="*/ 7166 w 10336"/>
              <a:gd name="T119" fmla="*/ 5097 h 16419"/>
              <a:gd name="T120" fmla="*/ 6494 w 10336"/>
              <a:gd name="T121" fmla="*/ 5407 h 164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336" h="16419">
                <a:moveTo>
                  <a:pt x="5" y="11221"/>
                </a:moveTo>
                <a:lnTo>
                  <a:pt x="6" y="13637"/>
                </a:lnTo>
                <a:lnTo>
                  <a:pt x="10336" y="13637"/>
                </a:lnTo>
                <a:lnTo>
                  <a:pt x="10336" y="10621"/>
                </a:lnTo>
                <a:lnTo>
                  <a:pt x="10336" y="10004"/>
                </a:lnTo>
                <a:lnTo>
                  <a:pt x="10336" y="6033"/>
                </a:lnTo>
                <a:lnTo>
                  <a:pt x="10335" y="5985"/>
                </a:lnTo>
                <a:lnTo>
                  <a:pt x="10331" y="5938"/>
                </a:lnTo>
                <a:lnTo>
                  <a:pt x="10326" y="5891"/>
                </a:lnTo>
                <a:lnTo>
                  <a:pt x="10318" y="5845"/>
                </a:lnTo>
                <a:lnTo>
                  <a:pt x="10308" y="5801"/>
                </a:lnTo>
                <a:lnTo>
                  <a:pt x="10295" y="5757"/>
                </a:lnTo>
                <a:lnTo>
                  <a:pt x="10281" y="5713"/>
                </a:lnTo>
                <a:lnTo>
                  <a:pt x="10265" y="5671"/>
                </a:lnTo>
                <a:lnTo>
                  <a:pt x="10247" y="5630"/>
                </a:lnTo>
                <a:lnTo>
                  <a:pt x="10227" y="5589"/>
                </a:lnTo>
                <a:lnTo>
                  <a:pt x="10205" y="5550"/>
                </a:lnTo>
                <a:lnTo>
                  <a:pt x="10182" y="5512"/>
                </a:lnTo>
                <a:lnTo>
                  <a:pt x="10156" y="5475"/>
                </a:lnTo>
                <a:lnTo>
                  <a:pt x="10130" y="5440"/>
                </a:lnTo>
                <a:lnTo>
                  <a:pt x="10101" y="5406"/>
                </a:lnTo>
                <a:lnTo>
                  <a:pt x="10071" y="5373"/>
                </a:lnTo>
                <a:lnTo>
                  <a:pt x="10040" y="5342"/>
                </a:lnTo>
                <a:lnTo>
                  <a:pt x="10007" y="5313"/>
                </a:lnTo>
                <a:lnTo>
                  <a:pt x="9973" y="5285"/>
                </a:lnTo>
                <a:lnTo>
                  <a:pt x="9938" y="5258"/>
                </a:lnTo>
                <a:lnTo>
                  <a:pt x="9901" y="5234"/>
                </a:lnTo>
                <a:lnTo>
                  <a:pt x="9863" y="5211"/>
                </a:lnTo>
                <a:lnTo>
                  <a:pt x="9824" y="5190"/>
                </a:lnTo>
                <a:lnTo>
                  <a:pt x="9784" y="5172"/>
                </a:lnTo>
                <a:lnTo>
                  <a:pt x="9743" y="5155"/>
                </a:lnTo>
                <a:lnTo>
                  <a:pt x="9701" y="5140"/>
                </a:lnTo>
                <a:lnTo>
                  <a:pt x="9658" y="5127"/>
                </a:lnTo>
                <a:lnTo>
                  <a:pt x="9614" y="5117"/>
                </a:lnTo>
                <a:lnTo>
                  <a:pt x="9569" y="5108"/>
                </a:lnTo>
                <a:lnTo>
                  <a:pt x="9524" y="5102"/>
                </a:lnTo>
                <a:lnTo>
                  <a:pt x="9478" y="5098"/>
                </a:lnTo>
                <a:lnTo>
                  <a:pt x="9431" y="5097"/>
                </a:lnTo>
                <a:lnTo>
                  <a:pt x="9428" y="5097"/>
                </a:lnTo>
                <a:lnTo>
                  <a:pt x="8845" y="5097"/>
                </a:lnTo>
                <a:lnTo>
                  <a:pt x="8871" y="5120"/>
                </a:lnTo>
                <a:lnTo>
                  <a:pt x="8897" y="5143"/>
                </a:lnTo>
                <a:lnTo>
                  <a:pt x="8924" y="5169"/>
                </a:lnTo>
                <a:lnTo>
                  <a:pt x="8951" y="5197"/>
                </a:lnTo>
                <a:lnTo>
                  <a:pt x="8977" y="5224"/>
                </a:lnTo>
                <a:lnTo>
                  <a:pt x="9001" y="5253"/>
                </a:lnTo>
                <a:lnTo>
                  <a:pt x="9012" y="5267"/>
                </a:lnTo>
                <a:lnTo>
                  <a:pt x="9023" y="5282"/>
                </a:lnTo>
                <a:lnTo>
                  <a:pt x="9033" y="5296"/>
                </a:lnTo>
                <a:lnTo>
                  <a:pt x="9042" y="5312"/>
                </a:lnTo>
                <a:lnTo>
                  <a:pt x="9053" y="5330"/>
                </a:lnTo>
                <a:lnTo>
                  <a:pt x="9063" y="5350"/>
                </a:lnTo>
                <a:lnTo>
                  <a:pt x="9073" y="5369"/>
                </a:lnTo>
                <a:lnTo>
                  <a:pt x="9083" y="5390"/>
                </a:lnTo>
                <a:lnTo>
                  <a:pt x="9100" y="5431"/>
                </a:lnTo>
                <a:lnTo>
                  <a:pt x="9116" y="5474"/>
                </a:lnTo>
                <a:lnTo>
                  <a:pt x="9131" y="5517"/>
                </a:lnTo>
                <a:lnTo>
                  <a:pt x="9143" y="5561"/>
                </a:lnTo>
                <a:lnTo>
                  <a:pt x="9154" y="5606"/>
                </a:lnTo>
                <a:lnTo>
                  <a:pt x="9164" y="5652"/>
                </a:lnTo>
                <a:lnTo>
                  <a:pt x="9172" y="5699"/>
                </a:lnTo>
                <a:lnTo>
                  <a:pt x="9179" y="5747"/>
                </a:lnTo>
                <a:lnTo>
                  <a:pt x="9185" y="5794"/>
                </a:lnTo>
                <a:lnTo>
                  <a:pt x="9190" y="5841"/>
                </a:lnTo>
                <a:lnTo>
                  <a:pt x="9193" y="5889"/>
                </a:lnTo>
                <a:lnTo>
                  <a:pt x="9195" y="5938"/>
                </a:lnTo>
                <a:lnTo>
                  <a:pt x="9197" y="5985"/>
                </a:lnTo>
                <a:lnTo>
                  <a:pt x="9197" y="6033"/>
                </a:lnTo>
                <a:lnTo>
                  <a:pt x="9197" y="10004"/>
                </a:lnTo>
                <a:lnTo>
                  <a:pt x="8752" y="10004"/>
                </a:lnTo>
                <a:lnTo>
                  <a:pt x="8752" y="6033"/>
                </a:lnTo>
                <a:lnTo>
                  <a:pt x="8750" y="5985"/>
                </a:lnTo>
                <a:lnTo>
                  <a:pt x="8747" y="5938"/>
                </a:lnTo>
                <a:lnTo>
                  <a:pt x="8741" y="5891"/>
                </a:lnTo>
                <a:lnTo>
                  <a:pt x="8733" y="5845"/>
                </a:lnTo>
                <a:lnTo>
                  <a:pt x="8723" y="5801"/>
                </a:lnTo>
                <a:lnTo>
                  <a:pt x="8711" y="5757"/>
                </a:lnTo>
                <a:lnTo>
                  <a:pt x="8697" y="5713"/>
                </a:lnTo>
                <a:lnTo>
                  <a:pt x="8681" y="5671"/>
                </a:lnTo>
                <a:lnTo>
                  <a:pt x="8663" y="5630"/>
                </a:lnTo>
                <a:lnTo>
                  <a:pt x="8643" y="5589"/>
                </a:lnTo>
                <a:lnTo>
                  <a:pt x="8621" y="5550"/>
                </a:lnTo>
                <a:lnTo>
                  <a:pt x="8597" y="5512"/>
                </a:lnTo>
                <a:lnTo>
                  <a:pt x="8572" y="5475"/>
                </a:lnTo>
                <a:lnTo>
                  <a:pt x="8546" y="5440"/>
                </a:lnTo>
                <a:lnTo>
                  <a:pt x="8517" y="5406"/>
                </a:lnTo>
                <a:lnTo>
                  <a:pt x="8487" y="5373"/>
                </a:lnTo>
                <a:lnTo>
                  <a:pt x="8456" y="5342"/>
                </a:lnTo>
                <a:lnTo>
                  <a:pt x="8423" y="5313"/>
                </a:lnTo>
                <a:lnTo>
                  <a:pt x="8389" y="5285"/>
                </a:lnTo>
                <a:lnTo>
                  <a:pt x="8354" y="5258"/>
                </a:lnTo>
                <a:lnTo>
                  <a:pt x="8317" y="5234"/>
                </a:lnTo>
                <a:lnTo>
                  <a:pt x="8279" y="5211"/>
                </a:lnTo>
                <a:lnTo>
                  <a:pt x="8240" y="5190"/>
                </a:lnTo>
                <a:lnTo>
                  <a:pt x="8200" y="5172"/>
                </a:lnTo>
                <a:lnTo>
                  <a:pt x="8159" y="5155"/>
                </a:lnTo>
                <a:lnTo>
                  <a:pt x="8116" y="5140"/>
                </a:lnTo>
                <a:lnTo>
                  <a:pt x="8073" y="5127"/>
                </a:lnTo>
                <a:lnTo>
                  <a:pt x="8029" y="5117"/>
                </a:lnTo>
                <a:lnTo>
                  <a:pt x="7985" y="5108"/>
                </a:lnTo>
                <a:lnTo>
                  <a:pt x="7939" y="5102"/>
                </a:lnTo>
                <a:lnTo>
                  <a:pt x="7893" y="5098"/>
                </a:lnTo>
                <a:lnTo>
                  <a:pt x="7847" y="5097"/>
                </a:lnTo>
                <a:lnTo>
                  <a:pt x="7843" y="5097"/>
                </a:lnTo>
                <a:lnTo>
                  <a:pt x="7843" y="4592"/>
                </a:lnTo>
                <a:lnTo>
                  <a:pt x="7842" y="4547"/>
                </a:lnTo>
                <a:lnTo>
                  <a:pt x="7838" y="4503"/>
                </a:lnTo>
                <a:lnTo>
                  <a:pt x="7833" y="4459"/>
                </a:lnTo>
                <a:lnTo>
                  <a:pt x="7825" y="4416"/>
                </a:lnTo>
                <a:lnTo>
                  <a:pt x="7816" y="4373"/>
                </a:lnTo>
                <a:lnTo>
                  <a:pt x="7804" y="4331"/>
                </a:lnTo>
                <a:lnTo>
                  <a:pt x="7791" y="4289"/>
                </a:lnTo>
                <a:lnTo>
                  <a:pt x="7776" y="4249"/>
                </a:lnTo>
                <a:lnTo>
                  <a:pt x="7759" y="4210"/>
                </a:lnTo>
                <a:lnTo>
                  <a:pt x="7740" y="4172"/>
                </a:lnTo>
                <a:lnTo>
                  <a:pt x="7720" y="4136"/>
                </a:lnTo>
                <a:lnTo>
                  <a:pt x="7697" y="4100"/>
                </a:lnTo>
                <a:lnTo>
                  <a:pt x="7674" y="4065"/>
                </a:lnTo>
                <a:lnTo>
                  <a:pt x="7648" y="4031"/>
                </a:lnTo>
                <a:lnTo>
                  <a:pt x="7622" y="3999"/>
                </a:lnTo>
                <a:lnTo>
                  <a:pt x="7593" y="3968"/>
                </a:lnTo>
                <a:lnTo>
                  <a:pt x="7564" y="3940"/>
                </a:lnTo>
                <a:lnTo>
                  <a:pt x="7533" y="3911"/>
                </a:lnTo>
                <a:lnTo>
                  <a:pt x="7501" y="3885"/>
                </a:lnTo>
                <a:lnTo>
                  <a:pt x="7467" y="3859"/>
                </a:lnTo>
                <a:lnTo>
                  <a:pt x="7433" y="3837"/>
                </a:lnTo>
                <a:lnTo>
                  <a:pt x="7397" y="3815"/>
                </a:lnTo>
                <a:lnTo>
                  <a:pt x="7360" y="3796"/>
                </a:lnTo>
                <a:lnTo>
                  <a:pt x="7322" y="3778"/>
                </a:lnTo>
                <a:lnTo>
                  <a:pt x="7284" y="3762"/>
                </a:lnTo>
                <a:lnTo>
                  <a:pt x="7244" y="3748"/>
                </a:lnTo>
                <a:lnTo>
                  <a:pt x="7204" y="3736"/>
                </a:lnTo>
                <a:lnTo>
                  <a:pt x="7162" y="3726"/>
                </a:lnTo>
                <a:lnTo>
                  <a:pt x="7120" y="3718"/>
                </a:lnTo>
                <a:lnTo>
                  <a:pt x="7077" y="3713"/>
                </a:lnTo>
                <a:lnTo>
                  <a:pt x="7034" y="3710"/>
                </a:lnTo>
                <a:lnTo>
                  <a:pt x="6990" y="3708"/>
                </a:lnTo>
                <a:lnTo>
                  <a:pt x="5764" y="3708"/>
                </a:lnTo>
                <a:lnTo>
                  <a:pt x="5720" y="3710"/>
                </a:lnTo>
                <a:lnTo>
                  <a:pt x="5676" y="3713"/>
                </a:lnTo>
                <a:lnTo>
                  <a:pt x="5633" y="3718"/>
                </a:lnTo>
                <a:lnTo>
                  <a:pt x="5591" y="3726"/>
                </a:lnTo>
                <a:lnTo>
                  <a:pt x="5550" y="3736"/>
                </a:lnTo>
                <a:lnTo>
                  <a:pt x="5509" y="3748"/>
                </a:lnTo>
                <a:lnTo>
                  <a:pt x="5469" y="3762"/>
                </a:lnTo>
                <a:lnTo>
                  <a:pt x="5430" y="3778"/>
                </a:lnTo>
                <a:lnTo>
                  <a:pt x="5392" y="3796"/>
                </a:lnTo>
                <a:lnTo>
                  <a:pt x="5355" y="3815"/>
                </a:lnTo>
                <a:lnTo>
                  <a:pt x="5319" y="3837"/>
                </a:lnTo>
                <a:lnTo>
                  <a:pt x="5284" y="3859"/>
                </a:lnTo>
                <a:lnTo>
                  <a:pt x="5250" y="3885"/>
                </a:lnTo>
                <a:lnTo>
                  <a:pt x="5218" y="3911"/>
                </a:lnTo>
                <a:lnTo>
                  <a:pt x="5187" y="3940"/>
                </a:lnTo>
                <a:lnTo>
                  <a:pt x="5156" y="3968"/>
                </a:lnTo>
                <a:lnTo>
                  <a:pt x="5127" y="3999"/>
                </a:lnTo>
                <a:lnTo>
                  <a:pt x="5100" y="4031"/>
                </a:lnTo>
                <a:lnTo>
                  <a:pt x="5075" y="4065"/>
                </a:lnTo>
                <a:lnTo>
                  <a:pt x="5051" y="4100"/>
                </a:lnTo>
                <a:lnTo>
                  <a:pt x="5028" y="4136"/>
                </a:lnTo>
                <a:lnTo>
                  <a:pt x="5008" y="4172"/>
                </a:lnTo>
                <a:lnTo>
                  <a:pt x="4989" y="4210"/>
                </a:lnTo>
                <a:lnTo>
                  <a:pt x="4971" y="4249"/>
                </a:lnTo>
                <a:lnTo>
                  <a:pt x="4956" y="4289"/>
                </a:lnTo>
                <a:lnTo>
                  <a:pt x="4942" y="4331"/>
                </a:lnTo>
                <a:lnTo>
                  <a:pt x="4931" y="4373"/>
                </a:lnTo>
                <a:lnTo>
                  <a:pt x="4921" y="4416"/>
                </a:lnTo>
                <a:lnTo>
                  <a:pt x="4913" y="4459"/>
                </a:lnTo>
                <a:lnTo>
                  <a:pt x="4908" y="4503"/>
                </a:lnTo>
                <a:lnTo>
                  <a:pt x="4905" y="4547"/>
                </a:lnTo>
                <a:lnTo>
                  <a:pt x="4903" y="4592"/>
                </a:lnTo>
                <a:lnTo>
                  <a:pt x="4903" y="7417"/>
                </a:lnTo>
                <a:lnTo>
                  <a:pt x="3995" y="7417"/>
                </a:lnTo>
                <a:lnTo>
                  <a:pt x="3319" y="7417"/>
                </a:lnTo>
                <a:lnTo>
                  <a:pt x="135" y="7417"/>
                </a:lnTo>
                <a:lnTo>
                  <a:pt x="7" y="9434"/>
                </a:lnTo>
                <a:lnTo>
                  <a:pt x="5" y="9487"/>
                </a:lnTo>
                <a:lnTo>
                  <a:pt x="3" y="9555"/>
                </a:lnTo>
                <a:lnTo>
                  <a:pt x="2" y="9637"/>
                </a:lnTo>
                <a:lnTo>
                  <a:pt x="1" y="9729"/>
                </a:lnTo>
                <a:lnTo>
                  <a:pt x="0" y="9833"/>
                </a:lnTo>
                <a:lnTo>
                  <a:pt x="0" y="9945"/>
                </a:lnTo>
                <a:lnTo>
                  <a:pt x="0" y="10064"/>
                </a:lnTo>
                <a:lnTo>
                  <a:pt x="1" y="10189"/>
                </a:lnTo>
                <a:lnTo>
                  <a:pt x="1" y="10318"/>
                </a:lnTo>
                <a:lnTo>
                  <a:pt x="2" y="10451"/>
                </a:lnTo>
                <a:lnTo>
                  <a:pt x="3" y="10584"/>
                </a:lnTo>
                <a:lnTo>
                  <a:pt x="4" y="10718"/>
                </a:lnTo>
                <a:lnTo>
                  <a:pt x="4" y="10850"/>
                </a:lnTo>
                <a:lnTo>
                  <a:pt x="5" y="10979"/>
                </a:lnTo>
                <a:lnTo>
                  <a:pt x="5" y="11103"/>
                </a:lnTo>
                <a:lnTo>
                  <a:pt x="5" y="11221"/>
                </a:lnTo>
                <a:close/>
                <a:moveTo>
                  <a:pt x="2438" y="303"/>
                </a:moveTo>
                <a:lnTo>
                  <a:pt x="2436" y="286"/>
                </a:lnTo>
                <a:lnTo>
                  <a:pt x="2434" y="271"/>
                </a:lnTo>
                <a:lnTo>
                  <a:pt x="2431" y="256"/>
                </a:lnTo>
                <a:lnTo>
                  <a:pt x="2428" y="240"/>
                </a:lnTo>
                <a:lnTo>
                  <a:pt x="2423" y="226"/>
                </a:lnTo>
                <a:lnTo>
                  <a:pt x="2418" y="211"/>
                </a:lnTo>
                <a:lnTo>
                  <a:pt x="2413" y="197"/>
                </a:lnTo>
                <a:lnTo>
                  <a:pt x="2407" y="183"/>
                </a:lnTo>
                <a:lnTo>
                  <a:pt x="2400" y="169"/>
                </a:lnTo>
                <a:lnTo>
                  <a:pt x="2393" y="156"/>
                </a:lnTo>
                <a:lnTo>
                  <a:pt x="2385" y="144"/>
                </a:lnTo>
                <a:lnTo>
                  <a:pt x="2376" y="131"/>
                </a:lnTo>
                <a:lnTo>
                  <a:pt x="2368" y="120"/>
                </a:lnTo>
                <a:lnTo>
                  <a:pt x="2358" y="108"/>
                </a:lnTo>
                <a:lnTo>
                  <a:pt x="2348" y="97"/>
                </a:lnTo>
                <a:lnTo>
                  <a:pt x="2338" y="87"/>
                </a:lnTo>
                <a:lnTo>
                  <a:pt x="2327" y="77"/>
                </a:lnTo>
                <a:lnTo>
                  <a:pt x="2315" y="68"/>
                </a:lnTo>
                <a:lnTo>
                  <a:pt x="2304" y="58"/>
                </a:lnTo>
                <a:lnTo>
                  <a:pt x="2291" y="50"/>
                </a:lnTo>
                <a:lnTo>
                  <a:pt x="2279" y="43"/>
                </a:lnTo>
                <a:lnTo>
                  <a:pt x="2266" y="36"/>
                </a:lnTo>
                <a:lnTo>
                  <a:pt x="2253" y="29"/>
                </a:lnTo>
                <a:lnTo>
                  <a:pt x="2239" y="24"/>
                </a:lnTo>
                <a:lnTo>
                  <a:pt x="2225" y="17"/>
                </a:lnTo>
                <a:lnTo>
                  <a:pt x="2210" y="13"/>
                </a:lnTo>
                <a:lnTo>
                  <a:pt x="2196" y="9"/>
                </a:lnTo>
                <a:lnTo>
                  <a:pt x="2181" y="6"/>
                </a:lnTo>
                <a:lnTo>
                  <a:pt x="2166" y="3"/>
                </a:lnTo>
                <a:lnTo>
                  <a:pt x="2151" y="1"/>
                </a:lnTo>
                <a:lnTo>
                  <a:pt x="2135" y="0"/>
                </a:lnTo>
                <a:lnTo>
                  <a:pt x="2120" y="0"/>
                </a:lnTo>
                <a:lnTo>
                  <a:pt x="905" y="0"/>
                </a:lnTo>
                <a:lnTo>
                  <a:pt x="890" y="0"/>
                </a:lnTo>
                <a:lnTo>
                  <a:pt x="874" y="1"/>
                </a:lnTo>
                <a:lnTo>
                  <a:pt x="859" y="3"/>
                </a:lnTo>
                <a:lnTo>
                  <a:pt x="844" y="6"/>
                </a:lnTo>
                <a:lnTo>
                  <a:pt x="829" y="9"/>
                </a:lnTo>
                <a:lnTo>
                  <a:pt x="815" y="13"/>
                </a:lnTo>
                <a:lnTo>
                  <a:pt x="801" y="17"/>
                </a:lnTo>
                <a:lnTo>
                  <a:pt x="787" y="24"/>
                </a:lnTo>
                <a:lnTo>
                  <a:pt x="773" y="29"/>
                </a:lnTo>
                <a:lnTo>
                  <a:pt x="760" y="36"/>
                </a:lnTo>
                <a:lnTo>
                  <a:pt x="747" y="43"/>
                </a:lnTo>
                <a:lnTo>
                  <a:pt x="733" y="50"/>
                </a:lnTo>
                <a:lnTo>
                  <a:pt x="721" y="58"/>
                </a:lnTo>
                <a:lnTo>
                  <a:pt x="710" y="68"/>
                </a:lnTo>
                <a:lnTo>
                  <a:pt x="698" y="77"/>
                </a:lnTo>
                <a:lnTo>
                  <a:pt x="687" y="87"/>
                </a:lnTo>
                <a:lnTo>
                  <a:pt x="677" y="97"/>
                </a:lnTo>
                <a:lnTo>
                  <a:pt x="667" y="108"/>
                </a:lnTo>
                <a:lnTo>
                  <a:pt x="657" y="120"/>
                </a:lnTo>
                <a:lnTo>
                  <a:pt x="648" y="131"/>
                </a:lnTo>
                <a:lnTo>
                  <a:pt x="640" y="144"/>
                </a:lnTo>
                <a:lnTo>
                  <a:pt x="632" y="156"/>
                </a:lnTo>
                <a:lnTo>
                  <a:pt x="625" y="169"/>
                </a:lnTo>
                <a:lnTo>
                  <a:pt x="618" y="183"/>
                </a:lnTo>
                <a:lnTo>
                  <a:pt x="612" y="197"/>
                </a:lnTo>
                <a:lnTo>
                  <a:pt x="606" y="211"/>
                </a:lnTo>
                <a:lnTo>
                  <a:pt x="602" y="226"/>
                </a:lnTo>
                <a:lnTo>
                  <a:pt x="597" y="240"/>
                </a:lnTo>
                <a:lnTo>
                  <a:pt x="594" y="256"/>
                </a:lnTo>
                <a:lnTo>
                  <a:pt x="591" y="271"/>
                </a:lnTo>
                <a:lnTo>
                  <a:pt x="589" y="286"/>
                </a:lnTo>
                <a:lnTo>
                  <a:pt x="587" y="303"/>
                </a:lnTo>
                <a:lnTo>
                  <a:pt x="179" y="6724"/>
                </a:lnTo>
                <a:lnTo>
                  <a:pt x="2846" y="6724"/>
                </a:lnTo>
                <a:lnTo>
                  <a:pt x="2438" y="303"/>
                </a:lnTo>
                <a:close/>
                <a:moveTo>
                  <a:pt x="7073" y="15874"/>
                </a:moveTo>
                <a:lnTo>
                  <a:pt x="7089" y="15868"/>
                </a:lnTo>
                <a:lnTo>
                  <a:pt x="7107" y="15862"/>
                </a:lnTo>
                <a:lnTo>
                  <a:pt x="7127" y="15856"/>
                </a:lnTo>
                <a:lnTo>
                  <a:pt x="7150" y="15848"/>
                </a:lnTo>
                <a:lnTo>
                  <a:pt x="7174" y="15840"/>
                </a:lnTo>
                <a:lnTo>
                  <a:pt x="7199" y="15832"/>
                </a:lnTo>
                <a:lnTo>
                  <a:pt x="7224" y="15824"/>
                </a:lnTo>
                <a:lnTo>
                  <a:pt x="7250" y="15815"/>
                </a:lnTo>
                <a:lnTo>
                  <a:pt x="7276" y="15805"/>
                </a:lnTo>
                <a:lnTo>
                  <a:pt x="7301" y="15796"/>
                </a:lnTo>
                <a:lnTo>
                  <a:pt x="7326" y="15788"/>
                </a:lnTo>
                <a:lnTo>
                  <a:pt x="7350" y="15780"/>
                </a:lnTo>
                <a:lnTo>
                  <a:pt x="7373" y="15771"/>
                </a:lnTo>
                <a:lnTo>
                  <a:pt x="7393" y="15764"/>
                </a:lnTo>
                <a:lnTo>
                  <a:pt x="7411" y="15758"/>
                </a:lnTo>
                <a:lnTo>
                  <a:pt x="7427" y="15752"/>
                </a:lnTo>
                <a:lnTo>
                  <a:pt x="7431" y="15770"/>
                </a:lnTo>
                <a:lnTo>
                  <a:pt x="7435" y="15788"/>
                </a:lnTo>
                <a:lnTo>
                  <a:pt x="7439" y="15804"/>
                </a:lnTo>
                <a:lnTo>
                  <a:pt x="7445" y="15821"/>
                </a:lnTo>
                <a:lnTo>
                  <a:pt x="7450" y="15836"/>
                </a:lnTo>
                <a:lnTo>
                  <a:pt x="7456" y="15852"/>
                </a:lnTo>
                <a:lnTo>
                  <a:pt x="7463" y="15867"/>
                </a:lnTo>
                <a:lnTo>
                  <a:pt x="7471" y="15881"/>
                </a:lnTo>
                <a:lnTo>
                  <a:pt x="7478" y="15895"/>
                </a:lnTo>
                <a:lnTo>
                  <a:pt x="7487" y="15908"/>
                </a:lnTo>
                <a:lnTo>
                  <a:pt x="7496" y="15920"/>
                </a:lnTo>
                <a:lnTo>
                  <a:pt x="7505" y="15933"/>
                </a:lnTo>
                <a:lnTo>
                  <a:pt x="7515" y="15944"/>
                </a:lnTo>
                <a:lnTo>
                  <a:pt x="7526" y="15955"/>
                </a:lnTo>
                <a:lnTo>
                  <a:pt x="7537" y="15966"/>
                </a:lnTo>
                <a:lnTo>
                  <a:pt x="7549" y="15977"/>
                </a:lnTo>
                <a:lnTo>
                  <a:pt x="7561" y="15986"/>
                </a:lnTo>
                <a:lnTo>
                  <a:pt x="7573" y="15995"/>
                </a:lnTo>
                <a:lnTo>
                  <a:pt x="7585" y="16003"/>
                </a:lnTo>
                <a:lnTo>
                  <a:pt x="7598" y="16011"/>
                </a:lnTo>
                <a:lnTo>
                  <a:pt x="7611" y="16018"/>
                </a:lnTo>
                <a:lnTo>
                  <a:pt x="7625" y="16025"/>
                </a:lnTo>
                <a:lnTo>
                  <a:pt x="7639" y="16030"/>
                </a:lnTo>
                <a:lnTo>
                  <a:pt x="7653" y="16035"/>
                </a:lnTo>
                <a:lnTo>
                  <a:pt x="7667" y="16040"/>
                </a:lnTo>
                <a:lnTo>
                  <a:pt x="7681" y="16044"/>
                </a:lnTo>
                <a:lnTo>
                  <a:pt x="7696" y="16048"/>
                </a:lnTo>
                <a:lnTo>
                  <a:pt x="7711" y="16051"/>
                </a:lnTo>
                <a:lnTo>
                  <a:pt x="7727" y="16053"/>
                </a:lnTo>
                <a:lnTo>
                  <a:pt x="7743" y="16055"/>
                </a:lnTo>
                <a:lnTo>
                  <a:pt x="7759" y="16055"/>
                </a:lnTo>
                <a:lnTo>
                  <a:pt x="7775" y="16056"/>
                </a:lnTo>
                <a:lnTo>
                  <a:pt x="7793" y="16055"/>
                </a:lnTo>
                <a:lnTo>
                  <a:pt x="7811" y="16054"/>
                </a:lnTo>
                <a:lnTo>
                  <a:pt x="7828" y="16052"/>
                </a:lnTo>
                <a:lnTo>
                  <a:pt x="7845" y="16050"/>
                </a:lnTo>
                <a:lnTo>
                  <a:pt x="7861" y="16045"/>
                </a:lnTo>
                <a:lnTo>
                  <a:pt x="7877" y="16041"/>
                </a:lnTo>
                <a:lnTo>
                  <a:pt x="7892" y="16037"/>
                </a:lnTo>
                <a:lnTo>
                  <a:pt x="7906" y="16031"/>
                </a:lnTo>
                <a:lnTo>
                  <a:pt x="7921" y="16025"/>
                </a:lnTo>
                <a:lnTo>
                  <a:pt x="7934" y="16018"/>
                </a:lnTo>
                <a:lnTo>
                  <a:pt x="7948" y="16010"/>
                </a:lnTo>
                <a:lnTo>
                  <a:pt x="7960" y="16000"/>
                </a:lnTo>
                <a:lnTo>
                  <a:pt x="7972" y="15991"/>
                </a:lnTo>
                <a:lnTo>
                  <a:pt x="7984" y="15981"/>
                </a:lnTo>
                <a:lnTo>
                  <a:pt x="7995" y="15971"/>
                </a:lnTo>
                <a:lnTo>
                  <a:pt x="8006" y="15958"/>
                </a:lnTo>
                <a:lnTo>
                  <a:pt x="8016" y="15946"/>
                </a:lnTo>
                <a:lnTo>
                  <a:pt x="8026" y="15933"/>
                </a:lnTo>
                <a:lnTo>
                  <a:pt x="8034" y="15919"/>
                </a:lnTo>
                <a:lnTo>
                  <a:pt x="8043" y="15906"/>
                </a:lnTo>
                <a:lnTo>
                  <a:pt x="8050" y="15891"/>
                </a:lnTo>
                <a:lnTo>
                  <a:pt x="8057" y="15876"/>
                </a:lnTo>
                <a:lnTo>
                  <a:pt x="8063" y="15861"/>
                </a:lnTo>
                <a:lnTo>
                  <a:pt x="8069" y="15844"/>
                </a:lnTo>
                <a:lnTo>
                  <a:pt x="8074" y="15828"/>
                </a:lnTo>
                <a:lnTo>
                  <a:pt x="8078" y="15810"/>
                </a:lnTo>
                <a:lnTo>
                  <a:pt x="8081" y="15793"/>
                </a:lnTo>
                <a:lnTo>
                  <a:pt x="8084" y="15775"/>
                </a:lnTo>
                <a:lnTo>
                  <a:pt x="8087" y="15756"/>
                </a:lnTo>
                <a:lnTo>
                  <a:pt x="8088" y="15737"/>
                </a:lnTo>
                <a:lnTo>
                  <a:pt x="8089" y="15717"/>
                </a:lnTo>
                <a:lnTo>
                  <a:pt x="8090" y="15697"/>
                </a:lnTo>
                <a:lnTo>
                  <a:pt x="8089" y="15661"/>
                </a:lnTo>
                <a:lnTo>
                  <a:pt x="8086" y="15626"/>
                </a:lnTo>
                <a:lnTo>
                  <a:pt x="8081" y="15592"/>
                </a:lnTo>
                <a:lnTo>
                  <a:pt x="8075" y="15559"/>
                </a:lnTo>
                <a:lnTo>
                  <a:pt x="8071" y="15544"/>
                </a:lnTo>
                <a:lnTo>
                  <a:pt x="8066" y="15528"/>
                </a:lnTo>
                <a:lnTo>
                  <a:pt x="8061" y="15514"/>
                </a:lnTo>
                <a:lnTo>
                  <a:pt x="8055" y="15500"/>
                </a:lnTo>
                <a:lnTo>
                  <a:pt x="8048" y="15486"/>
                </a:lnTo>
                <a:lnTo>
                  <a:pt x="8041" y="15473"/>
                </a:lnTo>
                <a:lnTo>
                  <a:pt x="8033" y="15460"/>
                </a:lnTo>
                <a:lnTo>
                  <a:pt x="8024" y="15447"/>
                </a:lnTo>
                <a:lnTo>
                  <a:pt x="8015" y="15435"/>
                </a:lnTo>
                <a:lnTo>
                  <a:pt x="8005" y="15425"/>
                </a:lnTo>
                <a:lnTo>
                  <a:pt x="7994" y="15413"/>
                </a:lnTo>
                <a:lnTo>
                  <a:pt x="7982" y="15404"/>
                </a:lnTo>
                <a:lnTo>
                  <a:pt x="7970" y="15395"/>
                </a:lnTo>
                <a:lnTo>
                  <a:pt x="7957" y="15386"/>
                </a:lnTo>
                <a:lnTo>
                  <a:pt x="7943" y="15377"/>
                </a:lnTo>
                <a:lnTo>
                  <a:pt x="7929" y="15370"/>
                </a:lnTo>
                <a:lnTo>
                  <a:pt x="7914" y="15364"/>
                </a:lnTo>
                <a:lnTo>
                  <a:pt x="7898" y="15358"/>
                </a:lnTo>
                <a:lnTo>
                  <a:pt x="7881" y="15353"/>
                </a:lnTo>
                <a:lnTo>
                  <a:pt x="7863" y="15349"/>
                </a:lnTo>
                <a:lnTo>
                  <a:pt x="7844" y="15346"/>
                </a:lnTo>
                <a:lnTo>
                  <a:pt x="7824" y="15344"/>
                </a:lnTo>
                <a:lnTo>
                  <a:pt x="7803" y="15343"/>
                </a:lnTo>
                <a:lnTo>
                  <a:pt x="7781" y="15342"/>
                </a:lnTo>
                <a:lnTo>
                  <a:pt x="7604" y="15342"/>
                </a:lnTo>
                <a:lnTo>
                  <a:pt x="7604" y="15015"/>
                </a:lnTo>
                <a:lnTo>
                  <a:pt x="7785" y="15015"/>
                </a:lnTo>
                <a:lnTo>
                  <a:pt x="7802" y="15015"/>
                </a:lnTo>
                <a:lnTo>
                  <a:pt x="7818" y="15014"/>
                </a:lnTo>
                <a:lnTo>
                  <a:pt x="7834" y="15012"/>
                </a:lnTo>
                <a:lnTo>
                  <a:pt x="7850" y="15010"/>
                </a:lnTo>
                <a:lnTo>
                  <a:pt x="7865" y="15007"/>
                </a:lnTo>
                <a:lnTo>
                  <a:pt x="7880" y="15003"/>
                </a:lnTo>
                <a:lnTo>
                  <a:pt x="7894" y="14999"/>
                </a:lnTo>
                <a:lnTo>
                  <a:pt x="7908" y="14994"/>
                </a:lnTo>
                <a:lnTo>
                  <a:pt x="7921" y="14988"/>
                </a:lnTo>
                <a:lnTo>
                  <a:pt x="7934" y="14982"/>
                </a:lnTo>
                <a:lnTo>
                  <a:pt x="7946" y="14975"/>
                </a:lnTo>
                <a:lnTo>
                  <a:pt x="7958" y="14968"/>
                </a:lnTo>
                <a:lnTo>
                  <a:pt x="7970" y="14960"/>
                </a:lnTo>
                <a:lnTo>
                  <a:pt x="7981" y="14951"/>
                </a:lnTo>
                <a:lnTo>
                  <a:pt x="7991" y="14941"/>
                </a:lnTo>
                <a:lnTo>
                  <a:pt x="8001" y="14931"/>
                </a:lnTo>
                <a:lnTo>
                  <a:pt x="8011" y="14920"/>
                </a:lnTo>
                <a:lnTo>
                  <a:pt x="8020" y="14908"/>
                </a:lnTo>
                <a:lnTo>
                  <a:pt x="8028" y="14896"/>
                </a:lnTo>
                <a:lnTo>
                  <a:pt x="8036" y="14884"/>
                </a:lnTo>
                <a:lnTo>
                  <a:pt x="8043" y="14870"/>
                </a:lnTo>
                <a:lnTo>
                  <a:pt x="8049" y="14857"/>
                </a:lnTo>
                <a:lnTo>
                  <a:pt x="8055" y="14843"/>
                </a:lnTo>
                <a:lnTo>
                  <a:pt x="8060" y="14827"/>
                </a:lnTo>
                <a:lnTo>
                  <a:pt x="8065" y="14812"/>
                </a:lnTo>
                <a:lnTo>
                  <a:pt x="8069" y="14796"/>
                </a:lnTo>
                <a:lnTo>
                  <a:pt x="8072" y="14779"/>
                </a:lnTo>
                <a:lnTo>
                  <a:pt x="8075" y="14762"/>
                </a:lnTo>
                <a:lnTo>
                  <a:pt x="8077" y="14744"/>
                </a:lnTo>
                <a:lnTo>
                  <a:pt x="8079" y="14726"/>
                </a:lnTo>
                <a:lnTo>
                  <a:pt x="8080" y="14706"/>
                </a:lnTo>
                <a:lnTo>
                  <a:pt x="8080" y="14687"/>
                </a:lnTo>
                <a:lnTo>
                  <a:pt x="8080" y="14671"/>
                </a:lnTo>
                <a:lnTo>
                  <a:pt x="8079" y="14656"/>
                </a:lnTo>
                <a:lnTo>
                  <a:pt x="8077" y="14641"/>
                </a:lnTo>
                <a:lnTo>
                  <a:pt x="8075" y="14625"/>
                </a:lnTo>
                <a:lnTo>
                  <a:pt x="8073" y="14611"/>
                </a:lnTo>
                <a:lnTo>
                  <a:pt x="8069" y="14598"/>
                </a:lnTo>
                <a:lnTo>
                  <a:pt x="8065" y="14584"/>
                </a:lnTo>
                <a:lnTo>
                  <a:pt x="8061" y="14571"/>
                </a:lnTo>
                <a:lnTo>
                  <a:pt x="8056" y="14557"/>
                </a:lnTo>
                <a:lnTo>
                  <a:pt x="8050" y="14545"/>
                </a:lnTo>
                <a:lnTo>
                  <a:pt x="8044" y="14533"/>
                </a:lnTo>
                <a:lnTo>
                  <a:pt x="8037" y="14522"/>
                </a:lnTo>
                <a:lnTo>
                  <a:pt x="8030" y="14510"/>
                </a:lnTo>
                <a:lnTo>
                  <a:pt x="8022" y="14499"/>
                </a:lnTo>
                <a:lnTo>
                  <a:pt x="8014" y="14489"/>
                </a:lnTo>
                <a:lnTo>
                  <a:pt x="8004" y="14478"/>
                </a:lnTo>
                <a:lnTo>
                  <a:pt x="7995" y="14469"/>
                </a:lnTo>
                <a:lnTo>
                  <a:pt x="7985" y="14460"/>
                </a:lnTo>
                <a:lnTo>
                  <a:pt x="7974" y="14452"/>
                </a:lnTo>
                <a:lnTo>
                  <a:pt x="7963" y="14444"/>
                </a:lnTo>
                <a:lnTo>
                  <a:pt x="7951" y="14436"/>
                </a:lnTo>
                <a:lnTo>
                  <a:pt x="7939" y="14430"/>
                </a:lnTo>
                <a:lnTo>
                  <a:pt x="7926" y="14424"/>
                </a:lnTo>
                <a:lnTo>
                  <a:pt x="7913" y="14419"/>
                </a:lnTo>
                <a:lnTo>
                  <a:pt x="7900" y="14415"/>
                </a:lnTo>
                <a:lnTo>
                  <a:pt x="7886" y="14411"/>
                </a:lnTo>
                <a:lnTo>
                  <a:pt x="7871" y="14407"/>
                </a:lnTo>
                <a:lnTo>
                  <a:pt x="7856" y="14405"/>
                </a:lnTo>
                <a:lnTo>
                  <a:pt x="7841" y="14402"/>
                </a:lnTo>
                <a:lnTo>
                  <a:pt x="7825" y="14400"/>
                </a:lnTo>
                <a:lnTo>
                  <a:pt x="7808" y="14399"/>
                </a:lnTo>
                <a:lnTo>
                  <a:pt x="7791" y="14399"/>
                </a:lnTo>
                <a:lnTo>
                  <a:pt x="7775" y="14399"/>
                </a:lnTo>
                <a:lnTo>
                  <a:pt x="7758" y="14400"/>
                </a:lnTo>
                <a:lnTo>
                  <a:pt x="7742" y="14403"/>
                </a:lnTo>
                <a:lnTo>
                  <a:pt x="7727" y="14405"/>
                </a:lnTo>
                <a:lnTo>
                  <a:pt x="7712" y="14407"/>
                </a:lnTo>
                <a:lnTo>
                  <a:pt x="7697" y="14411"/>
                </a:lnTo>
                <a:lnTo>
                  <a:pt x="7683" y="14415"/>
                </a:lnTo>
                <a:lnTo>
                  <a:pt x="7669" y="14419"/>
                </a:lnTo>
                <a:lnTo>
                  <a:pt x="7655" y="14425"/>
                </a:lnTo>
                <a:lnTo>
                  <a:pt x="7642" y="14431"/>
                </a:lnTo>
                <a:lnTo>
                  <a:pt x="7629" y="14437"/>
                </a:lnTo>
                <a:lnTo>
                  <a:pt x="7616" y="14445"/>
                </a:lnTo>
                <a:lnTo>
                  <a:pt x="7604" y="14453"/>
                </a:lnTo>
                <a:lnTo>
                  <a:pt x="7592" y="14461"/>
                </a:lnTo>
                <a:lnTo>
                  <a:pt x="7581" y="14470"/>
                </a:lnTo>
                <a:lnTo>
                  <a:pt x="7570" y="14481"/>
                </a:lnTo>
                <a:lnTo>
                  <a:pt x="7559" y="14491"/>
                </a:lnTo>
                <a:lnTo>
                  <a:pt x="7549" y="14501"/>
                </a:lnTo>
                <a:lnTo>
                  <a:pt x="7539" y="14512"/>
                </a:lnTo>
                <a:lnTo>
                  <a:pt x="7530" y="14524"/>
                </a:lnTo>
                <a:lnTo>
                  <a:pt x="7521" y="14535"/>
                </a:lnTo>
                <a:lnTo>
                  <a:pt x="7512" y="14547"/>
                </a:lnTo>
                <a:lnTo>
                  <a:pt x="7504" y="14560"/>
                </a:lnTo>
                <a:lnTo>
                  <a:pt x="7496" y="14573"/>
                </a:lnTo>
                <a:lnTo>
                  <a:pt x="7489" y="14586"/>
                </a:lnTo>
                <a:lnTo>
                  <a:pt x="7482" y="14600"/>
                </a:lnTo>
                <a:lnTo>
                  <a:pt x="7476" y="14613"/>
                </a:lnTo>
                <a:lnTo>
                  <a:pt x="7470" y="14627"/>
                </a:lnTo>
                <a:lnTo>
                  <a:pt x="7464" y="14643"/>
                </a:lnTo>
                <a:lnTo>
                  <a:pt x="7459" y="14657"/>
                </a:lnTo>
                <a:lnTo>
                  <a:pt x="7454" y="14672"/>
                </a:lnTo>
                <a:lnTo>
                  <a:pt x="7450" y="14689"/>
                </a:lnTo>
                <a:lnTo>
                  <a:pt x="7106" y="14561"/>
                </a:lnTo>
                <a:lnTo>
                  <a:pt x="7113" y="14531"/>
                </a:lnTo>
                <a:lnTo>
                  <a:pt x="7121" y="14502"/>
                </a:lnTo>
                <a:lnTo>
                  <a:pt x="7131" y="14473"/>
                </a:lnTo>
                <a:lnTo>
                  <a:pt x="7141" y="14447"/>
                </a:lnTo>
                <a:lnTo>
                  <a:pt x="7153" y="14420"/>
                </a:lnTo>
                <a:lnTo>
                  <a:pt x="7165" y="14393"/>
                </a:lnTo>
                <a:lnTo>
                  <a:pt x="7178" y="14369"/>
                </a:lnTo>
                <a:lnTo>
                  <a:pt x="7192" y="14344"/>
                </a:lnTo>
                <a:lnTo>
                  <a:pt x="7207" y="14320"/>
                </a:lnTo>
                <a:lnTo>
                  <a:pt x="7223" y="14298"/>
                </a:lnTo>
                <a:lnTo>
                  <a:pt x="7241" y="14276"/>
                </a:lnTo>
                <a:lnTo>
                  <a:pt x="7259" y="14255"/>
                </a:lnTo>
                <a:lnTo>
                  <a:pt x="7277" y="14234"/>
                </a:lnTo>
                <a:lnTo>
                  <a:pt x="7297" y="14215"/>
                </a:lnTo>
                <a:lnTo>
                  <a:pt x="7318" y="14195"/>
                </a:lnTo>
                <a:lnTo>
                  <a:pt x="7340" y="14178"/>
                </a:lnTo>
                <a:lnTo>
                  <a:pt x="7363" y="14160"/>
                </a:lnTo>
                <a:lnTo>
                  <a:pt x="7386" y="14144"/>
                </a:lnTo>
                <a:lnTo>
                  <a:pt x="7411" y="14130"/>
                </a:lnTo>
                <a:lnTo>
                  <a:pt x="7436" y="14115"/>
                </a:lnTo>
                <a:lnTo>
                  <a:pt x="7462" y="14103"/>
                </a:lnTo>
                <a:lnTo>
                  <a:pt x="7488" y="14091"/>
                </a:lnTo>
                <a:lnTo>
                  <a:pt x="7516" y="14080"/>
                </a:lnTo>
                <a:lnTo>
                  <a:pt x="7544" y="14071"/>
                </a:lnTo>
                <a:lnTo>
                  <a:pt x="7573" y="14063"/>
                </a:lnTo>
                <a:lnTo>
                  <a:pt x="7603" y="14056"/>
                </a:lnTo>
                <a:lnTo>
                  <a:pt x="7633" y="14050"/>
                </a:lnTo>
                <a:lnTo>
                  <a:pt x="7665" y="14044"/>
                </a:lnTo>
                <a:lnTo>
                  <a:pt x="7697" y="14040"/>
                </a:lnTo>
                <a:lnTo>
                  <a:pt x="7730" y="14038"/>
                </a:lnTo>
                <a:lnTo>
                  <a:pt x="7763" y="14036"/>
                </a:lnTo>
                <a:lnTo>
                  <a:pt x="7798" y="14035"/>
                </a:lnTo>
                <a:lnTo>
                  <a:pt x="7837" y="14036"/>
                </a:lnTo>
                <a:lnTo>
                  <a:pt x="7875" y="14038"/>
                </a:lnTo>
                <a:lnTo>
                  <a:pt x="7912" y="14041"/>
                </a:lnTo>
                <a:lnTo>
                  <a:pt x="7948" y="14045"/>
                </a:lnTo>
                <a:lnTo>
                  <a:pt x="7982" y="14051"/>
                </a:lnTo>
                <a:lnTo>
                  <a:pt x="8016" y="14058"/>
                </a:lnTo>
                <a:lnTo>
                  <a:pt x="8048" y="14066"/>
                </a:lnTo>
                <a:lnTo>
                  <a:pt x="8079" y="14075"/>
                </a:lnTo>
                <a:lnTo>
                  <a:pt x="8109" y="14085"/>
                </a:lnTo>
                <a:lnTo>
                  <a:pt x="8139" y="14098"/>
                </a:lnTo>
                <a:lnTo>
                  <a:pt x="8167" y="14110"/>
                </a:lnTo>
                <a:lnTo>
                  <a:pt x="8193" y="14124"/>
                </a:lnTo>
                <a:lnTo>
                  <a:pt x="8218" y="14140"/>
                </a:lnTo>
                <a:lnTo>
                  <a:pt x="8243" y="14157"/>
                </a:lnTo>
                <a:lnTo>
                  <a:pt x="8266" y="14175"/>
                </a:lnTo>
                <a:lnTo>
                  <a:pt x="8288" y="14194"/>
                </a:lnTo>
                <a:lnTo>
                  <a:pt x="8308" y="14215"/>
                </a:lnTo>
                <a:lnTo>
                  <a:pt x="8327" y="14236"/>
                </a:lnTo>
                <a:lnTo>
                  <a:pt x="8345" y="14259"/>
                </a:lnTo>
                <a:lnTo>
                  <a:pt x="8362" y="14282"/>
                </a:lnTo>
                <a:lnTo>
                  <a:pt x="8377" y="14307"/>
                </a:lnTo>
                <a:lnTo>
                  <a:pt x="8391" y="14334"/>
                </a:lnTo>
                <a:lnTo>
                  <a:pt x="8404" y="14360"/>
                </a:lnTo>
                <a:lnTo>
                  <a:pt x="8415" y="14389"/>
                </a:lnTo>
                <a:lnTo>
                  <a:pt x="8425" y="14419"/>
                </a:lnTo>
                <a:lnTo>
                  <a:pt x="8434" y="14450"/>
                </a:lnTo>
                <a:lnTo>
                  <a:pt x="8441" y="14482"/>
                </a:lnTo>
                <a:lnTo>
                  <a:pt x="8447" y="14514"/>
                </a:lnTo>
                <a:lnTo>
                  <a:pt x="8452" y="14548"/>
                </a:lnTo>
                <a:lnTo>
                  <a:pt x="8455" y="14584"/>
                </a:lnTo>
                <a:lnTo>
                  <a:pt x="8457" y="14621"/>
                </a:lnTo>
                <a:lnTo>
                  <a:pt x="8458" y="14658"/>
                </a:lnTo>
                <a:lnTo>
                  <a:pt x="8457" y="14688"/>
                </a:lnTo>
                <a:lnTo>
                  <a:pt x="8455" y="14720"/>
                </a:lnTo>
                <a:lnTo>
                  <a:pt x="8452" y="14753"/>
                </a:lnTo>
                <a:lnTo>
                  <a:pt x="8447" y="14789"/>
                </a:lnTo>
                <a:lnTo>
                  <a:pt x="8443" y="14808"/>
                </a:lnTo>
                <a:lnTo>
                  <a:pt x="8440" y="14826"/>
                </a:lnTo>
                <a:lnTo>
                  <a:pt x="8436" y="14845"/>
                </a:lnTo>
                <a:lnTo>
                  <a:pt x="8431" y="14863"/>
                </a:lnTo>
                <a:lnTo>
                  <a:pt x="8420" y="14900"/>
                </a:lnTo>
                <a:lnTo>
                  <a:pt x="8407" y="14936"/>
                </a:lnTo>
                <a:lnTo>
                  <a:pt x="8400" y="14954"/>
                </a:lnTo>
                <a:lnTo>
                  <a:pt x="8392" y="14972"/>
                </a:lnTo>
                <a:lnTo>
                  <a:pt x="8383" y="14988"/>
                </a:lnTo>
                <a:lnTo>
                  <a:pt x="8374" y="15006"/>
                </a:lnTo>
                <a:lnTo>
                  <a:pt x="8363" y="15022"/>
                </a:lnTo>
                <a:lnTo>
                  <a:pt x="8352" y="15039"/>
                </a:lnTo>
                <a:lnTo>
                  <a:pt x="8341" y="15055"/>
                </a:lnTo>
                <a:lnTo>
                  <a:pt x="8329" y="15071"/>
                </a:lnTo>
                <a:lnTo>
                  <a:pt x="8315" y="15086"/>
                </a:lnTo>
                <a:lnTo>
                  <a:pt x="8301" y="15100"/>
                </a:lnTo>
                <a:lnTo>
                  <a:pt x="8286" y="15114"/>
                </a:lnTo>
                <a:lnTo>
                  <a:pt x="8271" y="15126"/>
                </a:lnTo>
                <a:lnTo>
                  <a:pt x="8254" y="15137"/>
                </a:lnTo>
                <a:lnTo>
                  <a:pt x="8237" y="15149"/>
                </a:lnTo>
                <a:lnTo>
                  <a:pt x="8218" y="15158"/>
                </a:lnTo>
                <a:lnTo>
                  <a:pt x="8199" y="15167"/>
                </a:lnTo>
                <a:lnTo>
                  <a:pt x="8199" y="15180"/>
                </a:lnTo>
                <a:lnTo>
                  <a:pt x="8219" y="15189"/>
                </a:lnTo>
                <a:lnTo>
                  <a:pt x="8238" y="15199"/>
                </a:lnTo>
                <a:lnTo>
                  <a:pt x="8257" y="15209"/>
                </a:lnTo>
                <a:lnTo>
                  <a:pt x="8274" y="15220"/>
                </a:lnTo>
                <a:lnTo>
                  <a:pt x="8291" y="15232"/>
                </a:lnTo>
                <a:lnTo>
                  <a:pt x="8306" y="15245"/>
                </a:lnTo>
                <a:lnTo>
                  <a:pt x="8321" y="15258"/>
                </a:lnTo>
                <a:lnTo>
                  <a:pt x="8335" y="15273"/>
                </a:lnTo>
                <a:lnTo>
                  <a:pt x="8348" y="15288"/>
                </a:lnTo>
                <a:lnTo>
                  <a:pt x="8361" y="15304"/>
                </a:lnTo>
                <a:lnTo>
                  <a:pt x="8373" y="15319"/>
                </a:lnTo>
                <a:lnTo>
                  <a:pt x="8384" y="15335"/>
                </a:lnTo>
                <a:lnTo>
                  <a:pt x="8394" y="15353"/>
                </a:lnTo>
                <a:lnTo>
                  <a:pt x="8404" y="15369"/>
                </a:lnTo>
                <a:lnTo>
                  <a:pt x="8413" y="15388"/>
                </a:lnTo>
                <a:lnTo>
                  <a:pt x="8422" y="15406"/>
                </a:lnTo>
                <a:lnTo>
                  <a:pt x="8430" y="15425"/>
                </a:lnTo>
                <a:lnTo>
                  <a:pt x="8437" y="15443"/>
                </a:lnTo>
                <a:lnTo>
                  <a:pt x="8444" y="15462"/>
                </a:lnTo>
                <a:lnTo>
                  <a:pt x="8449" y="15481"/>
                </a:lnTo>
                <a:lnTo>
                  <a:pt x="8455" y="15501"/>
                </a:lnTo>
                <a:lnTo>
                  <a:pt x="8459" y="15520"/>
                </a:lnTo>
                <a:lnTo>
                  <a:pt x="8463" y="15540"/>
                </a:lnTo>
                <a:lnTo>
                  <a:pt x="8466" y="15559"/>
                </a:lnTo>
                <a:lnTo>
                  <a:pt x="8471" y="15598"/>
                </a:lnTo>
                <a:lnTo>
                  <a:pt x="8475" y="15637"/>
                </a:lnTo>
                <a:lnTo>
                  <a:pt x="8477" y="15675"/>
                </a:lnTo>
                <a:lnTo>
                  <a:pt x="8478" y="15712"/>
                </a:lnTo>
                <a:lnTo>
                  <a:pt x="8477" y="15755"/>
                </a:lnTo>
                <a:lnTo>
                  <a:pt x="8475" y="15797"/>
                </a:lnTo>
                <a:lnTo>
                  <a:pt x="8471" y="15837"/>
                </a:lnTo>
                <a:lnTo>
                  <a:pt x="8465" y="15876"/>
                </a:lnTo>
                <a:lnTo>
                  <a:pt x="8458" y="15914"/>
                </a:lnTo>
                <a:lnTo>
                  <a:pt x="8449" y="15950"/>
                </a:lnTo>
                <a:lnTo>
                  <a:pt x="8439" y="15985"/>
                </a:lnTo>
                <a:lnTo>
                  <a:pt x="8427" y="16019"/>
                </a:lnTo>
                <a:lnTo>
                  <a:pt x="8414" y="16051"/>
                </a:lnTo>
                <a:lnTo>
                  <a:pt x="8399" y="16081"/>
                </a:lnTo>
                <a:lnTo>
                  <a:pt x="8383" y="16111"/>
                </a:lnTo>
                <a:lnTo>
                  <a:pt x="8365" y="16139"/>
                </a:lnTo>
                <a:lnTo>
                  <a:pt x="8347" y="16166"/>
                </a:lnTo>
                <a:lnTo>
                  <a:pt x="8327" y="16191"/>
                </a:lnTo>
                <a:lnTo>
                  <a:pt x="8305" y="16216"/>
                </a:lnTo>
                <a:lnTo>
                  <a:pt x="8283" y="16238"/>
                </a:lnTo>
                <a:lnTo>
                  <a:pt x="8259" y="16260"/>
                </a:lnTo>
                <a:lnTo>
                  <a:pt x="8234" y="16280"/>
                </a:lnTo>
                <a:lnTo>
                  <a:pt x="8207" y="16300"/>
                </a:lnTo>
                <a:lnTo>
                  <a:pt x="8180" y="16317"/>
                </a:lnTo>
                <a:lnTo>
                  <a:pt x="8152" y="16333"/>
                </a:lnTo>
                <a:lnTo>
                  <a:pt x="8122" y="16348"/>
                </a:lnTo>
                <a:lnTo>
                  <a:pt x="8090" y="16362"/>
                </a:lnTo>
                <a:lnTo>
                  <a:pt x="8058" y="16374"/>
                </a:lnTo>
                <a:lnTo>
                  <a:pt x="8026" y="16384"/>
                </a:lnTo>
                <a:lnTo>
                  <a:pt x="7992" y="16393"/>
                </a:lnTo>
                <a:lnTo>
                  <a:pt x="7957" y="16402"/>
                </a:lnTo>
                <a:lnTo>
                  <a:pt x="7922" y="16408"/>
                </a:lnTo>
                <a:lnTo>
                  <a:pt x="7886" y="16413"/>
                </a:lnTo>
                <a:lnTo>
                  <a:pt x="7849" y="16416"/>
                </a:lnTo>
                <a:lnTo>
                  <a:pt x="7810" y="16418"/>
                </a:lnTo>
                <a:lnTo>
                  <a:pt x="7772" y="16419"/>
                </a:lnTo>
                <a:lnTo>
                  <a:pt x="7737" y="16418"/>
                </a:lnTo>
                <a:lnTo>
                  <a:pt x="7703" y="16417"/>
                </a:lnTo>
                <a:lnTo>
                  <a:pt x="7669" y="16414"/>
                </a:lnTo>
                <a:lnTo>
                  <a:pt x="7637" y="16410"/>
                </a:lnTo>
                <a:lnTo>
                  <a:pt x="7605" y="16405"/>
                </a:lnTo>
                <a:lnTo>
                  <a:pt x="7574" y="16398"/>
                </a:lnTo>
                <a:lnTo>
                  <a:pt x="7543" y="16391"/>
                </a:lnTo>
                <a:lnTo>
                  <a:pt x="7514" y="16383"/>
                </a:lnTo>
                <a:lnTo>
                  <a:pt x="7485" y="16374"/>
                </a:lnTo>
                <a:lnTo>
                  <a:pt x="7457" y="16364"/>
                </a:lnTo>
                <a:lnTo>
                  <a:pt x="7429" y="16351"/>
                </a:lnTo>
                <a:lnTo>
                  <a:pt x="7403" y="16339"/>
                </a:lnTo>
                <a:lnTo>
                  <a:pt x="7377" y="16325"/>
                </a:lnTo>
                <a:lnTo>
                  <a:pt x="7352" y="16310"/>
                </a:lnTo>
                <a:lnTo>
                  <a:pt x="7328" y="16294"/>
                </a:lnTo>
                <a:lnTo>
                  <a:pt x="7304" y="16276"/>
                </a:lnTo>
                <a:lnTo>
                  <a:pt x="7281" y="16258"/>
                </a:lnTo>
                <a:lnTo>
                  <a:pt x="7260" y="16238"/>
                </a:lnTo>
                <a:lnTo>
                  <a:pt x="7239" y="16219"/>
                </a:lnTo>
                <a:lnTo>
                  <a:pt x="7220" y="16197"/>
                </a:lnTo>
                <a:lnTo>
                  <a:pt x="7202" y="16176"/>
                </a:lnTo>
                <a:lnTo>
                  <a:pt x="7185" y="16153"/>
                </a:lnTo>
                <a:lnTo>
                  <a:pt x="7169" y="16129"/>
                </a:lnTo>
                <a:lnTo>
                  <a:pt x="7154" y="16104"/>
                </a:lnTo>
                <a:lnTo>
                  <a:pt x="7140" y="16078"/>
                </a:lnTo>
                <a:lnTo>
                  <a:pt x="7127" y="16052"/>
                </a:lnTo>
                <a:lnTo>
                  <a:pt x="7115" y="16025"/>
                </a:lnTo>
                <a:lnTo>
                  <a:pt x="7104" y="15996"/>
                </a:lnTo>
                <a:lnTo>
                  <a:pt x="7095" y="15967"/>
                </a:lnTo>
                <a:lnTo>
                  <a:pt x="7086" y="15937"/>
                </a:lnTo>
                <a:lnTo>
                  <a:pt x="7079" y="15906"/>
                </a:lnTo>
                <a:lnTo>
                  <a:pt x="7073" y="15874"/>
                </a:lnTo>
                <a:close/>
                <a:moveTo>
                  <a:pt x="6419" y="16398"/>
                </a:moveTo>
                <a:lnTo>
                  <a:pt x="6419" y="14410"/>
                </a:lnTo>
                <a:lnTo>
                  <a:pt x="5799" y="14410"/>
                </a:lnTo>
                <a:lnTo>
                  <a:pt x="5799" y="16398"/>
                </a:lnTo>
                <a:lnTo>
                  <a:pt x="5425" y="16398"/>
                </a:lnTo>
                <a:lnTo>
                  <a:pt x="5425" y="14056"/>
                </a:lnTo>
                <a:lnTo>
                  <a:pt x="6794" y="14056"/>
                </a:lnTo>
                <a:lnTo>
                  <a:pt x="6794" y="16398"/>
                </a:lnTo>
                <a:lnTo>
                  <a:pt x="6419" y="16398"/>
                </a:lnTo>
                <a:close/>
                <a:moveTo>
                  <a:pt x="4637" y="16398"/>
                </a:moveTo>
                <a:lnTo>
                  <a:pt x="4637" y="15386"/>
                </a:lnTo>
                <a:lnTo>
                  <a:pt x="3994" y="15386"/>
                </a:lnTo>
                <a:lnTo>
                  <a:pt x="3994" y="16398"/>
                </a:lnTo>
                <a:lnTo>
                  <a:pt x="3616" y="16398"/>
                </a:lnTo>
                <a:lnTo>
                  <a:pt x="3616" y="14056"/>
                </a:lnTo>
                <a:lnTo>
                  <a:pt x="3994" y="14056"/>
                </a:lnTo>
                <a:lnTo>
                  <a:pt x="3994" y="15039"/>
                </a:lnTo>
                <a:lnTo>
                  <a:pt x="4637" y="15039"/>
                </a:lnTo>
                <a:lnTo>
                  <a:pt x="4637" y="14056"/>
                </a:lnTo>
                <a:lnTo>
                  <a:pt x="5011" y="14056"/>
                </a:lnTo>
                <a:lnTo>
                  <a:pt x="5011" y="16398"/>
                </a:lnTo>
                <a:lnTo>
                  <a:pt x="4637" y="16398"/>
                </a:lnTo>
                <a:close/>
                <a:moveTo>
                  <a:pt x="3265" y="15688"/>
                </a:moveTo>
                <a:lnTo>
                  <a:pt x="3264" y="15730"/>
                </a:lnTo>
                <a:lnTo>
                  <a:pt x="3262" y="15770"/>
                </a:lnTo>
                <a:lnTo>
                  <a:pt x="3258" y="15810"/>
                </a:lnTo>
                <a:lnTo>
                  <a:pt x="3252" y="15848"/>
                </a:lnTo>
                <a:lnTo>
                  <a:pt x="3245" y="15885"/>
                </a:lnTo>
                <a:lnTo>
                  <a:pt x="3236" y="15922"/>
                </a:lnTo>
                <a:lnTo>
                  <a:pt x="3226" y="15957"/>
                </a:lnTo>
                <a:lnTo>
                  <a:pt x="3214" y="15991"/>
                </a:lnTo>
                <a:lnTo>
                  <a:pt x="3201" y="16025"/>
                </a:lnTo>
                <a:lnTo>
                  <a:pt x="3186" y="16057"/>
                </a:lnTo>
                <a:lnTo>
                  <a:pt x="3170" y="16087"/>
                </a:lnTo>
                <a:lnTo>
                  <a:pt x="3152" y="16116"/>
                </a:lnTo>
                <a:lnTo>
                  <a:pt x="3134" y="16145"/>
                </a:lnTo>
                <a:lnTo>
                  <a:pt x="3114" y="16172"/>
                </a:lnTo>
                <a:lnTo>
                  <a:pt x="3092" y="16197"/>
                </a:lnTo>
                <a:lnTo>
                  <a:pt x="3069" y="16222"/>
                </a:lnTo>
                <a:lnTo>
                  <a:pt x="3046" y="16246"/>
                </a:lnTo>
                <a:lnTo>
                  <a:pt x="3021" y="16267"/>
                </a:lnTo>
                <a:lnTo>
                  <a:pt x="2995" y="16288"/>
                </a:lnTo>
                <a:lnTo>
                  <a:pt x="2967" y="16306"/>
                </a:lnTo>
                <a:lnTo>
                  <a:pt x="2939" y="16325"/>
                </a:lnTo>
                <a:lnTo>
                  <a:pt x="2910" y="16340"/>
                </a:lnTo>
                <a:lnTo>
                  <a:pt x="2880" y="16355"/>
                </a:lnTo>
                <a:lnTo>
                  <a:pt x="2848" y="16369"/>
                </a:lnTo>
                <a:lnTo>
                  <a:pt x="2816" y="16380"/>
                </a:lnTo>
                <a:lnTo>
                  <a:pt x="2783" y="16390"/>
                </a:lnTo>
                <a:lnTo>
                  <a:pt x="2749" y="16400"/>
                </a:lnTo>
                <a:lnTo>
                  <a:pt x="2714" y="16407"/>
                </a:lnTo>
                <a:lnTo>
                  <a:pt x="2678" y="16412"/>
                </a:lnTo>
                <a:lnTo>
                  <a:pt x="2642" y="16416"/>
                </a:lnTo>
                <a:lnTo>
                  <a:pt x="2604" y="16418"/>
                </a:lnTo>
                <a:lnTo>
                  <a:pt x="2566" y="16419"/>
                </a:lnTo>
                <a:lnTo>
                  <a:pt x="2520" y="16418"/>
                </a:lnTo>
                <a:lnTo>
                  <a:pt x="2476" y="16415"/>
                </a:lnTo>
                <a:lnTo>
                  <a:pt x="2454" y="16413"/>
                </a:lnTo>
                <a:lnTo>
                  <a:pt x="2433" y="16410"/>
                </a:lnTo>
                <a:lnTo>
                  <a:pt x="2413" y="16407"/>
                </a:lnTo>
                <a:lnTo>
                  <a:pt x="2392" y="16404"/>
                </a:lnTo>
                <a:lnTo>
                  <a:pt x="2372" y="16400"/>
                </a:lnTo>
                <a:lnTo>
                  <a:pt x="2353" y="16394"/>
                </a:lnTo>
                <a:lnTo>
                  <a:pt x="2334" y="16389"/>
                </a:lnTo>
                <a:lnTo>
                  <a:pt x="2315" y="16384"/>
                </a:lnTo>
                <a:lnTo>
                  <a:pt x="2297" y="16378"/>
                </a:lnTo>
                <a:lnTo>
                  <a:pt x="2279" y="16371"/>
                </a:lnTo>
                <a:lnTo>
                  <a:pt x="2262" y="16365"/>
                </a:lnTo>
                <a:lnTo>
                  <a:pt x="2245" y="16356"/>
                </a:lnTo>
                <a:lnTo>
                  <a:pt x="2211" y="16340"/>
                </a:lnTo>
                <a:lnTo>
                  <a:pt x="2180" y="16323"/>
                </a:lnTo>
                <a:lnTo>
                  <a:pt x="2150" y="16304"/>
                </a:lnTo>
                <a:lnTo>
                  <a:pt x="2122" y="16284"/>
                </a:lnTo>
                <a:lnTo>
                  <a:pt x="2108" y="16273"/>
                </a:lnTo>
                <a:lnTo>
                  <a:pt x="2095" y="16262"/>
                </a:lnTo>
                <a:lnTo>
                  <a:pt x="2083" y="16251"/>
                </a:lnTo>
                <a:lnTo>
                  <a:pt x="2070" y="16238"/>
                </a:lnTo>
                <a:lnTo>
                  <a:pt x="2059" y="16227"/>
                </a:lnTo>
                <a:lnTo>
                  <a:pt x="2047" y="16214"/>
                </a:lnTo>
                <a:lnTo>
                  <a:pt x="2036" y="16201"/>
                </a:lnTo>
                <a:lnTo>
                  <a:pt x="2025" y="16188"/>
                </a:lnTo>
                <a:lnTo>
                  <a:pt x="2005" y="16161"/>
                </a:lnTo>
                <a:lnTo>
                  <a:pt x="1986" y="16134"/>
                </a:lnTo>
                <a:lnTo>
                  <a:pt x="1969" y="16104"/>
                </a:lnTo>
                <a:lnTo>
                  <a:pt x="1953" y="16074"/>
                </a:lnTo>
                <a:lnTo>
                  <a:pt x="1938" y="16042"/>
                </a:lnTo>
                <a:lnTo>
                  <a:pt x="1925" y="16011"/>
                </a:lnTo>
                <a:lnTo>
                  <a:pt x="1913" y="15977"/>
                </a:lnTo>
                <a:lnTo>
                  <a:pt x="1902" y="15943"/>
                </a:lnTo>
                <a:lnTo>
                  <a:pt x="1893" y="15908"/>
                </a:lnTo>
                <a:lnTo>
                  <a:pt x="1885" y="15872"/>
                </a:lnTo>
                <a:lnTo>
                  <a:pt x="1878" y="15836"/>
                </a:lnTo>
                <a:lnTo>
                  <a:pt x="1873" y="15799"/>
                </a:lnTo>
                <a:lnTo>
                  <a:pt x="1869" y="15762"/>
                </a:lnTo>
                <a:lnTo>
                  <a:pt x="1866" y="15724"/>
                </a:lnTo>
                <a:lnTo>
                  <a:pt x="1864" y="15686"/>
                </a:lnTo>
                <a:lnTo>
                  <a:pt x="1863" y="15648"/>
                </a:lnTo>
                <a:lnTo>
                  <a:pt x="1863" y="14763"/>
                </a:lnTo>
                <a:lnTo>
                  <a:pt x="1864" y="14732"/>
                </a:lnTo>
                <a:lnTo>
                  <a:pt x="1865" y="14700"/>
                </a:lnTo>
                <a:lnTo>
                  <a:pt x="1868" y="14669"/>
                </a:lnTo>
                <a:lnTo>
                  <a:pt x="1873" y="14638"/>
                </a:lnTo>
                <a:lnTo>
                  <a:pt x="1878" y="14606"/>
                </a:lnTo>
                <a:lnTo>
                  <a:pt x="1884" y="14574"/>
                </a:lnTo>
                <a:lnTo>
                  <a:pt x="1892" y="14542"/>
                </a:lnTo>
                <a:lnTo>
                  <a:pt x="1901" y="14510"/>
                </a:lnTo>
                <a:lnTo>
                  <a:pt x="1911" y="14478"/>
                </a:lnTo>
                <a:lnTo>
                  <a:pt x="1923" y="14448"/>
                </a:lnTo>
                <a:lnTo>
                  <a:pt x="1936" y="14418"/>
                </a:lnTo>
                <a:lnTo>
                  <a:pt x="1950" y="14388"/>
                </a:lnTo>
                <a:lnTo>
                  <a:pt x="1966" y="14359"/>
                </a:lnTo>
                <a:lnTo>
                  <a:pt x="1983" y="14332"/>
                </a:lnTo>
                <a:lnTo>
                  <a:pt x="2002" y="14304"/>
                </a:lnTo>
                <a:lnTo>
                  <a:pt x="2022" y="14278"/>
                </a:lnTo>
                <a:lnTo>
                  <a:pt x="2044" y="14253"/>
                </a:lnTo>
                <a:lnTo>
                  <a:pt x="2067" y="14228"/>
                </a:lnTo>
                <a:lnTo>
                  <a:pt x="2092" y="14204"/>
                </a:lnTo>
                <a:lnTo>
                  <a:pt x="2118" y="14183"/>
                </a:lnTo>
                <a:lnTo>
                  <a:pt x="2146" y="14162"/>
                </a:lnTo>
                <a:lnTo>
                  <a:pt x="2175" y="14142"/>
                </a:lnTo>
                <a:lnTo>
                  <a:pt x="2206" y="14123"/>
                </a:lnTo>
                <a:lnTo>
                  <a:pt x="2240" y="14106"/>
                </a:lnTo>
                <a:lnTo>
                  <a:pt x="2257" y="14098"/>
                </a:lnTo>
                <a:lnTo>
                  <a:pt x="2274" y="14091"/>
                </a:lnTo>
                <a:lnTo>
                  <a:pt x="2292" y="14083"/>
                </a:lnTo>
                <a:lnTo>
                  <a:pt x="2310" y="14077"/>
                </a:lnTo>
                <a:lnTo>
                  <a:pt x="2329" y="14071"/>
                </a:lnTo>
                <a:lnTo>
                  <a:pt x="2348" y="14065"/>
                </a:lnTo>
                <a:lnTo>
                  <a:pt x="2368" y="14061"/>
                </a:lnTo>
                <a:lnTo>
                  <a:pt x="2388" y="14056"/>
                </a:lnTo>
                <a:lnTo>
                  <a:pt x="2408" y="14052"/>
                </a:lnTo>
                <a:lnTo>
                  <a:pt x="2429" y="14049"/>
                </a:lnTo>
                <a:lnTo>
                  <a:pt x="2451" y="14045"/>
                </a:lnTo>
                <a:lnTo>
                  <a:pt x="2473" y="14043"/>
                </a:lnTo>
                <a:lnTo>
                  <a:pt x="2496" y="14041"/>
                </a:lnTo>
                <a:lnTo>
                  <a:pt x="2519" y="14040"/>
                </a:lnTo>
                <a:lnTo>
                  <a:pt x="2542" y="14039"/>
                </a:lnTo>
                <a:lnTo>
                  <a:pt x="2566" y="14039"/>
                </a:lnTo>
                <a:lnTo>
                  <a:pt x="2610" y="14040"/>
                </a:lnTo>
                <a:lnTo>
                  <a:pt x="2653" y="14043"/>
                </a:lnTo>
                <a:lnTo>
                  <a:pt x="2674" y="14045"/>
                </a:lnTo>
                <a:lnTo>
                  <a:pt x="2694" y="14049"/>
                </a:lnTo>
                <a:lnTo>
                  <a:pt x="2714" y="14052"/>
                </a:lnTo>
                <a:lnTo>
                  <a:pt x="2734" y="14055"/>
                </a:lnTo>
                <a:lnTo>
                  <a:pt x="2753" y="14059"/>
                </a:lnTo>
                <a:lnTo>
                  <a:pt x="2772" y="14064"/>
                </a:lnTo>
                <a:lnTo>
                  <a:pt x="2791" y="14069"/>
                </a:lnTo>
                <a:lnTo>
                  <a:pt x="2809" y="14075"/>
                </a:lnTo>
                <a:lnTo>
                  <a:pt x="2827" y="14081"/>
                </a:lnTo>
                <a:lnTo>
                  <a:pt x="2844" y="14088"/>
                </a:lnTo>
                <a:lnTo>
                  <a:pt x="2861" y="14096"/>
                </a:lnTo>
                <a:lnTo>
                  <a:pt x="2878" y="14103"/>
                </a:lnTo>
                <a:lnTo>
                  <a:pt x="2910" y="14119"/>
                </a:lnTo>
                <a:lnTo>
                  <a:pt x="2940" y="14138"/>
                </a:lnTo>
                <a:lnTo>
                  <a:pt x="2970" y="14156"/>
                </a:lnTo>
                <a:lnTo>
                  <a:pt x="2998" y="14177"/>
                </a:lnTo>
                <a:lnTo>
                  <a:pt x="3024" y="14198"/>
                </a:lnTo>
                <a:lnTo>
                  <a:pt x="3050" y="14221"/>
                </a:lnTo>
                <a:lnTo>
                  <a:pt x="3073" y="14245"/>
                </a:lnTo>
                <a:lnTo>
                  <a:pt x="3096" y="14269"/>
                </a:lnTo>
                <a:lnTo>
                  <a:pt x="3117" y="14296"/>
                </a:lnTo>
                <a:lnTo>
                  <a:pt x="3136" y="14322"/>
                </a:lnTo>
                <a:lnTo>
                  <a:pt x="3155" y="14350"/>
                </a:lnTo>
                <a:lnTo>
                  <a:pt x="3171" y="14379"/>
                </a:lnTo>
                <a:lnTo>
                  <a:pt x="3187" y="14409"/>
                </a:lnTo>
                <a:lnTo>
                  <a:pt x="3200" y="14438"/>
                </a:lnTo>
                <a:lnTo>
                  <a:pt x="3213" y="14470"/>
                </a:lnTo>
                <a:lnTo>
                  <a:pt x="3224" y="14502"/>
                </a:lnTo>
                <a:lnTo>
                  <a:pt x="3233" y="14534"/>
                </a:lnTo>
                <a:lnTo>
                  <a:pt x="3242" y="14567"/>
                </a:lnTo>
                <a:lnTo>
                  <a:pt x="3249" y="14600"/>
                </a:lnTo>
                <a:lnTo>
                  <a:pt x="3254" y="14632"/>
                </a:lnTo>
                <a:lnTo>
                  <a:pt x="3259" y="14664"/>
                </a:lnTo>
                <a:lnTo>
                  <a:pt x="3262" y="14697"/>
                </a:lnTo>
                <a:lnTo>
                  <a:pt x="3264" y="14730"/>
                </a:lnTo>
                <a:lnTo>
                  <a:pt x="3265" y="14763"/>
                </a:lnTo>
                <a:lnTo>
                  <a:pt x="3265" y="15688"/>
                </a:lnTo>
                <a:close/>
                <a:moveTo>
                  <a:pt x="2884" y="14757"/>
                </a:moveTo>
                <a:lnTo>
                  <a:pt x="2883" y="14734"/>
                </a:lnTo>
                <a:lnTo>
                  <a:pt x="2881" y="14709"/>
                </a:lnTo>
                <a:lnTo>
                  <a:pt x="2876" y="14683"/>
                </a:lnTo>
                <a:lnTo>
                  <a:pt x="2869" y="14654"/>
                </a:lnTo>
                <a:lnTo>
                  <a:pt x="2865" y="14640"/>
                </a:lnTo>
                <a:lnTo>
                  <a:pt x="2861" y="14625"/>
                </a:lnTo>
                <a:lnTo>
                  <a:pt x="2855" y="14611"/>
                </a:lnTo>
                <a:lnTo>
                  <a:pt x="2849" y="14596"/>
                </a:lnTo>
                <a:lnTo>
                  <a:pt x="2843" y="14582"/>
                </a:lnTo>
                <a:lnTo>
                  <a:pt x="2835" y="14568"/>
                </a:lnTo>
                <a:lnTo>
                  <a:pt x="2827" y="14554"/>
                </a:lnTo>
                <a:lnTo>
                  <a:pt x="2819" y="14541"/>
                </a:lnTo>
                <a:lnTo>
                  <a:pt x="2809" y="14528"/>
                </a:lnTo>
                <a:lnTo>
                  <a:pt x="2799" y="14514"/>
                </a:lnTo>
                <a:lnTo>
                  <a:pt x="2788" y="14502"/>
                </a:lnTo>
                <a:lnTo>
                  <a:pt x="2776" y="14491"/>
                </a:lnTo>
                <a:lnTo>
                  <a:pt x="2764" y="14480"/>
                </a:lnTo>
                <a:lnTo>
                  <a:pt x="2751" y="14468"/>
                </a:lnTo>
                <a:lnTo>
                  <a:pt x="2737" y="14458"/>
                </a:lnTo>
                <a:lnTo>
                  <a:pt x="2722" y="14448"/>
                </a:lnTo>
                <a:lnTo>
                  <a:pt x="2706" y="14438"/>
                </a:lnTo>
                <a:lnTo>
                  <a:pt x="2689" y="14431"/>
                </a:lnTo>
                <a:lnTo>
                  <a:pt x="2671" y="14424"/>
                </a:lnTo>
                <a:lnTo>
                  <a:pt x="2653" y="14419"/>
                </a:lnTo>
                <a:lnTo>
                  <a:pt x="2633" y="14415"/>
                </a:lnTo>
                <a:lnTo>
                  <a:pt x="2611" y="14412"/>
                </a:lnTo>
                <a:lnTo>
                  <a:pt x="2589" y="14410"/>
                </a:lnTo>
                <a:lnTo>
                  <a:pt x="2566" y="14410"/>
                </a:lnTo>
                <a:lnTo>
                  <a:pt x="2543" y="14410"/>
                </a:lnTo>
                <a:lnTo>
                  <a:pt x="2520" y="14412"/>
                </a:lnTo>
                <a:lnTo>
                  <a:pt x="2499" y="14414"/>
                </a:lnTo>
                <a:lnTo>
                  <a:pt x="2479" y="14418"/>
                </a:lnTo>
                <a:lnTo>
                  <a:pt x="2459" y="14423"/>
                </a:lnTo>
                <a:lnTo>
                  <a:pt x="2441" y="14429"/>
                </a:lnTo>
                <a:lnTo>
                  <a:pt x="2423" y="14436"/>
                </a:lnTo>
                <a:lnTo>
                  <a:pt x="2407" y="14445"/>
                </a:lnTo>
                <a:lnTo>
                  <a:pt x="2391" y="14454"/>
                </a:lnTo>
                <a:lnTo>
                  <a:pt x="2377" y="14463"/>
                </a:lnTo>
                <a:lnTo>
                  <a:pt x="2363" y="14473"/>
                </a:lnTo>
                <a:lnTo>
                  <a:pt x="2350" y="14485"/>
                </a:lnTo>
                <a:lnTo>
                  <a:pt x="2337" y="14496"/>
                </a:lnTo>
                <a:lnTo>
                  <a:pt x="2326" y="14507"/>
                </a:lnTo>
                <a:lnTo>
                  <a:pt x="2315" y="14520"/>
                </a:lnTo>
                <a:lnTo>
                  <a:pt x="2305" y="14532"/>
                </a:lnTo>
                <a:lnTo>
                  <a:pt x="2296" y="14545"/>
                </a:lnTo>
                <a:lnTo>
                  <a:pt x="2288" y="14560"/>
                </a:lnTo>
                <a:lnTo>
                  <a:pt x="2280" y="14573"/>
                </a:lnTo>
                <a:lnTo>
                  <a:pt x="2273" y="14587"/>
                </a:lnTo>
                <a:lnTo>
                  <a:pt x="2266" y="14602"/>
                </a:lnTo>
                <a:lnTo>
                  <a:pt x="2261" y="14616"/>
                </a:lnTo>
                <a:lnTo>
                  <a:pt x="2256" y="14630"/>
                </a:lnTo>
                <a:lnTo>
                  <a:pt x="2251" y="14646"/>
                </a:lnTo>
                <a:lnTo>
                  <a:pt x="2244" y="14676"/>
                </a:lnTo>
                <a:lnTo>
                  <a:pt x="2239" y="14704"/>
                </a:lnTo>
                <a:lnTo>
                  <a:pt x="2236" y="14733"/>
                </a:lnTo>
                <a:lnTo>
                  <a:pt x="2235" y="14760"/>
                </a:lnTo>
                <a:lnTo>
                  <a:pt x="2238" y="15658"/>
                </a:lnTo>
                <a:lnTo>
                  <a:pt x="2238" y="15678"/>
                </a:lnTo>
                <a:lnTo>
                  <a:pt x="2239" y="15699"/>
                </a:lnTo>
                <a:lnTo>
                  <a:pt x="2241" y="15719"/>
                </a:lnTo>
                <a:lnTo>
                  <a:pt x="2243" y="15739"/>
                </a:lnTo>
                <a:lnTo>
                  <a:pt x="2245" y="15757"/>
                </a:lnTo>
                <a:lnTo>
                  <a:pt x="2249" y="15777"/>
                </a:lnTo>
                <a:lnTo>
                  <a:pt x="2252" y="15795"/>
                </a:lnTo>
                <a:lnTo>
                  <a:pt x="2257" y="15813"/>
                </a:lnTo>
                <a:lnTo>
                  <a:pt x="2262" y="15830"/>
                </a:lnTo>
                <a:lnTo>
                  <a:pt x="2267" y="15847"/>
                </a:lnTo>
                <a:lnTo>
                  <a:pt x="2274" y="15864"/>
                </a:lnTo>
                <a:lnTo>
                  <a:pt x="2281" y="15880"/>
                </a:lnTo>
                <a:lnTo>
                  <a:pt x="2288" y="15896"/>
                </a:lnTo>
                <a:lnTo>
                  <a:pt x="2296" y="15911"/>
                </a:lnTo>
                <a:lnTo>
                  <a:pt x="2304" y="15926"/>
                </a:lnTo>
                <a:lnTo>
                  <a:pt x="2314" y="15941"/>
                </a:lnTo>
                <a:lnTo>
                  <a:pt x="2323" y="15955"/>
                </a:lnTo>
                <a:lnTo>
                  <a:pt x="2334" y="15967"/>
                </a:lnTo>
                <a:lnTo>
                  <a:pt x="2345" y="15980"/>
                </a:lnTo>
                <a:lnTo>
                  <a:pt x="2358" y="15991"/>
                </a:lnTo>
                <a:lnTo>
                  <a:pt x="2371" y="16001"/>
                </a:lnTo>
                <a:lnTo>
                  <a:pt x="2385" y="16011"/>
                </a:lnTo>
                <a:lnTo>
                  <a:pt x="2400" y="16019"/>
                </a:lnTo>
                <a:lnTo>
                  <a:pt x="2415" y="16027"/>
                </a:lnTo>
                <a:lnTo>
                  <a:pt x="2432" y="16033"/>
                </a:lnTo>
                <a:lnTo>
                  <a:pt x="2449" y="16039"/>
                </a:lnTo>
                <a:lnTo>
                  <a:pt x="2467" y="16044"/>
                </a:lnTo>
                <a:lnTo>
                  <a:pt x="2486" y="16049"/>
                </a:lnTo>
                <a:lnTo>
                  <a:pt x="2505" y="16052"/>
                </a:lnTo>
                <a:lnTo>
                  <a:pt x="2526" y="16054"/>
                </a:lnTo>
                <a:lnTo>
                  <a:pt x="2547" y="16055"/>
                </a:lnTo>
                <a:lnTo>
                  <a:pt x="2569" y="16056"/>
                </a:lnTo>
                <a:lnTo>
                  <a:pt x="2585" y="16055"/>
                </a:lnTo>
                <a:lnTo>
                  <a:pt x="2601" y="16054"/>
                </a:lnTo>
                <a:lnTo>
                  <a:pt x="2616" y="16053"/>
                </a:lnTo>
                <a:lnTo>
                  <a:pt x="2631" y="16050"/>
                </a:lnTo>
                <a:lnTo>
                  <a:pt x="2646" y="16046"/>
                </a:lnTo>
                <a:lnTo>
                  <a:pt x="2660" y="16043"/>
                </a:lnTo>
                <a:lnTo>
                  <a:pt x="2675" y="16038"/>
                </a:lnTo>
                <a:lnTo>
                  <a:pt x="2689" y="16033"/>
                </a:lnTo>
                <a:lnTo>
                  <a:pt x="2702" y="16027"/>
                </a:lnTo>
                <a:lnTo>
                  <a:pt x="2716" y="16021"/>
                </a:lnTo>
                <a:lnTo>
                  <a:pt x="2729" y="16014"/>
                </a:lnTo>
                <a:lnTo>
                  <a:pt x="2742" y="16005"/>
                </a:lnTo>
                <a:lnTo>
                  <a:pt x="2754" y="15996"/>
                </a:lnTo>
                <a:lnTo>
                  <a:pt x="2767" y="15987"/>
                </a:lnTo>
                <a:lnTo>
                  <a:pt x="2779" y="15977"/>
                </a:lnTo>
                <a:lnTo>
                  <a:pt x="2791" y="15966"/>
                </a:lnTo>
                <a:lnTo>
                  <a:pt x="2802" y="15955"/>
                </a:lnTo>
                <a:lnTo>
                  <a:pt x="2813" y="15943"/>
                </a:lnTo>
                <a:lnTo>
                  <a:pt x="2822" y="15931"/>
                </a:lnTo>
                <a:lnTo>
                  <a:pt x="2832" y="15917"/>
                </a:lnTo>
                <a:lnTo>
                  <a:pt x="2840" y="15904"/>
                </a:lnTo>
                <a:lnTo>
                  <a:pt x="2848" y="15889"/>
                </a:lnTo>
                <a:lnTo>
                  <a:pt x="2855" y="15875"/>
                </a:lnTo>
                <a:lnTo>
                  <a:pt x="2861" y="15860"/>
                </a:lnTo>
                <a:lnTo>
                  <a:pt x="2866" y="15844"/>
                </a:lnTo>
                <a:lnTo>
                  <a:pt x="2871" y="15829"/>
                </a:lnTo>
                <a:lnTo>
                  <a:pt x="2875" y="15811"/>
                </a:lnTo>
                <a:lnTo>
                  <a:pt x="2878" y="15795"/>
                </a:lnTo>
                <a:lnTo>
                  <a:pt x="2881" y="15778"/>
                </a:lnTo>
                <a:lnTo>
                  <a:pt x="2883" y="15759"/>
                </a:lnTo>
                <a:lnTo>
                  <a:pt x="2884" y="15741"/>
                </a:lnTo>
                <a:lnTo>
                  <a:pt x="2884" y="15721"/>
                </a:lnTo>
                <a:lnTo>
                  <a:pt x="2884" y="14757"/>
                </a:lnTo>
                <a:close/>
                <a:moveTo>
                  <a:pt x="3193" y="11074"/>
                </a:moveTo>
                <a:lnTo>
                  <a:pt x="3193" y="13060"/>
                </a:lnTo>
                <a:lnTo>
                  <a:pt x="2819" y="13060"/>
                </a:lnTo>
                <a:lnTo>
                  <a:pt x="2819" y="10718"/>
                </a:lnTo>
                <a:lnTo>
                  <a:pt x="4076" y="10718"/>
                </a:lnTo>
                <a:lnTo>
                  <a:pt x="4076" y="11074"/>
                </a:lnTo>
                <a:lnTo>
                  <a:pt x="3193" y="11074"/>
                </a:lnTo>
                <a:close/>
                <a:moveTo>
                  <a:pt x="5327" y="13060"/>
                </a:moveTo>
                <a:lnTo>
                  <a:pt x="5327" y="11071"/>
                </a:lnTo>
                <a:lnTo>
                  <a:pt x="4706" y="11071"/>
                </a:lnTo>
                <a:lnTo>
                  <a:pt x="4706" y="13060"/>
                </a:lnTo>
                <a:lnTo>
                  <a:pt x="4332" y="13060"/>
                </a:lnTo>
                <a:lnTo>
                  <a:pt x="4332" y="10718"/>
                </a:lnTo>
                <a:lnTo>
                  <a:pt x="5701" y="10718"/>
                </a:lnTo>
                <a:lnTo>
                  <a:pt x="5701" y="13060"/>
                </a:lnTo>
                <a:lnTo>
                  <a:pt x="5327" y="13060"/>
                </a:lnTo>
                <a:close/>
                <a:moveTo>
                  <a:pt x="7132" y="13060"/>
                </a:moveTo>
                <a:lnTo>
                  <a:pt x="7132" y="12046"/>
                </a:lnTo>
                <a:lnTo>
                  <a:pt x="6488" y="12046"/>
                </a:lnTo>
                <a:lnTo>
                  <a:pt x="6488" y="13060"/>
                </a:lnTo>
                <a:lnTo>
                  <a:pt x="6111" y="13060"/>
                </a:lnTo>
                <a:lnTo>
                  <a:pt x="6111" y="10718"/>
                </a:lnTo>
                <a:lnTo>
                  <a:pt x="6488" y="10718"/>
                </a:lnTo>
                <a:lnTo>
                  <a:pt x="6488" y="11700"/>
                </a:lnTo>
                <a:lnTo>
                  <a:pt x="7132" y="11700"/>
                </a:lnTo>
                <a:lnTo>
                  <a:pt x="7132" y="10718"/>
                </a:lnTo>
                <a:lnTo>
                  <a:pt x="7506" y="10718"/>
                </a:lnTo>
                <a:lnTo>
                  <a:pt x="7506" y="13060"/>
                </a:lnTo>
                <a:lnTo>
                  <a:pt x="7132" y="13060"/>
                </a:lnTo>
                <a:close/>
                <a:moveTo>
                  <a:pt x="6257" y="10004"/>
                </a:moveTo>
                <a:lnTo>
                  <a:pt x="5811" y="10004"/>
                </a:lnTo>
                <a:lnTo>
                  <a:pt x="5811" y="7417"/>
                </a:lnTo>
                <a:lnTo>
                  <a:pt x="5581" y="7417"/>
                </a:lnTo>
                <a:lnTo>
                  <a:pt x="5581" y="4592"/>
                </a:lnTo>
                <a:lnTo>
                  <a:pt x="5582" y="4574"/>
                </a:lnTo>
                <a:lnTo>
                  <a:pt x="5585" y="4555"/>
                </a:lnTo>
                <a:lnTo>
                  <a:pt x="5589" y="4537"/>
                </a:lnTo>
                <a:lnTo>
                  <a:pt x="5596" y="4520"/>
                </a:lnTo>
                <a:lnTo>
                  <a:pt x="5603" y="4504"/>
                </a:lnTo>
                <a:lnTo>
                  <a:pt x="5613" y="4488"/>
                </a:lnTo>
                <a:lnTo>
                  <a:pt x="5623" y="4473"/>
                </a:lnTo>
                <a:lnTo>
                  <a:pt x="5635" y="4460"/>
                </a:lnTo>
                <a:lnTo>
                  <a:pt x="5648" y="4447"/>
                </a:lnTo>
                <a:lnTo>
                  <a:pt x="5662" y="4436"/>
                </a:lnTo>
                <a:lnTo>
                  <a:pt x="5678" y="4427"/>
                </a:lnTo>
                <a:lnTo>
                  <a:pt x="5693" y="4419"/>
                </a:lnTo>
                <a:lnTo>
                  <a:pt x="5710" y="4412"/>
                </a:lnTo>
                <a:lnTo>
                  <a:pt x="5727" y="4407"/>
                </a:lnTo>
                <a:lnTo>
                  <a:pt x="5745" y="4404"/>
                </a:lnTo>
                <a:lnTo>
                  <a:pt x="5764" y="4403"/>
                </a:lnTo>
                <a:lnTo>
                  <a:pt x="6990" y="4403"/>
                </a:lnTo>
                <a:lnTo>
                  <a:pt x="7008" y="4404"/>
                </a:lnTo>
                <a:lnTo>
                  <a:pt x="7026" y="4407"/>
                </a:lnTo>
                <a:lnTo>
                  <a:pt x="7043" y="4412"/>
                </a:lnTo>
                <a:lnTo>
                  <a:pt x="7059" y="4419"/>
                </a:lnTo>
                <a:lnTo>
                  <a:pt x="7075" y="4427"/>
                </a:lnTo>
                <a:lnTo>
                  <a:pt x="7089" y="4436"/>
                </a:lnTo>
                <a:lnTo>
                  <a:pt x="7103" y="4447"/>
                </a:lnTo>
                <a:lnTo>
                  <a:pt x="7115" y="4460"/>
                </a:lnTo>
                <a:lnTo>
                  <a:pt x="7126" y="4473"/>
                </a:lnTo>
                <a:lnTo>
                  <a:pt x="7136" y="4488"/>
                </a:lnTo>
                <a:lnTo>
                  <a:pt x="7145" y="4504"/>
                </a:lnTo>
                <a:lnTo>
                  <a:pt x="7153" y="4520"/>
                </a:lnTo>
                <a:lnTo>
                  <a:pt x="7158" y="4537"/>
                </a:lnTo>
                <a:lnTo>
                  <a:pt x="7163" y="4555"/>
                </a:lnTo>
                <a:lnTo>
                  <a:pt x="7165" y="4574"/>
                </a:lnTo>
                <a:lnTo>
                  <a:pt x="7166" y="4592"/>
                </a:lnTo>
                <a:lnTo>
                  <a:pt x="7166" y="5097"/>
                </a:lnTo>
                <a:lnTo>
                  <a:pt x="7120" y="5099"/>
                </a:lnTo>
                <a:lnTo>
                  <a:pt x="7074" y="5102"/>
                </a:lnTo>
                <a:lnTo>
                  <a:pt x="7029" y="5108"/>
                </a:lnTo>
                <a:lnTo>
                  <a:pt x="6984" y="5117"/>
                </a:lnTo>
                <a:lnTo>
                  <a:pt x="6940" y="5128"/>
                </a:lnTo>
                <a:lnTo>
                  <a:pt x="6898" y="5140"/>
                </a:lnTo>
                <a:lnTo>
                  <a:pt x="6855" y="5156"/>
                </a:lnTo>
                <a:lnTo>
                  <a:pt x="6814" y="5172"/>
                </a:lnTo>
                <a:lnTo>
                  <a:pt x="6774" y="5191"/>
                </a:lnTo>
                <a:lnTo>
                  <a:pt x="6735" y="5212"/>
                </a:lnTo>
                <a:lnTo>
                  <a:pt x="6697" y="5235"/>
                </a:lnTo>
                <a:lnTo>
                  <a:pt x="6660" y="5259"/>
                </a:lnTo>
                <a:lnTo>
                  <a:pt x="6623" y="5285"/>
                </a:lnTo>
                <a:lnTo>
                  <a:pt x="6589" y="5314"/>
                </a:lnTo>
                <a:lnTo>
                  <a:pt x="6556" y="5343"/>
                </a:lnTo>
                <a:lnTo>
                  <a:pt x="6524" y="5374"/>
                </a:lnTo>
                <a:lnTo>
                  <a:pt x="6494" y="5407"/>
                </a:lnTo>
                <a:lnTo>
                  <a:pt x="6466" y="5441"/>
                </a:lnTo>
                <a:lnTo>
                  <a:pt x="6439" y="5476"/>
                </a:lnTo>
                <a:lnTo>
                  <a:pt x="6413" y="5513"/>
                </a:lnTo>
                <a:lnTo>
                  <a:pt x="6389" y="5551"/>
                </a:lnTo>
                <a:lnTo>
                  <a:pt x="6367" y="5590"/>
                </a:lnTo>
                <a:lnTo>
                  <a:pt x="6347" y="5630"/>
                </a:lnTo>
                <a:lnTo>
                  <a:pt x="6329" y="5672"/>
                </a:lnTo>
                <a:lnTo>
                  <a:pt x="6313" y="5714"/>
                </a:lnTo>
                <a:lnTo>
                  <a:pt x="6298" y="5757"/>
                </a:lnTo>
                <a:lnTo>
                  <a:pt x="6286" y="5801"/>
                </a:lnTo>
                <a:lnTo>
                  <a:pt x="6276" y="5846"/>
                </a:lnTo>
                <a:lnTo>
                  <a:pt x="6268" y="5891"/>
                </a:lnTo>
                <a:lnTo>
                  <a:pt x="6262" y="5939"/>
                </a:lnTo>
                <a:lnTo>
                  <a:pt x="6258" y="5986"/>
                </a:lnTo>
                <a:lnTo>
                  <a:pt x="6257" y="6033"/>
                </a:lnTo>
                <a:lnTo>
                  <a:pt x="6257" y="10004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87" name="gpn_rzbm"/>
          <p:cNvSpPr>
            <a:spLocks noChangeAspect="1" noEditPoints="1"/>
          </p:cNvSpPr>
          <p:nvPr/>
        </p:nvSpPr>
        <p:spPr bwMode="auto">
          <a:xfrm>
            <a:off x="1547664" y="2543672"/>
            <a:ext cx="469210" cy="669304"/>
          </a:xfrm>
          <a:custGeom>
            <a:avLst/>
            <a:gdLst>
              <a:gd name="T0" fmla="*/ 10205 w 10336"/>
              <a:gd name="T1" fmla="*/ 5420 h 16036"/>
              <a:gd name="T2" fmla="*/ 9614 w 10336"/>
              <a:gd name="T3" fmla="*/ 4997 h 16036"/>
              <a:gd name="T4" fmla="*/ 9053 w 10336"/>
              <a:gd name="T5" fmla="*/ 5206 h 16036"/>
              <a:gd name="T6" fmla="*/ 9197 w 10336"/>
              <a:gd name="T7" fmla="*/ 5892 h 16036"/>
              <a:gd name="T8" fmla="*/ 8546 w 10336"/>
              <a:gd name="T9" fmla="*/ 5313 h 16036"/>
              <a:gd name="T10" fmla="*/ 7893 w 10336"/>
              <a:gd name="T11" fmla="*/ 4979 h 16036"/>
              <a:gd name="T12" fmla="*/ 7648 w 10336"/>
              <a:gd name="T13" fmla="*/ 3937 h 16036"/>
              <a:gd name="T14" fmla="*/ 7034 w 10336"/>
              <a:gd name="T15" fmla="*/ 3623 h 16036"/>
              <a:gd name="T16" fmla="*/ 5187 w 10336"/>
              <a:gd name="T17" fmla="*/ 3848 h 16036"/>
              <a:gd name="T18" fmla="*/ 4903 w 10336"/>
              <a:gd name="T19" fmla="*/ 4485 h 16036"/>
              <a:gd name="T20" fmla="*/ 4 w 10336"/>
              <a:gd name="T21" fmla="*/ 10467 h 16036"/>
              <a:gd name="T22" fmla="*/ 2376 w 10336"/>
              <a:gd name="T23" fmla="*/ 128 h 16036"/>
              <a:gd name="T24" fmla="*/ 2166 w 10336"/>
              <a:gd name="T25" fmla="*/ 3 h 16036"/>
              <a:gd name="T26" fmla="*/ 721 w 10336"/>
              <a:gd name="T27" fmla="*/ 57 h 16036"/>
              <a:gd name="T28" fmla="*/ 591 w 10336"/>
              <a:gd name="T29" fmla="*/ 265 h 16036"/>
              <a:gd name="T30" fmla="*/ 6693 w 10336"/>
              <a:gd name="T31" fmla="*/ 13728 h 16036"/>
              <a:gd name="T32" fmla="*/ 5825 w 10336"/>
              <a:gd name="T33" fmla="*/ 15654 h 16036"/>
              <a:gd name="T34" fmla="*/ 6011 w 10336"/>
              <a:gd name="T35" fmla="*/ 15479 h 16036"/>
              <a:gd name="T36" fmla="*/ 6017 w 10336"/>
              <a:gd name="T37" fmla="*/ 15181 h 16036"/>
              <a:gd name="T38" fmla="*/ 5840 w 10336"/>
              <a:gd name="T39" fmla="*/ 15002 h 16036"/>
              <a:gd name="T40" fmla="*/ 5963 w 10336"/>
              <a:gd name="T41" fmla="*/ 14664 h 16036"/>
              <a:gd name="T42" fmla="*/ 6361 w 10336"/>
              <a:gd name="T43" fmla="*/ 15008 h 16036"/>
              <a:gd name="T44" fmla="*/ 6367 w 10336"/>
              <a:gd name="T45" fmla="*/ 15618 h 16036"/>
              <a:gd name="T46" fmla="*/ 5977 w 10336"/>
              <a:gd name="T47" fmla="*/ 15982 h 16036"/>
              <a:gd name="T48" fmla="*/ 3349 w 10336"/>
              <a:gd name="T49" fmla="*/ 15486 h 16036"/>
              <a:gd name="T50" fmla="*/ 3667 w 10336"/>
              <a:gd name="T51" fmla="*/ 15452 h 16036"/>
              <a:gd name="T52" fmla="*/ 3834 w 10336"/>
              <a:gd name="T53" fmla="*/ 15644 h 16036"/>
              <a:gd name="T54" fmla="*/ 4099 w 10336"/>
              <a:gd name="T55" fmla="*/ 15667 h 16036"/>
              <a:gd name="T56" fmla="*/ 4286 w 10336"/>
              <a:gd name="T57" fmla="*/ 15491 h 16036"/>
              <a:gd name="T58" fmla="*/ 4289 w 10336"/>
              <a:gd name="T59" fmla="*/ 15166 h 16036"/>
              <a:gd name="T60" fmla="*/ 4104 w 10336"/>
              <a:gd name="T61" fmla="*/ 14995 h 16036"/>
              <a:gd name="T62" fmla="*/ 4144 w 10336"/>
              <a:gd name="T63" fmla="*/ 14639 h 16036"/>
              <a:gd name="T64" fmla="*/ 4292 w 10336"/>
              <a:gd name="T65" fmla="*/ 14450 h 16036"/>
              <a:gd name="T66" fmla="*/ 4267 w 10336"/>
              <a:gd name="T67" fmla="*/ 14194 h 16036"/>
              <a:gd name="T68" fmla="*/ 4079 w 10336"/>
              <a:gd name="T69" fmla="*/ 14069 h 16036"/>
              <a:gd name="T70" fmla="*/ 3827 w 10336"/>
              <a:gd name="T71" fmla="*/ 14116 h 16036"/>
              <a:gd name="T72" fmla="*/ 3681 w 10336"/>
              <a:gd name="T73" fmla="*/ 14315 h 16036"/>
              <a:gd name="T74" fmla="*/ 3519 w 10336"/>
              <a:gd name="T75" fmla="*/ 13883 h 16036"/>
              <a:gd name="T76" fmla="*/ 3986 w 10336"/>
              <a:gd name="T77" fmla="*/ 13709 h 16036"/>
              <a:gd name="T78" fmla="*/ 4510 w 10336"/>
              <a:gd name="T79" fmla="*/ 13863 h 16036"/>
              <a:gd name="T80" fmla="*/ 4679 w 10336"/>
              <a:gd name="T81" fmla="*/ 14345 h 16036"/>
              <a:gd name="T82" fmla="*/ 4523 w 10336"/>
              <a:gd name="T83" fmla="*/ 14748 h 16036"/>
              <a:gd name="T84" fmla="*/ 4583 w 10336"/>
              <a:gd name="T85" fmla="*/ 14947 h 16036"/>
              <a:gd name="T86" fmla="*/ 4699 w 10336"/>
              <a:gd name="T87" fmla="*/ 15309 h 16036"/>
              <a:gd name="T88" fmla="*/ 4505 w 10336"/>
              <a:gd name="T89" fmla="*/ 15860 h 16036"/>
              <a:gd name="T90" fmla="*/ 3960 w 10336"/>
              <a:gd name="T91" fmla="*/ 16035 h 16036"/>
              <a:gd name="T92" fmla="*/ 3482 w 10336"/>
              <a:gd name="T93" fmla="*/ 15860 h 16036"/>
              <a:gd name="T94" fmla="*/ 3168 w 10336"/>
              <a:gd name="T95" fmla="*/ 14508 h 16036"/>
              <a:gd name="T96" fmla="*/ 2932 w 10336"/>
              <a:gd name="T97" fmla="*/ 15001 h 16036"/>
              <a:gd name="T98" fmla="*/ 2156 w 10336"/>
              <a:gd name="T99" fmla="*/ 16016 h 16036"/>
              <a:gd name="T100" fmla="*/ 2932 w 10336"/>
              <a:gd name="T101" fmla="*/ 13860 h 16036"/>
              <a:gd name="T102" fmla="*/ 3169 w 10336"/>
              <a:gd name="T103" fmla="*/ 14390 h 16036"/>
              <a:gd name="T104" fmla="*/ 2727 w 10336"/>
              <a:gd name="T105" fmla="*/ 14178 h 16036"/>
              <a:gd name="T106" fmla="*/ 2468 w 10336"/>
              <a:gd name="T107" fmla="*/ 14077 h 16036"/>
              <a:gd name="T108" fmla="*/ 2698 w 10336"/>
              <a:gd name="T109" fmla="*/ 14709 h 16036"/>
              <a:gd name="T110" fmla="*/ 2799 w 10336"/>
              <a:gd name="T111" fmla="*/ 14446 h 16036"/>
              <a:gd name="T112" fmla="*/ 5296 w 10336"/>
              <a:gd name="T113" fmla="*/ 12756 h 16036"/>
              <a:gd name="T114" fmla="*/ 5581 w 10336"/>
              <a:gd name="T115" fmla="*/ 7244 h 16036"/>
              <a:gd name="T116" fmla="*/ 5764 w 10336"/>
              <a:gd name="T117" fmla="*/ 4301 h 16036"/>
              <a:gd name="T118" fmla="*/ 7166 w 10336"/>
              <a:gd name="T119" fmla="*/ 4485 h 16036"/>
              <a:gd name="T120" fmla="*/ 6524 w 10336"/>
              <a:gd name="T121" fmla="*/ 5249 h 16036"/>
              <a:gd name="T122" fmla="*/ 6257 w 10336"/>
              <a:gd name="T123" fmla="*/ 9771 h 160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336" h="16036">
                <a:moveTo>
                  <a:pt x="5" y="10960"/>
                </a:moveTo>
                <a:lnTo>
                  <a:pt x="6" y="13319"/>
                </a:lnTo>
                <a:lnTo>
                  <a:pt x="10336" y="13319"/>
                </a:lnTo>
                <a:lnTo>
                  <a:pt x="10336" y="10373"/>
                </a:lnTo>
                <a:lnTo>
                  <a:pt x="10336" y="9771"/>
                </a:lnTo>
                <a:lnTo>
                  <a:pt x="10336" y="5892"/>
                </a:lnTo>
                <a:lnTo>
                  <a:pt x="10335" y="5845"/>
                </a:lnTo>
                <a:lnTo>
                  <a:pt x="10331" y="5800"/>
                </a:lnTo>
                <a:lnTo>
                  <a:pt x="10326" y="5754"/>
                </a:lnTo>
                <a:lnTo>
                  <a:pt x="10318" y="5710"/>
                </a:lnTo>
                <a:lnTo>
                  <a:pt x="10308" y="5666"/>
                </a:lnTo>
                <a:lnTo>
                  <a:pt x="10295" y="5623"/>
                </a:lnTo>
                <a:lnTo>
                  <a:pt x="10281" y="5580"/>
                </a:lnTo>
                <a:lnTo>
                  <a:pt x="10265" y="5538"/>
                </a:lnTo>
                <a:lnTo>
                  <a:pt x="10247" y="5498"/>
                </a:lnTo>
                <a:lnTo>
                  <a:pt x="10227" y="5458"/>
                </a:lnTo>
                <a:lnTo>
                  <a:pt x="10205" y="5420"/>
                </a:lnTo>
                <a:lnTo>
                  <a:pt x="10182" y="5383"/>
                </a:lnTo>
                <a:lnTo>
                  <a:pt x="10156" y="5347"/>
                </a:lnTo>
                <a:lnTo>
                  <a:pt x="10130" y="5313"/>
                </a:lnTo>
                <a:lnTo>
                  <a:pt x="10101" y="5280"/>
                </a:lnTo>
                <a:lnTo>
                  <a:pt x="10071" y="5248"/>
                </a:lnTo>
                <a:lnTo>
                  <a:pt x="10040" y="5218"/>
                </a:lnTo>
                <a:lnTo>
                  <a:pt x="10007" y="5189"/>
                </a:lnTo>
                <a:lnTo>
                  <a:pt x="9973" y="5162"/>
                </a:lnTo>
                <a:lnTo>
                  <a:pt x="9938" y="5136"/>
                </a:lnTo>
                <a:lnTo>
                  <a:pt x="9901" y="5111"/>
                </a:lnTo>
                <a:lnTo>
                  <a:pt x="9863" y="5089"/>
                </a:lnTo>
                <a:lnTo>
                  <a:pt x="9824" y="5069"/>
                </a:lnTo>
                <a:lnTo>
                  <a:pt x="9784" y="5051"/>
                </a:lnTo>
                <a:lnTo>
                  <a:pt x="9743" y="5034"/>
                </a:lnTo>
                <a:lnTo>
                  <a:pt x="9701" y="5020"/>
                </a:lnTo>
                <a:lnTo>
                  <a:pt x="9658" y="5007"/>
                </a:lnTo>
                <a:lnTo>
                  <a:pt x="9614" y="4997"/>
                </a:lnTo>
                <a:lnTo>
                  <a:pt x="9569" y="4989"/>
                </a:lnTo>
                <a:lnTo>
                  <a:pt x="9524" y="4983"/>
                </a:lnTo>
                <a:lnTo>
                  <a:pt x="9478" y="4979"/>
                </a:lnTo>
                <a:lnTo>
                  <a:pt x="9431" y="4978"/>
                </a:lnTo>
                <a:lnTo>
                  <a:pt x="9428" y="4978"/>
                </a:lnTo>
                <a:lnTo>
                  <a:pt x="8845" y="4978"/>
                </a:lnTo>
                <a:lnTo>
                  <a:pt x="8871" y="5000"/>
                </a:lnTo>
                <a:lnTo>
                  <a:pt x="8897" y="5023"/>
                </a:lnTo>
                <a:lnTo>
                  <a:pt x="8924" y="5048"/>
                </a:lnTo>
                <a:lnTo>
                  <a:pt x="8951" y="5075"/>
                </a:lnTo>
                <a:lnTo>
                  <a:pt x="8977" y="5102"/>
                </a:lnTo>
                <a:lnTo>
                  <a:pt x="9001" y="5131"/>
                </a:lnTo>
                <a:lnTo>
                  <a:pt x="9012" y="5145"/>
                </a:lnTo>
                <a:lnTo>
                  <a:pt x="9023" y="5159"/>
                </a:lnTo>
                <a:lnTo>
                  <a:pt x="9033" y="5173"/>
                </a:lnTo>
                <a:lnTo>
                  <a:pt x="9042" y="5188"/>
                </a:lnTo>
                <a:lnTo>
                  <a:pt x="9053" y="5206"/>
                </a:lnTo>
                <a:lnTo>
                  <a:pt x="9063" y="5225"/>
                </a:lnTo>
                <a:lnTo>
                  <a:pt x="9073" y="5244"/>
                </a:lnTo>
                <a:lnTo>
                  <a:pt x="9083" y="5264"/>
                </a:lnTo>
                <a:lnTo>
                  <a:pt x="9100" y="5304"/>
                </a:lnTo>
                <a:lnTo>
                  <a:pt x="9116" y="5346"/>
                </a:lnTo>
                <a:lnTo>
                  <a:pt x="9131" y="5388"/>
                </a:lnTo>
                <a:lnTo>
                  <a:pt x="9143" y="5431"/>
                </a:lnTo>
                <a:lnTo>
                  <a:pt x="9154" y="5475"/>
                </a:lnTo>
                <a:lnTo>
                  <a:pt x="9164" y="5520"/>
                </a:lnTo>
                <a:lnTo>
                  <a:pt x="9172" y="5566"/>
                </a:lnTo>
                <a:lnTo>
                  <a:pt x="9179" y="5613"/>
                </a:lnTo>
                <a:lnTo>
                  <a:pt x="9185" y="5659"/>
                </a:lnTo>
                <a:lnTo>
                  <a:pt x="9190" y="5705"/>
                </a:lnTo>
                <a:lnTo>
                  <a:pt x="9193" y="5752"/>
                </a:lnTo>
                <a:lnTo>
                  <a:pt x="9195" y="5799"/>
                </a:lnTo>
                <a:lnTo>
                  <a:pt x="9197" y="5845"/>
                </a:lnTo>
                <a:lnTo>
                  <a:pt x="9197" y="5892"/>
                </a:lnTo>
                <a:lnTo>
                  <a:pt x="9197" y="9771"/>
                </a:lnTo>
                <a:lnTo>
                  <a:pt x="8752" y="9771"/>
                </a:lnTo>
                <a:lnTo>
                  <a:pt x="8752" y="5892"/>
                </a:lnTo>
                <a:lnTo>
                  <a:pt x="8750" y="5845"/>
                </a:lnTo>
                <a:lnTo>
                  <a:pt x="8747" y="5800"/>
                </a:lnTo>
                <a:lnTo>
                  <a:pt x="8741" y="5754"/>
                </a:lnTo>
                <a:lnTo>
                  <a:pt x="8733" y="5710"/>
                </a:lnTo>
                <a:lnTo>
                  <a:pt x="8723" y="5666"/>
                </a:lnTo>
                <a:lnTo>
                  <a:pt x="8711" y="5623"/>
                </a:lnTo>
                <a:lnTo>
                  <a:pt x="8697" y="5580"/>
                </a:lnTo>
                <a:lnTo>
                  <a:pt x="8681" y="5538"/>
                </a:lnTo>
                <a:lnTo>
                  <a:pt x="8663" y="5498"/>
                </a:lnTo>
                <a:lnTo>
                  <a:pt x="8643" y="5458"/>
                </a:lnTo>
                <a:lnTo>
                  <a:pt x="8621" y="5420"/>
                </a:lnTo>
                <a:lnTo>
                  <a:pt x="8597" y="5383"/>
                </a:lnTo>
                <a:lnTo>
                  <a:pt x="8572" y="5347"/>
                </a:lnTo>
                <a:lnTo>
                  <a:pt x="8546" y="5313"/>
                </a:lnTo>
                <a:lnTo>
                  <a:pt x="8517" y="5280"/>
                </a:lnTo>
                <a:lnTo>
                  <a:pt x="8487" y="5248"/>
                </a:lnTo>
                <a:lnTo>
                  <a:pt x="8456" y="5218"/>
                </a:lnTo>
                <a:lnTo>
                  <a:pt x="8423" y="5189"/>
                </a:lnTo>
                <a:lnTo>
                  <a:pt x="8389" y="5162"/>
                </a:lnTo>
                <a:lnTo>
                  <a:pt x="8354" y="5136"/>
                </a:lnTo>
                <a:lnTo>
                  <a:pt x="8317" y="5111"/>
                </a:lnTo>
                <a:lnTo>
                  <a:pt x="8279" y="5089"/>
                </a:lnTo>
                <a:lnTo>
                  <a:pt x="8240" y="5069"/>
                </a:lnTo>
                <a:lnTo>
                  <a:pt x="8200" y="5051"/>
                </a:lnTo>
                <a:lnTo>
                  <a:pt x="8159" y="5034"/>
                </a:lnTo>
                <a:lnTo>
                  <a:pt x="8116" y="5020"/>
                </a:lnTo>
                <a:lnTo>
                  <a:pt x="8073" y="5007"/>
                </a:lnTo>
                <a:lnTo>
                  <a:pt x="8029" y="4997"/>
                </a:lnTo>
                <a:lnTo>
                  <a:pt x="7985" y="4989"/>
                </a:lnTo>
                <a:lnTo>
                  <a:pt x="7939" y="4983"/>
                </a:lnTo>
                <a:lnTo>
                  <a:pt x="7893" y="4979"/>
                </a:lnTo>
                <a:lnTo>
                  <a:pt x="7847" y="4978"/>
                </a:lnTo>
                <a:lnTo>
                  <a:pt x="7843" y="4978"/>
                </a:lnTo>
                <a:lnTo>
                  <a:pt x="7843" y="4485"/>
                </a:lnTo>
                <a:lnTo>
                  <a:pt x="7842" y="4441"/>
                </a:lnTo>
                <a:lnTo>
                  <a:pt x="7838" y="4398"/>
                </a:lnTo>
                <a:lnTo>
                  <a:pt x="7833" y="4355"/>
                </a:lnTo>
                <a:lnTo>
                  <a:pt x="7825" y="4313"/>
                </a:lnTo>
                <a:lnTo>
                  <a:pt x="7816" y="4271"/>
                </a:lnTo>
                <a:lnTo>
                  <a:pt x="7804" y="4229"/>
                </a:lnTo>
                <a:lnTo>
                  <a:pt x="7791" y="4189"/>
                </a:lnTo>
                <a:lnTo>
                  <a:pt x="7776" y="4150"/>
                </a:lnTo>
                <a:lnTo>
                  <a:pt x="7759" y="4112"/>
                </a:lnTo>
                <a:lnTo>
                  <a:pt x="7740" y="4075"/>
                </a:lnTo>
                <a:lnTo>
                  <a:pt x="7720" y="4039"/>
                </a:lnTo>
                <a:lnTo>
                  <a:pt x="7697" y="4004"/>
                </a:lnTo>
                <a:lnTo>
                  <a:pt x="7674" y="3970"/>
                </a:lnTo>
                <a:lnTo>
                  <a:pt x="7648" y="3937"/>
                </a:lnTo>
                <a:lnTo>
                  <a:pt x="7622" y="3906"/>
                </a:lnTo>
                <a:lnTo>
                  <a:pt x="7593" y="3876"/>
                </a:lnTo>
                <a:lnTo>
                  <a:pt x="7564" y="3848"/>
                </a:lnTo>
                <a:lnTo>
                  <a:pt x="7533" y="3820"/>
                </a:lnTo>
                <a:lnTo>
                  <a:pt x="7501" y="3795"/>
                </a:lnTo>
                <a:lnTo>
                  <a:pt x="7467" y="3770"/>
                </a:lnTo>
                <a:lnTo>
                  <a:pt x="7433" y="3747"/>
                </a:lnTo>
                <a:lnTo>
                  <a:pt x="7397" y="3726"/>
                </a:lnTo>
                <a:lnTo>
                  <a:pt x="7360" y="3707"/>
                </a:lnTo>
                <a:lnTo>
                  <a:pt x="7322" y="3690"/>
                </a:lnTo>
                <a:lnTo>
                  <a:pt x="7284" y="3674"/>
                </a:lnTo>
                <a:lnTo>
                  <a:pt x="7244" y="3660"/>
                </a:lnTo>
                <a:lnTo>
                  <a:pt x="7204" y="3649"/>
                </a:lnTo>
                <a:lnTo>
                  <a:pt x="7162" y="3639"/>
                </a:lnTo>
                <a:lnTo>
                  <a:pt x="7120" y="3631"/>
                </a:lnTo>
                <a:lnTo>
                  <a:pt x="7077" y="3626"/>
                </a:lnTo>
                <a:lnTo>
                  <a:pt x="7034" y="3623"/>
                </a:lnTo>
                <a:lnTo>
                  <a:pt x="6990" y="3621"/>
                </a:lnTo>
                <a:lnTo>
                  <a:pt x="5764" y="3621"/>
                </a:lnTo>
                <a:lnTo>
                  <a:pt x="5720" y="3623"/>
                </a:lnTo>
                <a:lnTo>
                  <a:pt x="5676" y="3626"/>
                </a:lnTo>
                <a:lnTo>
                  <a:pt x="5633" y="3631"/>
                </a:lnTo>
                <a:lnTo>
                  <a:pt x="5591" y="3639"/>
                </a:lnTo>
                <a:lnTo>
                  <a:pt x="5550" y="3649"/>
                </a:lnTo>
                <a:lnTo>
                  <a:pt x="5509" y="3660"/>
                </a:lnTo>
                <a:lnTo>
                  <a:pt x="5469" y="3674"/>
                </a:lnTo>
                <a:lnTo>
                  <a:pt x="5430" y="3690"/>
                </a:lnTo>
                <a:lnTo>
                  <a:pt x="5392" y="3707"/>
                </a:lnTo>
                <a:lnTo>
                  <a:pt x="5355" y="3726"/>
                </a:lnTo>
                <a:lnTo>
                  <a:pt x="5319" y="3747"/>
                </a:lnTo>
                <a:lnTo>
                  <a:pt x="5284" y="3770"/>
                </a:lnTo>
                <a:lnTo>
                  <a:pt x="5250" y="3795"/>
                </a:lnTo>
                <a:lnTo>
                  <a:pt x="5218" y="3820"/>
                </a:lnTo>
                <a:lnTo>
                  <a:pt x="5187" y="3848"/>
                </a:lnTo>
                <a:lnTo>
                  <a:pt x="5156" y="3876"/>
                </a:lnTo>
                <a:lnTo>
                  <a:pt x="5127" y="3906"/>
                </a:lnTo>
                <a:lnTo>
                  <a:pt x="5100" y="3937"/>
                </a:lnTo>
                <a:lnTo>
                  <a:pt x="5075" y="3970"/>
                </a:lnTo>
                <a:lnTo>
                  <a:pt x="5051" y="4004"/>
                </a:lnTo>
                <a:lnTo>
                  <a:pt x="5028" y="4039"/>
                </a:lnTo>
                <a:lnTo>
                  <a:pt x="5008" y="4075"/>
                </a:lnTo>
                <a:lnTo>
                  <a:pt x="4989" y="4112"/>
                </a:lnTo>
                <a:lnTo>
                  <a:pt x="4971" y="4150"/>
                </a:lnTo>
                <a:lnTo>
                  <a:pt x="4956" y="4189"/>
                </a:lnTo>
                <a:lnTo>
                  <a:pt x="4942" y="4229"/>
                </a:lnTo>
                <a:lnTo>
                  <a:pt x="4931" y="4271"/>
                </a:lnTo>
                <a:lnTo>
                  <a:pt x="4921" y="4313"/>
                </a:lnTo>
                <a:lnTo>
                  <a:pt x="4913" y="4355"/>
                </a:lnTo>
                <a:lnTo>
                  <a:pt x="4908" y="4398"/>
                </a:lnTo>
                <a:lnTo>
                  <a:pt x="4905" y="4441"/>
                </a:lnTo>
                <a:lnTo>
                  <a:pt x="4903" y="4485"/>
                </a:lnTo>
                <a:lnTo>
                  <a:pt x="4903" y="7244"/>
                </a:lnTo>
                <a:lnTo>
                  <a:pt x="3995" y="7244"/>
                </a:lnTo>
                <a:lnTo>
                  <a:pt x="3319" y="7244"/>
                </a:lnTo>
                <a:lnTo>
                  <a:pt x="135" y="7244"/>
                </a:lnTo>
                <a:lnTo>
                  <a:pt x="7" y="9214"/>
                </a:lnTo>
                <a:lnTo>
                  <a:pt x="5" y="9266"/>
                </a:lnTo>
                <a:lnTo>
                  <a:pt x="3" y="9333"/>
                </a:lnTo>
                <a:lnTo>
                  <a:pt x="2" y="9412"/>
                </a:lnTo>
                <a:lnTo>
                  <a:pt x="1" y="9502"/>
                </a:lnTo>
                <a:lnTo>
                  <a:pt x="0" y="9604"/>
                </a:lnTo>
                <a:lnTo>
                  <a:pt x="0" y="9713"/>
                </a:lnTo>
                <a:lnTo>
                  <a:pt x="0" y="9829"/>
                </a:lnTo>
                <a:lnTo>
                  <a:pt x="1" y="9951"/>
                </a:lnTo>
                <a:lnTo>
                  <a:pt x="1" y="10078"/>
                </a:lnTo>
                <a:lnTo>
                  <a:pt x="2" y="10207"/>
                </a:lnTo>
                <a:lnTo>
                  <a:pt x="3" y="10337"/>
                </a:lnTo>
                <a:lnTo>
                  <a:pt x="4" y="10467"/>
                </a:lnTo>
                <a:lnTo>
                  <a:pt x="4" y="10597"/>
                </a:lnTo>
                <a:lnTo>
                  <a:pt x="5" y="10723"/>
                </a:lnTo>
                <a:lnTo>
                  <a:pt x="5" y="10844"/>
                </a:lnTo>
                <a:lnTo>
                  <a:pt x="5" y="10960"/>
                </a:lnTo>
                <a:close/>
                <a:moveTo>
                  <a:pt x="2438" y="296"/>
                </a:moveTo>
                <a:lnTo>
                  <a:pt x="2436" y="280"/>
                </a:lnTo>
                <a:lnTo>
                  <a:pt x="2434" y="265"/>
                </a:lnTo>
                <a:lnTo>
                  <a:pt x="2431" y="250"/>
                </a:lnTo>
                <a:lnTo>
                  <a:pt x="2428" y="235"/>
                </a:lnTo>
                <a:lnTo>
                  <a:pt x="2423" y="220"/>
                </a:lnTo>
                <a:lnTo>
                  <a:pt x="2419" y="206"/>
                </a:lnTo>
                <a:lnTo>
                  <a:pt x="2413" y="192"/>
                </a:lnTo>
                <a:lnTo>
                  <a:pt x="2407" y="178"/>
                </a:lnTo>
                <a:lnTo>
                  <a:pt x="2400" y="165"/>
                </a:lnTo>
                <a:lnTo>
                  <a:pt x="2393" y="152"/>
                </a:lnTo>
                <a:lnTo>
                  <a:pt x="2385" y="140"/>
                </a:lnTo>
                <a:lnTo>
                  <a:pt x="2376" y="128"/>
                </a:lnTo>
                <a:lnTo>
                  <a:pt x="2368" y="117"/>
                </a:lnTo>
                <a:lnTo>
                  <a:pt x="2358" y="105"/>
                </a:lnTo>
                <a:lnTo>
                  <a:pt x="2348" y="95"/>
                </a:lnTo>
                <a:lnTo>
                  <a:pt x="2338" y="85"/>
                </a:lnTo>
                <a:lnTo>
                  <a:pt x="2327" y="75"/>
                </a:lnTo>
                <a:lnTo>
                  <a:pt x="2315" y="66"/>
                </a:lnTo>
                <a:lnTo>
                  <a:pt x="2304" y="57"/>
                </a:lnTo>
                <a:lnTo>
                  <a:pt x="2292" y="49"/>
                </a:lnTo>
                <a:lnTo>
                  <a:pt x="2279" y="42"/>
                </a:lnTo>
                <a:lnTo>
                  <a:pt x="2266" y="35"/>
                </a:lnTo>
                <a:lnTo>
                  <a:pt x="2253" y="28"/>
                </a:lnTo>
                <a:lnTo>
                  <a:pt x="2239" y="23"/>
                </a:lnTo>
                <a:lnTo>
                  <a:pt x="2225" y="17"/>
                </a:lnTo>
                <a:lnTo>
                  <a:pt x="2210" y="13"/>
                </a:lnTo>
                <a:lnTo>
                  <a:pt x="2196" y="9"/>
                </a:lnTo>
                <a:lnTo>
                  <a:pt x="2181" y="6"/>
                </a:lnTo>
                <a:lnTo>
                  <a:pt x="2166" y="3"/>
                </a:lnTo>
                <a:lnTo>
                  <a:pt x="2151" y="1"/>
                </a:lnTo>
                <a:lnTo>
                  <a:pt x="2135" y="0"/>
                </a:lnTo>
                <a:lnTo>
                  <a:pt x="2120" y="0"/>
                </a:lnTo>
                <a:lnTo>
                  <a:pt x="905" y="0"/>
                </a:lnTo>
                <a:lnTo>
                  <a:pt x="890" y="0"/>
                </a:lnTo>
                <a:lnTo>
                  <a:pt x="874" y="1"/>
                </a:lnTo>
                <a:lnTo>
                  <a:pt x="859" y="3"/>
                </a:lnTo>
                <a:lnTo>
                  <a:pt x="844" y="6"/>
                </a:lnTo>
                <a:lnTo>
                  <a:pt x="829" y="9"/>
                </a:lnTo>
                <a:lnTo>
                  <a:pt x="815" y="13"/>
                </a:lnTo>
                <a:lnTo>
                  <a:pt x="801" y="17"/>
                </a:lnTo>
                <a:lnTo>
                  <a:pt x="787" y="23"/>
                </a:lnTo>
                <a:lnTo>
                  <a:pt x="773" y="28"/>
                </a:lnTo>
                <a:lnTo>
                  <a:pt x="760" y="35"/>
                </a:lnTo>
                <a:lnTo>
                  <a:pt x="747" y="42"/>
                </a:lnTo>
                <a:lnTo>
                  <a:pt x="733" y="49"/>
                </a:lnTo>
                <a:lnTo>
                  <a:pt x="721" y="57"/>
                </a:lnTo>
                <a:lnTo>
                  <a:pt x="710" y="66"/>
                </a:lnTo>
                <a:lnTo>
                  <a:pt x="698" y="75"/>
                </a:lnTo>
                <a:lnTo>
                  <a:pt x="687" y="85"/>
                </a:lnTo>
                <a:lnTo>
                  <a:pt x="677" y="95"/>
                </a:lnTo>
                <a:lnTo>
                  <a:pt x="667" y="105"/>
                </a:lnTo>
                <a:lnTo>
                  <a:pt x="657" y="117"/>
                </a:lnTo>
                <a:lnTo>
                  <a:pt x="648" y="128"/>
                </a:lnTo>
                <a:lnTo>
                  <a:pt x="640" y="140"/>
                </a:lnTo>
                <a:lnTo>
                  <a:pt x="632" y="152"/>
                </a:lnTo>
                <a:lnTo>
                  <a:pt x="625" y="165"/>
                </a:lnTo>
                <a:lnTo>
                  <a:pt x="618" y="178"/>
                </a:lnTo>
                <a:lnTo>
                  <a:pt x="612" y="192"/>
                </a:lnTo>
                <a:lnTo>
                  <a:pt x="606" y="206"/>
                </a:lnTo>
                <a:lnTo>
                  <a:pt x="602" y="220"/>
                </a:lnTo>
                <a:lnTo>
                  <a:pt x="597" y="235"/>
                </a:lnTo>
                <a:lnTo>
                  <a:pt x="594" y="250"/>
                </a:lnTo>
                <a:lnTo>
                  <a:pt x="591" y="265"/>
                </a:lnTo>
                <a:lnTo>
                  <a:pt x="589" y="280"/>
                </a:lnTo>
                <a:lnTo>
                  <a:pt x="587" y="296"/>
                </a:lnTo>
                <a:lnTo>
                  <a:pt x="179" y="6567"/>
                </a:lnTo>
                <a:lnTo>
                  <a:pt x="2846" y="6567"/>
                </a:lnTo>
                <a:lnTo>
                  <a:pt x="2438" y="296"/>
                </a:lnTo>
                <a:close/>
                <a:moveTo>
                  <a:pt x="8131" y="16016"/>
                </a:moveTo>
                <a:lnTo>
                  <a:pt x="8131" y="14678"/>
                </a:lnTo>
                <a:lnTo>
                  <a:pt x="8117" y="14678"/>
                </a:lnTo>
                <a:lnTo>
                  <a:pt x="7949" y="15106"/>
                </a:lnTo>
                <a:lnTo>
                  <a:pt x="7733" y="15605"/>
                </a:lnTo>
                <a:lnTo>
                  <a:pt x="7467" y="15605"/>
                </a:lnTo>
                <a:lnTo>
                  <a:pt x="7244" y="15089"/>
                </a:lnTo>
                <a:lnTo>
                  <a:pt x="7080" y="14675"/>
                </a:lnTo>
                <a:lnTo>
                  <a:pt x="7067" y="14678"/>
                </a:lnTo>
                <a:lnTo>
                  <a:pt x="7067" y="16016"/>
                </a:lnTo>
                <a:lnTo>
                  <a:pt x="6693" y="16016"/>
                </a:lnTo>
                <a:lnTo>
                  <a:pt x="6693" y="13728"/>
                </a:lnTo>
                <a:lnTo>
                  <a:pt x="7050" y="13728"/>
                </a:lnTo>
                <a:lnTo>
                  <a:pt x="7372" y="14478"/>
                </a:lnTo>
                <a:lnTo>
                  <a:pt x="7595" y="15030"/>
                </a:lnTo>
                <a:lnTo>
                  <a:pt x="7608" y="15030"/>
                </a:lnTo>
                <a:lnTo>
                  <a:pt x="7828" y="14474"/>
                </a:lnTo>
                <a:lnTo>
                  <a:pt x="8144" y="13728"/>
                </a:lnTo>
                <a:lnTo>
                  <a:pt x="8505" y="13728"/>
                </a:lnTo>
                <a:lnTo>
                  <a:pt x="8505" y="16016"/>
                </a:lnTo>
                <a:lnTo>
                  <a:pt x="8131" y="16016"/>
                </a:lnTo>
                <a:close/>
                <a:moveTo>
                  <a:pt x="5393" y="15668"/>
                </a:moveTo>
                <a:lnTo>
                  <a:pt x="5708" y="15668"/>
                </a:lnTo>
                <a:lnTo>
                  <a:pt x="5729" y="15667"/>
                </a:lnTo>
                <a:lnTo>
                  <a:pt x="5750" y="15666"/>
                </a:lnTo>
                <a:lnTo>
                  <a:pt x="5770" y="15664"/>
                </a:lnTo>
                <a:lnTo>
                  <a:pt x="5789" y="15662"/>
                </a:lnTo>
                <a:lnTo>
                  <a:pt x="5807" y="15658"/>
                </a:lnTo>
                <a:lnTo>
                  <a:pt x="5825" y="15654"/>
                </a:lnTo>
                <a:lnTo>
                  <a:pt x="5841" y="15650"/>
                </a:lnTo>
                <a:lnTo>
                  <a:pt x="5858" y="15644"/>
                </a:lnTo>
                <a:lnTo>
                  <a:pt x="5873" y="15638"/>
                </a:lnTo>
                <a:lnTo>
                  <a:pt x="5887" y="15631"/>
                </a:lnTo>
                <a:lnTo>
                  <a:pt x="5901" y="15623"/>
                </a:lnTo>
                <a:lnTo>
                  <a:pt x="5914" y="15615"/>
                </a:lnTo>
                <a:lnTo>
                  <a:pt x="5926" y="15606"/>
                </a:lnTo>
                <a:lnTo>
                  <a:pt x="5938" y="15596"/>
                </a:lnTo>
                <a:lnTo>
                  <a:pt x="5949" y="15585"/>
                </a:lnTo>
                <a:lnTo>
                  <a:pt x="5959" y="15574"/>
                </a:lnTo>
                <a:lnTo>
                  <a:pt x="5968" y="15562"/>
                </a:lnTo>
                <a:lnTo>
                  <a:pt x="5977" y="15550"/>
                </a:lnTo>
                <a:lnTo>
                  <a:pt x="5985" y="15537"/>
                </a:lnTo>
                <a:lnTo>
                  <a:pt x="5992" y="15523"/>
                </a:lnTo>
                <a:lnTo>
                  <a:pt x="5999" y="15509"/>
                </a:lnTo>
                <a:lnTo>
                  <a:pt x="6006" y="15494"/>
                </a:lnTo>
                <a:lnTo>
                  <a:pt x="6011" y="15479"/>
                </a:lnTo>
                <a:lnTo>
                  <a:pt x="6017" y="15464"/>
                </a:lnTo>
                <a:lnTo>
                  <a:pt x="6021" y="15448"/>
                </a:lnTo>
                <a:lnTo>
                  <a:pt x="6025" y="15431"/>
                </a:lnTo>
                <a:lnTo>
                  <a:pt x="6028" y="15414"/>
                </a:lnTo>
                <a:lnTo>
                  <a:pt x="6031" y="15396"/>
                </a:lnTo>
                <a:lnTo>
                  <a:pt x="6033" y="15378"/>
                </a:lnTo>
                <a:lnTo>
                  <a:pt x="6035" y="15358"/>
                </a:lnTo>
                <a:lnTo>
                  <a:pt x="6036" y="15339"/>
                </a:lnTo>
                <a:lnTo>
                  <a:pt x="6036" y="15319"/>
                </a:lnTo>
                <a:lnTo>
                  <a:pt x="6036" y="15300"/>
                </a:lnTo>
                <a:lnTo>
                  <a:pt x="6035" y="15281"/>
                </a:lnTo>
                <a:lnTo>
                  <a:pt x="6033" y="15263"/>
                </a:lnTo>
                <a:lnTo>
                  <a:pt x="6031" y="15246"/>
                </a:lnTo>
                <a:lnTo>
                  <a:pt x="6028" y="15229"/>
                </a:lnTo>
                <a:lnTo>
                  <a:pt x="6025" y="15212"/>
                </a:lnTo>
                <a:lnTo>
                  <a:pt x="6021" y="15196"/>
                </a:lnTo>
                <a:lnTo>
                  <a:pt x="6017" y="15181"/>
                </a:lnTo>
                <a:lnTo>
                  <a:pt x="6011" y="15166"/>
                </a:lnTo>
                <a:lnTo>
                  <a:pt x="6006" y="15151"/>
                </a:lnTo>
                <a:lnTo>
                  <a:pt x="5999" y="15137"/>
                </a:lnTo>
                <a:lnTo>
                  <a:pt x="5992" y="15124"/>
                </a:lnTo>
                <a:lnTo>
                  <a:pt x="5985" y="15111"/>
                </a:lnTo>
                <a:lnTo>
                  <a:pt x="5977" y="15098"/>
                </a:lnTo>
                <a:lnTo>
                  <a:pt x="5968" y="15086"/>
                </a:lnTo>
                <a:lnTo>
                  <a:pt x="5959" y="15075"/>
                </a:lnTo>
                <a:lnTo>
                  <a:pt x="5949" y="15064"/>
                </a:lnTo>
                <a:lnTo>
                  <a:pt x="5938" y="15053"/>
                </a:lnTo>
                <a:lnTo>
                  <a:pt x="5926" y="15044"/>
                </a:lnTo>
                <a:lnTo>
                  <a:pt x="5914" y="15035"/>
                </a:lnTo>
                <a:lnTo>
                  <a:pt x="5901" y="15027"/>
                </a:lnTo>
                <a:lnTo>
                  <a:pt x="5887" y="15020"/>
                </a:lnTo>
                <a:lnTo>
                  <a:pt x="5872" y="15013"/>
                </a:lnTo>
                <a:lnTo>
                  <a:pt x="5857" y="15007"/>
                </a:lnTo>
                <a:lnTo>
                  <a:pt x="5840" y="15002"/>
                </a:lnTo>
                <a:lnTo>
                  <a:pt x="5823" y="14997"/>
                </a:lnTo>
                <a:lnTo>
                  <a:pt x="5806" y="14993"/>
                </a:lnTo>
                <a:lnTo>
                  <a:pt x="5787" y="14990"/>
                </a:lnTo>
                <a:lnTo>
                  <a:pt x="5767" y="14987"/>
                </a:lnTo>
                <a:lnTo>
                  <a:pt x="5747" y="14986"/>
                </a:lnTo>
                <a:lnTo>
                  <a:pt x="5726" y="14985"/>
                </a:lnTo>
                <a:lnTo>
                  <a:pt x="5705" y="14984"/>
                </a:lnTo>
                <a:lnTo>
                  <a:pt x="5393" y="14984"/>
                </a:lnTo>
                <a:lnTo>
                  <a:pt x="5393" y="15668"/>
                </a:lnTo>
                <a:close/>
                <a:moveTo>
                  <a:pt x="5393" y="14636"/>
                </a:moveTo>
                <a:lnTo>
                  <a:pt x="5721" y="14636"/>
                </a:lnTo>
                <a:lnTo>
                  <a:pt x="5765" y="14636"/>
                </a:lnTo>
                <a:lnTo>
                  <a:pt x="5808" y="14639"/>
                </a:lnTo>
                <a:lnTo>
                  <a:pt x="5849" y="14643"/>
                </a:lnTo>
                <a:lnTo>
                  <a:pt x="5889" y="14648"/>
                </a:lnTo>
                <a:lnTo>
                  <a:pt x="5927" y="14655"/>
                </a:lnTo>
                <a:lnTo>
                  <a:pt x="5963" y="14664"/>
                </a:lnTo>
                <a:lnTo>
                  <a:pt x="5998" y="14674"/>
                </a:lnTo>
                <a:lnTo>
                  <a:pt x="6031" y="14686"/>
                </a:lnTo>
                <a:lnTo>
                  <a:pt x="6063" y="14700"/>
                </a:lnTo>
                <a:lnTo>
                  <a:pt x="6093" y="14714"/>
                </a:lnTo>
                <a:lnTo>
                  <a:pt x="6122" y="14730"/>
                </a:lnTo>
                <a:lnTo>
                  <a:pt x="6149" y="14747"/>
                </a:lnTo>
                <a:lnTo>
                  <a:pt x="6176" y="14765"/>
                </a:lnTo>
                <a:lnTo>
                  <a:pt x="6200" y="14784"/>
                </a:lnTo>
                <a:lnTo>
                  <a:pt x="6224" y="14804"/>
                </a:lnTo>
                <a:lnTo>
                  <a:pt x="6246" y="14826"/>
                </a:lnTo>
                <a:lnTo>
                  <a:pt x="6267" y="14848"/>
                </a:lnTo>
                <a:lnTo>
                  <a:pt x="6286" y="14872"/>
                </a:lnTo>
                <a:lnTo>
                  <a:pt x="6304" y="14897"/>
                </a:lnTo>
                <a:lnTo>
                  <a:pt x="6320" y="14924"/>
                </a:lnTo>
                <a:lnTo>
                  <a:pt x="6335" y="14951"/>
                </a:lnTo>
                <a:lnTo>
                  <a:pt x="6349" y="14979"/>
                </a:lnTo>
                <a:lnTo>
                  <a:pt x="6361" y="15008"/>
                </a:lnTo>
                <a:lnTo>
                  <a:pt x="6372" y="15038"/>
                </a:lnTo>
                <a:lnTo>
                  <a:pt x="6382" y="15070"/>
                </a:lnTo>
                <a:lnTo>
                  <a:pt x="6390" y="15101"/>
                </a:lnTo>
                <a:lnTo>
                  <a:pt x="6397" y="15134"/>
                </a:lnTo>
                <a:lnTo>
                  <a:pt x="6403" y="15168"/>
                </a:lnTo>
                <a:lnTo>
                  <a:pt x="6407" y="15202"/>
                </a:lnTo>
                <a:lnTo>
                  <a:pt x="6411" y="15237"/>
                </a:lnTo>
                <a:lnTo>
                  <a:pt x="6413" y="15273"/>
                </a:lnTo>
                <a:lnTo>
                  <a:pt x="6413" y="15309"/>
                </a:lnTo>
                <a:lnTo>
                  <a:pt x="6412" y="15352"/>
                </a:lnTo>
                <a:lnTo>
                  <a:pt x="6410" y="15395"/>
                </a:lnTo>
                <a:lnTo>
                  <a:pt x="6407" y="15436"/>
                </a:lnTo>
                <a:lnTo>
                  <a:pt x="6402" y="15475"/>
                </a:lnTo>
                <a:lnTo>
                  <a:pt x="6395" y="15512"/>
                </a:lnTo>
                <a:lnTo>
                  <a:pt x="6387" y="15549"/>
                </a:lnTo>
                <a:lnTo>
                  <a:pt x="6378" y="15584"/>
                </a:lnTo>
                <a:lnTo>
                  <a:pt x="6367" y="15618"/>
                </a:lnTo>
                <a:lnTo>
                  <a:pt x="6355" y="15650"/>
                </a:lnTo>
                <a:lnTo>
                  <a:pt x="6341" y="15681"/>
                </a:lnTo>
                <a:lnTo>
                  <a:pt x="6326" y="15710"/>
                </a:lnTo>
                <a:lnTo>
                  <a:pt x="6309" y="15739"/>
                </a:lnTo>
                <a:lnTo>
                  <a:pt x="6291" y="15766"/>
                </a:lnTo>
                <a:lnTo>
                  <a:pt x="6271" y="15791"/>
                </a:lnTo>
                <a:lnTo>
                  <a:pt x="6250" y="15816"/>
                </a:lnTo>
                <a:lnTo>
                  <a:pt x="6228" y="15839"/>
                </a:lnTo>
                <a:lnTo>
                  <a:pt x="6204" y="15861"/>
                </a:lnTo>
                <a:lnTo>
                  <a:pt x="6179" y="15881"/>
                </a:lnTo>
                <a:lnTo>
                  <a:pt x="6154" y="15899"/>
                </a:lnTo>
                <a:lnTo>
                  <a:pt x="6127" y="15917"/>
                </a:lnTo>
                <a:lnTo>
                  <a:pt x="6099" y="15933"/>
                </a:lnTo>
                <a:lnTo>
                  <a:pt x="6070" y="15947"/>
                </a:lnTo>
                <a:lnTo>
                  <a:pt x="6040" y="15960"/>
                </a:lnTo>
                <a:lnTo>
                  <a:pt x="6009" y="15972"/>
                </a:lnTo>
                <a:lnTo>
                  <a:pt x="5977" y="15982"/>
                </a:lnTo>
                <a:lnTo>
                  <a:pt x="5944" y="15991"/>
                </a:lnTo>
                <a:lnTo>
                  <a:pt x="5910" y="15999"/>
                </a:lnTo>
                <a:lnTo>
                  <a:pt x="5875" y="16005"/>
                </a:lnTo>
                <a:lnTo>
                  <a:pt x="5839" y="16010"/>
                </a:lnTo>
                <a:lnTo>
                  <a:pt x="5802" y="16013"/>
                </a:lnTo>
                <a:lnTo>
                  <a:pt x="5764" y="16016"/>
                </a:lnTo>
                <a:lnTo>
                  <a:pt x="5724" y="16016"/>
                </a:lnTo>
                <a:lnTo>
                  <a:pt x="5015" y="16016"/>
                </a:lnTo>
                <a:lnTo>
                  <a:pt x="5015" y="13728"/>
                </a:lnTo>
                <a:lnTo>
                  <a:pt x="6229" y="13728"/>
                </a:lnTo>
                <a:lnTo>
                  <a:pt x="6229" y="14077"/>
                </a:lnTo>
                <a:lnTo>
                  <a:pt x="5393" y="14077"/>
                </a:lnTo>
                <a:lnTo>
                  <a:pt x="5393" y="14636"/>
                </a:lnTo>
                <a:close/>
                <a:moveTo>
                  <a:pt x="3295" y="15504"/>
                </a:moveTo>
                <a:lnTo>
                  <a:pt x="3311" y="15498"/>
                </a:lnTo>
                <a:lnTo>
                  <a:pt x="3329" y="15492"/>
                </a:lnTo>
                <a:lnTo>
                  <a:pt x="3349" y="15486"/>
                </a:lnTo>
                <a:lnTo>
                  <a:pt x="3372" y="15479"/>
                </a:lnTo>
                <a:lnTo>
                  <a:pt x="3396" y="15471"/>
                </a:lnTo>
                <a:lnTo>
                  <a:pt x="3421" y="15463"/>
                </a:lnTo>
                <a:lnTo>
                  <a:pt x="3446" y="15455"/>
                </a:lnTo>
                <a:lnTo>
                  <a:pt x="3472" y="15446"/>
                </a:lnTo>
                <a:lnTo>
                  <a:pt x="3498" y="15437"/>
                </a:lnTo>
                <a:lnTo>
                  <a:pt x="3523" y="15428"/>
                </a:lnTo>
                <a:lnTo>
                  <a:pt x="3548" y="15420"/>
                </a:lnTo>
                <a:lnTo>
                  <a:pt x="3572" y="15412"/>
                </a:lnTo>
                <a:lnTo>
                  <a:pt x="3595" y="15404"/>
                </a:lnTo>
                <a:lnTo>
                  <a:pt x="3615" y="15397"/>
                </a:lnTo>
                <a:lnTo>
                  <a:pt x="3633" y="15391"/>
                </a:lnTo>
                <a:lnTo>
                  <a:pt x="3649" y="15385"/>
                </a:lnTo>
                <a:lnTo>
                  <a:pt x="3653" y="15403"/>
                </a:lnTo>
                <a:lnTo>
                  <a:pt x="3657" y="15420"/>
                </a:lnTo>
                <a:lnTo>
                  <a:pt x="3661" y="15436"/>
                </a:lnTo>
                <a:lnTo>
                  <a:pt x="3667" y="15452"/>
                </a:lnTo>
                <a:lnTo>
                  <a:pt x="3672" y="15467"/>
                </a:lnTo>
                <a:lnTo>
                  <a:pt x="3678" y="15482"/>
                </a:lnTo>
                <a:lnTo>
                  <a:pt x="3685" y="15497"/>
                </a:lnTo>
                <a:lnTo>
                  <a:pt x="3694" y="15511"/>
                </a:lnTo>
                <a:lnTo>
                  <a:pt x="3701" y="15524"/>
                </a:lnTo>
                <a:lnTo>
                  <a:pt x="3710" y="15537"/>
                </a:lnTo>
                <a:lnTo>
                  <a:pt x="3719" y="15549"/>
                </a:lnTo>
                <a:lnTo>
                  <a:pt x="3728" y="15561"/>
                </a:lnTo>
                <a:lnTo>
                  <a:pt x="3738" y="15572"/>
                </a:lnTo>
                <a:lnTo>
                  <a:pt x="3749" y="15583"/>
                </a:lnTo>
                <a:lnTo>
                  <a:pt x="3760" y="15594"/>
                </a:lnTo>
                <a:lnTo>
                  <a:pt x="3772" y="15604"/>
                </a:lnTo>
                <a:lnTo>
                  <a:pt x="3784" y="15613"/>
                </a:lnTo>
                <a:lnTo>
                  <a:pt x="3796" y="15622"/>
                </a:lnTo>
                <a:lnTo>
                  <a:pt x="3808" y="15630"/>
                </a:lnTo>
                <a:lnTo>
                  <a:pt x="3821" y="15637"/>
                </a:lnTo>
                <a:lnTo>
                  <a:pt x="3834" y="15644"/>
                </a:lnTo>
                <a:lnTo>
                  <a:pt x="3848" y="15651"/>
                </a:lnTo>
                <a:lnTo>
                  <a:pt x="3862" y="15656"/>
                </a:lnTo>
                <a:lnTo>
                  <a:pt x="3876" y="15661"/>
                </a:lnTo>
                <a:lnTo>
                  <a:pt x="3890" y="15666"/>
                </a:lnTo>
                <a:lnTo>
                  <a:pt x="3904" y="15670"/>
                </a:lnTo>
                <a:lnTo>
                  <a:pt x="3919" y="15673"/>
                </a:lnTo>
                <a:lnTo>
                  <a:pt x="3934" y="15676"/>
                </a:lnTo>
                <a:lnTo>
                  <a:pt x="3950" y="15678"/>
                </a:lnTo>
                <a:lnTo>
                  <a:pt x="3966" y="15680"/>
                </a:lnTo>
                <a:lnTo>
                  <a:pt x="3982" y="15680"/>
                </a:lnTo>
                <a:lnTo>
                  <a:pt x="3998" y="15681"/>
                </a:lnTo>
                <a:lnTo>
                  <a:pt x="4016" y="15680"/>
                </a:lnTo>
                <a:lnTo>
                  <a:pt x="4034" y="15679"/>
                </a:lnTo>
                <a:lnTo>
                  <a:pt x="4051" y="15677"/>
                </a:lnTo>
                <a:lnTo>
                  <a:pt x="4068" y="15675"/>
                </a:lnTo>
                <a:lnTo>
                  <a:pt x="4084" y="15671"/>
                </a:lnTo>
                <a:lnTo>
                  <a:pt x="4099" y="15667"/>
                </a:lnTo>
                <a:lnTo>
                  <a:pt x="4115" y="15663"/>
                </a:lnTo>
                <a:lnTo>
                  <a:pt x="4129" y="15657"/>
                </a:lnTo>
                <a:lnTo>
                  <a:pt x="4144" y="15651"/>
                </a:lnTo>
                <a:lnTo>
                  <a:pt x="4157" y="15644"/>
                </a:lnTo>
                <a:lnTo>
                  <a:pt x="4170" y="15636"/>
                </a:lnTo>
                <a:lnTo>
                  <a:pt x="4183" y="15627"/>
                </a:lnTo>
                <a:lnTo>
                  <a:pt x="4195" y="15618"/>
                </a:lnTo>
                <a:lnTo>
                  <a:pt x="4207" y="15608"/>
                </a:lnTo>
                <a:lnTo>
                  <a:pt x="4218" y="15598"/>
                </a:lnTo>
                <a:lnTo>
                  <a:pt x="4229" y="15586"/>
                </a:lnTo>
                <a:lnTo>
                  <a:pt x="4239" y="15574"/>
                </a:lnTo>
                <a:lnTo>
                  <a:pt x="4249" y="15561"/>
                </a:lnTo>
                <a:lnTo>
                  <a:pt x="4257" y="15548"/>
                </a:lnTo>
                <a:lnTo>
                  <a:pt x="4266" y="15535"/>
                </a:lnTo>
                <a:lnTo>
                  <a:pt x="4273" y="15520"/>
                </a:lnTo>
                <a:lnTo>
                  <a:pt x="4280" y="15506"/>
                </a:lnTo>
                <a:lnTo>
                  <a:pt x="4286" y="15491"/>
                </a:lnTo>
                <a:lnTo>
                  <a:pt x="4292" y="15475"/>
                </a:lnTo>
                <a:lnTo>
                  <a:pt x="4297" y="15459"/>
                </a:lnTo>
                <a:lnTo>
                  <a:pt x="4301" y="15442"/>
                </a:lnTo>
                <a:lnTo>
                  <a:pt x="4304" y="15425"/>
                </a:lnTo>
                <a:lnTo>
                  <a:pt x="4307" y="15407"/>
                </a:lnTo>
                <a:lnTo>
                  <a:pt x="4310" y="15389"/>
                </a:lnTo>
                <a:lnTo>
                  <a:pt x="4311" y="15370"/>
                </a:lnTo>
                <a:lnTo>
                  <a:pt x="4312" y="15350"/>
                </a:lnTo>
                <a:lnTo>
                  <a:pt x="4313" y="15330"/>
                </a:lnTo>
                <a:lnTo>
                  <a:pt x="4312" y="15295"/>
                </a:lnTo>
                <a:lnTo>
                  <a:pt x="4309" y="15261"/>
                </a:lnTo>
                <a:lnTo>
                  <a:pt x="4307" y="15244"/>
                </a:lnTo>
                <a:lnTo>
                  <a:pt x="4304" y="15228"/>
                </a:lnTo>
                <a:lnTo>
                  <a:pt x="4301" y="15212"/>
                </a:lnTo>
                <a:lnTo>
                  <a:pt x="4298" y="15196"/>
                </a:lnTo>
                <a:lnTo>
                  <a:pt x="4294" y="15181"/>
                </a:lnTo>
                <a:lnTo>
                  <a:pt x="4289" y="15166"/>
                </a:lnTo>
                <a:lnTo>
                  <a:pt x="4284" y="15152"/>
                </a:lnTo>
                <a:lnTo>
                  <a:pt x="4278" y="15138"/>
                </a:lnTo>
                <a:lnTo>
                  <a:pt x="4271" y="15125"/>
                </a:lnTo>
                <a:lnTo>
                  <a:pt x="4264" y="15112"/>
                </a:lnTo>
                <a:lnTo>
                  <a:pt x="4256" y="15099"/>
                </a:lnTo>
                <a:lnTo>
                  <a:pt x="4247" y="15087"/>
                </a:lnTo>
                <a:lnTo>
                  <a:pt x="4238" y="15075"/>
                </a:lnTo>
                <a:lnTo>
                  <a:pt x="4228" y="15065"/>
                </a:lnTo>
                <a:lnTo>
                  <a:pt x="4217" y="15054"/>
                </a:lnTo>
                <a:lnTo>
                  <a:pt x="4205" y="15045"/>
                </a:lnTo>
                <a:lnTo>
                  <a:pt x="4193" y="15036"/>
                </a:lnTo>
                <a:lnTo>
                  <a:pt x="4180" y="15027"/>
                </a:lnTo>
                <a:lnTo>
                  <a:pt x="4166" y="15019"/>
                </a:lnTo>
                <a:lnTo>
                  <a:pt x="4152" y="15012"/>
                </a:lnTo>
                <a:lnTo>
                  <a:pt x="4137" y="15006"/>
                </a:lnTo>
                <a:lnTo>
                  <a:pt x="4121" y="15000"/>
                </a:lnTo>
                <a:lnTo>
                  <a:pt x="4104" y="14995"/>
                </a:lnTo>
                <a:lnTo>
                  <a:pt x="4086" y="14991"/>
                </a:lnTo>
                <a:lnTo>
                  <a:pt x="4067" y="14988"/>
                </a:lnTo>
                <a:lnTo>
                  <a:pt x="4047" y="14986"/>
                </a:lnTo>
                <a:lnTo>
                  <a:pt x="4026" y="14985"/>
                </a:lnTo>
                <a:lnTo>
                  <a:pt x="4004" y="14984"/>
                </a:lnTo>
                <a:lnTo>
                  <a:pt x="3827" y="14984"/>
                </a:lnTo>
                <a:lnTo>
                  <a:pt x="3827" y="14665"/>
                </a:lnTo>
                <a:lnTo>
                  <a:pt x="4008" y="14665"/>
                </a:lnTo>
                <a:lnTo>
                  <a:pt x="4025" y="14665"/>
                </a:lnTo>
                <a:lnTo>
                  <a:pt x="4041" y="14664"/>
                </a:lnTo>
                <a:lnTo>
                  <a:pt x="4057" y="14662"/>
                </a:lnTo>
                <a:lnTo>
                  <a:pt x="4073" y="14660"/>
                </a:lnTo>
                <a:lnTo>
                  <a:pt x="4088" y="14657"/>
                </a:lnTo>
                <a:lnTo>
                  <a:pt x="4103" y="14653"/>
                </a:lnTo>
                <a:lnTo>
                  <a:pt x="4117" y="14649"/>
                </a:lnTo>
                <a:lnTo>
                  <a:pt x="4131" y="14644"/>
                </a:lnTo>
                <a:lnTo>
                  <a:pt x="4144" y="14639"/>
                </a:lnTo>
                <a:lnTo>
                  <a:pt x="4157" y="14633"/>
                </a:lnTo>
                <a:lnTo>
                  <a:pt x="4169" y="14626"/>
                </a:lnTo>
                <a:lnTo>
                  <a:pt x="4181" y="14619"/>
                </a:lnTo>
                <a:lnTo>
                  <a:pt x="4193" y="14611"/>
                </a:lnTo>
                <a:lnTo>
                  <a:pt x="4204" y="14602"/>
                </a:lnTo>
                <a:lnTo>
                  <a:pt x="4214" y="14593"/>
                </a:lnTo>
                <a:lnTo>
                  <a:pt x="4224" y="14583"/>
                </a:lnTo>
                <a:lnTo>
                  <a:pt x="4234" y="14572"/>
                </a:lnTo>
                <a:lnTo>
                  <a:pt x="4243" y="14561"/>
                </a:lnTo>
                <a:lnTo>
                  <a:pt x="4251" y="14549"/>
                </a:lnTo>
                <a:lnTo>
                  <a:pt x="4259" y="14537"/>
                </a:lnTo>
                <a:lnTo>
                  <a:pt x="4266" y="14524"/>
                </a:lnTo>
                <a:lnTo>
                  <a:pt x="4272" y="14511"/>
                </a:lnTo>
                <a:lnTo>
                  <a:pt x="4278" y="14497"/>
                </a:lnTo>
                <a:lnTo>
                  <a:pt x="4283" y="14482"/>
                </a:lnTo>
                <a:lnTo>
                  <a:pt x="4288" y="14466"/>
                </a:lnTo>
                <a:lnTo>
                  <a:pt x="4292" y="14450"/>
                </a:lnTo>
                <a:lnTo>
                  <a:pt x="4295" y="14434"/>
                </a:lnTo>
                <a:lnTo>
                  <a:pt x="4298" y="14417"/>
                </a:lnTo>
                <a:lnTo>
                  <a:pt x="4300" y="14400"/>
                </a:lnTo>
                <a:lnTo>
                  <a:pt x="4302" y="14382"/>
                </a:lnTo>
                <a:lnTo>
                  <a:pt x="4303" y="14363"/>
                </a:lnTo>
                <a:lnTo>
                  <a:pt x="4303" y="14344"/>
                </a:lnTo>
                <a:lnTo>
                  <a:pt x="4303" y="14329"/>
                </a:lnTo>
                <a:lnTo>
                  <a:pt x="4302" y="14314"/>
                </a:lnTo>
                <a:lnTo>
                  <a:pt x="4300" y="14299"/>
                </a:lnTo>
                <a:lnTo>
                  <a:pt x="4298" y="14284"/>
                </a:lnTo>
                <a:lnTo>
                  <a:pt x="4296" y="14270"/>
                </a:lnTo>
                <a:lnTo>
                  <a:pt x="4292" y="14257"/>
                </a:lnTo>
                <a:lnTo>
                  <a:pt x="4288" y="14244"/>
                </a:lnTo>
                <a:lnTo>
                  <a:pt x="4284" y="14231"/>
                </a:lnTo>
                <a:lnTo>
                  <a:pt x="4279" y="14218"/>
                </a:lnTo>
                <a:lnTo>
                  <a:pt x="4273" y="14206"/>
                </a:lnTo>
                <a:lnTo>
                  <a:pt x="4267" y="14194"/>
                </a:lnTo>
                <a:lnTo>
                  <a:pt x="4260" y="14183"/>
                </a:lnTo>
                <a:lnTo>
                  <a:pt x="4253" y="14172"/>
                </a:lnTo>
                <a:lnTo>
                  <a:pt x="4245" y="14161"/>
                </a:lnTo>
                <a:lnTo>
                  <a:pt x="4237" y="14151"/>
                </a:lnTo>
                <a:lnTo>
                  <a:pt x="4227" y="14141"/>
                </a:lnTo>
                <a:lnTo>
                  <a:pt x="4218" y="14132"/>
                </a:lnTo>
                <a:lnTo>
                  <a:pt x="4208" y="14123"/>
                </a:lnTo>
                <a:lnTo>
                  <a:pt x="4197" y="14115"/>
                </a:lnTo>
                <a:lnTo>
                  <a:pt x="4186" y="14107"/>
                </a:lnTo>
                <a:lnTo>
                  <a:pt x="4174" y="14100"/>
                </a:lnTo>
                <a:lnTo>
                  <a:pt x="4162" y="14094"/>
                </a:lnTo>
                <a:lnTo>
                  <a:pt x="4150" y="14088"/>
                </a:lnTo>
                <a:lnTo>
                  <a:pt x="4136" y="14083"/>
                </a:lnTo>
                <a:lnTo>
                  <a:pt x="4123" y="14079"/>
                </a:lnTo>
                <a:lnTo>
                  <a:pt x="4109" y="14075"/>
                </a:lnTo>
                <a:lnTo>
                  <a:pt x="4094" y="14071"/>
                </a:lnTo>
                <a:lnTo>
                  <a:pt x="4079" y="14069"/>
                </a:lnTo>
                <a:lnTo>
                  <a:pt x="4064" y="14066"/>
                </a:lnTo>
                <a:lnTo>
                  <a:pt x="4048" y="14065"/>
                </a:lnTo>
                <a:lnTo>
                  <a:pt x="4031" y="14064"/>
                </a:lnTo>
                <a:lnTo>
                  <a:pt x="4014" y="14064"/>
                </a:lnTo>
                <a:lnTo>
                  <a:pt x="3998" y="14064"/>
                </a:lnTo>
                <a:lnTo>
                  <a:pt x="3981" y="14065"/>
                </a:lnTo>
                <a:lnTo>
                  <a:pt x="3965" y="14067"/>
                </a:lnTo>
                <a:lnTo>
                  <a:pt x="3950" y="14069"/>
                </a:lnTo>
                <a:lnTo>
                  <a:pt x="3935" y="14071"/>
                </a:lnTo>
                <a:lnTo>
                  <a:pt x="3920" y="14075"/>
                </a:lnTo>
                <a:lnTo>
                  <a:pt x="3906" y="14079"/>
                </a:lnTo>
                <a:lnTo>
                  <a:pt x="3892" y="14083"/>
                </a:lnTo>
                <a:lnTo>
                  <a:pt x="3878" y="14089"/>
                </a:lnTo>
                <a:lnTo>
                  <a:pt x="3865" y="14095"/>
                </a:lnTo>
                <a:lnTo>
                  <a:pt x="3852" y="14101"/>
                </a:lnTo>
                <a:lnTo>
                  <a:pt x="3839" y="14108"/>
                </a:lnTo>
                <a:lnTo>
                  <a:pt x="3827" y="14116"/>
                </a:lnTo>
                <a:lnTo>
                  <a:pt x="3815" y="14124"/>
                </a:lnTo>
                <a:lnTo>
                  <a:pt x="3804" y="14133"/>
                </a:lnTo>
                <a:lnTo>
                  <a:pt x="3793" y="14143"/>
                </a:lnTo>
                <a:lnTo>
                  <a:pt x="3782" y="14153"/>
                </a:lnTo>
                <a:lnTo>
                  <a:pt x="3772" y="14163"/>
                </a:lnTo>
                <a:lnTo>
                  <a:pt x="3762" y="14174"/>
                </a:lnTo>
                <a:lnTo>
                  <a:pt x="3753" y="14185"/>
                </a:lnTo>
                <a:lnTo>
                  <a:pt x="3744" y="14196"/>
                </a:lnTo>
                <a:lnTo>
                  <a:pt x="3735" y="14208"/>
                </a:lnTo>
                <a:lnTo>
                  <a:pt x="3727" y="14220"/>
                </a:lnTo>
                <a:lnTo>
                  <a:pt x="3719" y="14233"/>
                </a:lnTo>
                <a:lnTo>
                  <a:pt x="3712" y="14246"/>
                </a:lnTo>
                <a:lnTo>
                  <a:pt x="3705" y="14259"/>
                </a:lnTo>
                <a:lnTo>
                  <a:pt x="3699" y="14272"/>
                </a:lnTo>
                <a:lnTo>
                  <a:pt x="3693" y="14286"/>
                </a:lnTo>
                <a:lnTo>
                  <a:pt x="3686" y="14301"/>
                </a:lnTo>
                <a:lnTo>
                  <a:pt x="3681" y="14315"/>
                </a:lnTo>
                <a:lnTo>
                  <a:pt x="3676" y="14330"/>
                </a:lnTo>
                <a:lnTo>
                  <a:pt x="3672" y="14346"/>
                </a:lnTo>
                <a:lnTo>
                  <a:pt x="3328" y="14221"/>
                </a:lnTo>
                <a:lnTo>
                  <a:pt x="3335" y="14192"/>
                </a:lnTo>
                <a:lnTo>
                  <a:pt x="3343" y="14164"/>
                </a:lnTo>
                <a:lnTo>
                  <a:pt x="3353" y="14136"/>
                </a:lnTo>
                <a:lnTo>
                  <a:pt x="3363" y="14110"/>
                </a:lnTo>
                <a:lnTo>
                  <a:pt x="3375" y="14084"/>
                </a:lnTo>
                <a:lnTo>
                  <a:pt x="3387" y="14058"/>
                </a:lnTo>
                <a:lnTo>
                  <a:pt x="3400" y="14034"/>
                </a:lnTo>
                <a:lnTo>
                  <a:pt x="3414" y="14009"/>
                </a:lnTo>
                <a:lnTo>
                  <a:pt x="3429" y="13986"/>
                </a:lnTo>
                <a:lnTo>
                  <a:pt x="3445" y="13964"/>
                </a:lnTo>
                <a:lnTo>
                  <a:pt x="3462" y="13943"/>
                </a:lnTo>
                <a:lnTo>
                  <a:pt x="3481" y="13922"/>
                </a:lnTo>
                <a:lnTo>
                  <a:pt x="3500" y="13902"/>
                </a:lnTo>
                <a:lnTo>
                  <a:pt x="3519" y="13883"/>
                </a:lnTo>
                <a:lnTo>
                  <a:pt x="3540" y="13864"/>
                </a:lnTo>
                <a:lnTo>
                  <a:pt x="3562" y="13847"/>
                </a:lnTo>
                <a:lnTo>
                  <a:pt x="3585" y="13830"/>
                </a:lnTo>
                <a:lnTo>
                  <a:pt x="3609" y="13814"/>
                </a:lnTo>
                <a:lnTo>
                  <a:pt x="3633" y="13800"/>
                </a:lnTo>
                <a:lnTo>
                  <a:pt x="3658" y="13786"/>
                </a:lnTo>
                <a:lnTo>
                  <a:pt x="3684" y="13774"/>
                </a:lnTo>
                <a:lnTo>
                  <a:pt x="3711" y="13762"/>
                </a:lnTo>
                <a:lnTo>
                  <a:pt x="3739" y="13752"/>
                </a:lnTo>
                <a:lnTo>
                  <a:pt x="3767" y="13743"/>
                </a:lnTo>
                <a:lnTo>
                  <a:pt x="3796" y="13735"/>
                </a:lnTo>
                <a:lnTo>
                  <a:pt x="3826" y="13728"/>
                </a:lnTo>
                <a:lnTo>
                  <a:pt x="3856" y="13722"/>
                </a:lnTo>
                <a:lnTo>
                  <a:pt x="3888" y="13717"/>
                </a:lnTo>
                <a:lnTo>
                  <a:pt x="3920" y="13713"/>
                </a:lnTo>
                <a:lnTo>
                  <a:pt x="3953" y="13711"/>
                </a:lnTo>
                <a:lnTo>
                  <a:pt x="3986" y="13709"/>
                </a:lnTo>
                <a:lnTo>
                  <a:pt x="4021" y="13708"/>
                </a:lnTo>
                <a:lnTo>
                  <a:pt x="4060" y="13709"/>
                </a:lnTo>
                <a:lnTo>
                  <a:pt x="4098" y="13711"/>
                </a:lnTo>
                <a:lnTo>
                  <a:pt x="4135" y="13714"/>
                </a:lnTo>
                <a:lnTo>
                  <a:pt x="4171" y="13718"/>
                </a:lnTo>
                <a:lnTo>
                  <a:pt x="4205" y="13724"/>
                </a:lnTo>
                <a:lnTo>
                  <a:pt x="4239" y="13730"/>
                </a:lnTo>
                <a:lnTo>
                  <a:pt x="4271" y="13738"/>
                </a:lnTo>
                <a:lnTo>
                  <a:pt x="4302" y="13747"/>
                </a:lnTo>
                <a:lnTo>
                  <a:pt x="4332" y="13757"/>
                </a:lnTo>
                <a:lnTo>
                  <a:pt x="4361" y="13769"/>
                </a:lnTo>
                <a:lnTo>
                  <a:pt x="4388" y="13781"/>
                </a:lnTo>
                <a:lnTo>
                  <a:pt x="4415" y="13795"/>
                </a:lnTo>
                <a:lnTo>
                  <a:pt x="4440" y="13810"/>
                </a:lnTo>
                <a:lnTo>
                  <a:pt x="4465" y="13827"/>
                </a:lnTo>
                <a:lnTo>
                  <a:pt x="4488" y="13844"/>
                </a:lnTo>
                <a:lnTo>
                  <a:pt x="4510" y="13863"/>
                </a:lnTo>
                <a:lnTo>
                  <a:pt x="4530" y="13883"/>
                </a:lnTo>
                <a:lnTo>
                  <a:pt x="4550" y="13904"/>
                </a:lnTo>
                <a:lnTo>
                  <a:pt x="4567" y="13926"/>
                </a:lnTo>
                <a:lnTo>
                  <a:pt x="4584" y="13949"/>
                </a:lnTo>
                <a:lnTo>
                  <a:pt x="4599" y="13973"/>
                </a:lnTo>
                <a:lnTo>
                  <a:pt x="4613" y="13999"/>
                </a:lnTo>
                <a:lnTo>
                  <a:pt x="4626" y="14025"/>
                </a:lnTo>
                <a:lnTo>
                  <a:pt x="4637" y="14054"/>
                </a:lnTo>
                <a:lnTo>
                  <a:pt x="4647" y="14083"/>
                </a:lnTo>
                <a:lnTo>
                  <a:pt x="4656" y="14113"/>
                </a:lnTo>
                <a:lnTo>
                  <a:pt x="4663" y="14144"/>
                </a:lnTo>
                <a:lnTo>
                  <a:pt x="4669" y="14176"/>
                </a:lnTo>
                <a:lnTo>
                  <a:pt x="4674" y="14210"/>
                </a:lnTo>
                <a:lnTo>
                  <a:pt x="4677" y="14244"/>
                </a:lnTo>
                <a:lnTo>
                  <a:pt x="4679" y="14280"/>
                </a:lnTo>
                <a:lnTo>
                  <a:pt x="4680" y="14316"/>
                </a:lnTo>
                <a:lnTo>
                  <a:pt x="4679" y="14345"/>
                </a:lnTo>
                <a:lnTo>
                  <a:pt x="4677" y="14376"/>
                </a:lnTo>
                <a:lnTo>
                  <a:pt x="4674" y="14409"/>
                </a:lnTo>
                <a:lnTo>
                  <a:pt x="4669" y="14444"/>
                </a:lnTo>
                <a:lnTo>
                  <a:pt x="4662" y="14481"/>
                </a:lnTo>
                <a:lnTo>
                  <a:pt x="4653" y="14517"/>
                </a:lnTo>
                <a:lnTo>
                  <a:pt x="4642" y="14553"/>
                </a:lnTo>
                <a:lnTo>
                  <a:pt x="4629" y="14588"/>
                </a:lnTo>
                <a:lnTo>
                  <a:pt x="4622" y="14605"/>
                </a:lnTo>
                <a:lnTo>
                  <a:pt x="4614" y="14623"/>
                </a:lnTo>
                <a:lnTo>
                  <a:pt x="4605" y="14639"/>
                </a:lnTo>
                <a:lnTo>
                  <a:pt x="4596" y="14656"/>
                </a:lnTo>
                <a:lnTo>
                  <a:pt x="4585" y="14672"/>
                </a:lnTo>
                <a:lnTo>
                  <a:pt x="4575" y="14688"/>
                </a:lnTo>
                <a:lnTo>
                  <a:pt x="4563" y="14704"/>
                </a:lnTo>
                <a:lnTo>
                  <a:pt x="4551" y="14719"/>
                </a:lnTo>
                <a:lnTo>
                  <a:pt x="4537" y="14734"/>
                </a:lnTo>
                <a:lnTo>
                  <a:pt x="4523" y="14748"/>
                </a:lnTo>
                <a:lnTo>
                  <a:pt x="4508" y="14761"/>
                </a:lnTo>
                <a:lnTo>
                  <a:pt x="4493" y="14773"/>
                </a:lnTo>
                <a:lnTo>
                  <a:pt x="4476" y="14784"/>
                </a:lnTo>
                <a:lnTo>
                  <a:pt x="4459" y="14795"/>
                </a:lnTo>
                <a:lnTo>
                  <a:pt x="4440" y="14804"/>
                </a:lnTo>
                <a:lnTo>
                  <a:pt x="4421" y="14813"/>
                </a:lnTo>
                <a:lnTo>
                  <a:pt x="4421" y="14826"/>
                </a:lnTo>
                <a:lnTo>
                  <a:pt x="4441" y="14834"/>
                </a:lnTo>
                <a:lnTo>
                  <a:pt x="4460" y="14844"/>
                </a:lnTo>
                <a:lnTo>
                  <a:pt x="4479" y="14854"/>
                </a:lnTo>
                <a:lnTo>
                  <a:pt x="4496" y="14865"/>
                </a:lnTo>
                <a:lnTo>
                  <a:pt x="4513" y="14876"/>
                </a:lnTo>
                <a:lnTo>
                  <a:pt x="4528" y="14889"/>
                </a:lnTo>
                <a:lnTo>
                  <a:pt x="4543" y="14902"/>
                </a:lnTo>
                <a:lnTo>
                  <a:pt x="4557" y="14916"/>
                </a:lnTo>
                <a:lnTo>
                  <a:pt x="4570" y="14932"/>
                </a:lnTo>
                <a:lnTo>
                  <a:pt x="4583" y="14947"/>
                </a:lnTo>
                <a:lnTo>
                  <a:pt x="4595" y="14962"/>
                </a:lnTo>
                <a:lnTo>
                  <a:pt x="4606" y="14978"/>
                </a:lnTo>
                <a:lnTo>
                  <a:pt x="4616" y="14995"/>
                </a:lnTo>
                <a:lnTo>
                  <a:pt x="4626" y="15011"/>
                </a:lnTo>
                <a:lnTo>
                  <a:pt x="4636" y="15029"/>
                </a:lnTo>
                <a:lnTo>
                  <a:pt x="4644" y="15047"/>
                </a:lnTo>
                <a:lnTo>
                  <a:pt x="4652" y="15065"/>
                </a:lnTo>
                <a:lnTo>
                  <a:pt x="4659" y="15083"/>
                </a:lnTo>
                <a:lnTo>
                  <a:pt x="4666" y="15101"/>
                </a:lnTo>
                <a:lnTo>
                  <a:pt x="4671" y="15120"/>
                </a:lnTo>
                <a:lnTo>
                  <a:pt x="4677" y="15139"/>
                </a:lnTo>
                <a:lnTo>
                  <a:pt x="4681" y="15158"/>
                </a:lnTo>
                <a:lnTo>
                  <a:pt x="4685" y="15177"/>
                </a:lnTo>
                <a:lnTo>
                  <a:pt x="4688" y="15196"/>
                </a:lnTo>
                <a:lnTo>
                  <a:pt x="4693" y="15234"/>
                </a:lnTo>
                <a:lnTo>
                  <a:pt x="4697" y="15272"/>
                </a:lnTo>
                <a:lnTo>
                  <a:pt x="4699" y="15309"/>
                </a:lnTo>
                <a:lnTo>
                  <a:pt x="4700" y="15345"/>
                </a:lnTo>
                <a:lnTo>
                  <a:pt x="4699" y="15388"/>
                </a:lnTo>
                <a:lnTo>
                  <a:pt x="4697" y="15429"/>
                </a:lnTo>
                <a:lnTo>
                  <a:pt x="4693" y="15468"/>
                </a:lnTo>
                <a:lnTo>
                  <a:pt x="4687" y="15506"/>
                </a:lnTo>
                <a:lnTo>
                  <a:pt x="4680" y="15543"/>
                </a:lnTo>
                <a:lnTo>
                  <a:pt x="4671" y="15578"/>
                </a:lnTo>
                <a:lnTo>
                  <a:pt x="4661" y="15612"/>
                </a:lnTo>
                <a:lnTo>
                  <a:pt x="4649" y="15645"/>
                </a:lnTo>
                <a:lnTo>
                  <a:pt x="4636" y="15676"/>
                </a:lnTo>
                <a:lnTo>
                  <a:pt x="4621" y="15706"/>
                </a:lnTo>
                <a:lnTo>
                  <a:pt x="4605" y="15735"/>
                </a:lnTo>
                <a:lnTo>
                  <a:pt x="4587" y="15762"/>
                </a:lnTo>
                <a:lnTo>
                  <a:pt x="4569" y="15789"/>
                </a:lnTo>
                <a:lnTo>
                  <a:pt x="4549" y="15814"/>
                </a:lnTo>
                <a:lnTo>
                  <a:pt x="4527" y="15838"/>
                </a:lnTo>
                <a:lnTo>
                  <a:pt x="4505" y="15860"/>
                </a:lnTo>
                <a:lnTo>
                  <a:pt x="4481" y="15881"/>
                </a:lnTo>
                <a:lnTo>
                  <a:pt x="4456" y="15901"/>
                </a:lnTo>
                <a:lnTo>
                  <a:pt x="4429" y="15920"/>
                </a:lnTo>
                <a:lnTo>
                  <a:pt x="4402" y="15937"/>
                </a:lnTo>
                <a:lnTo>
                  <a:pt x="4374" y="15952"/>
                </a:lnTo>
                <a:lnTo>
                  <a:pt x="4344" y="15967"/>
                </a:lnTo>
                <a:lnTo>
                  <a:pt x="4313" y="15980"/>
                </a:lnTo>
                <a:lnTo>
                  <a:pt x="4281" y="15992"/>
                </a:lnTo>
                <a:lnTo>
                  <a:pt x="4249" y="16002"/>
                </a:lnTo>
                <a:lnTo>
                  <a:pt x="4215" y="16011"/>
                </a:lnTo>
                <a:lnTo>
                  <a:pt x="4180" y="16019"/>
                </a:lnTo>
                <a:lnTo>
                  <a:pt x="4145" y="16025"/>
                </a:lnTo>
                <a:lnTo>
                  <a:pt x="4109" y="16030"/>
                </a:lnTo>
                <a:lnTo>
                  <a:pt x="4072" y="16033"/>
                </a:lnTo>
                <a:lnTo>
                  <a:pt x="4033" y="16035"/>
                </a:lnTo>
                <a:lnTo>
                  <a:pt x="3995" y="16036"/>
                </a:lnTo>
                <a:lnTo>
                  <a:pt x="3960" y="16035"/>
                </a:lnTo>
                <a:lnTo>
                  <a:pt x="3926" y="16034"/>
                </a:lnTo>
                <a:lnTo>
                  <a:pt x="3892" y="16031"/>
                </a:lnTo>
                <a:lnTo>
                  <a:pt x="3860" y="16027"/>
                </a:lnTo>
                <a:lnTo>
                  <a:pt x="3828" y="16022"/>
                </a:lnTo>
                <a:lnTo>
                  <a:pt x="3797" y="16016"/>
                </a:lnTo>
                <a:lnTo>
                  <a:pt x="3766" y="16009"/>
                </a:lnTo>
                <a:lnTo>
                  <a:pt x="3737" y="16001"/>
                </a:lnTo>
                <a:lnTo>
                  <a:pt x="3708" y="15992"/>
                </a:lnTo>
                <a:lnTo>
                  <a:pt x="3679" y="15982"/>
                </a:lnTo>
                <a:lnTo>
                  <a:pt x="3651" y="15970"/>
                </a:lnTo>
                <a:lnTo>
                  <a:pt x="3625" y="15958"/>
                </a:lnTo>
                <a:lnTo>
                  <a:pt x="3599" y="15944"/>
                </a:lnTo>
                <a:lnTo>
                  <a:pt x="3574" y="15930"/>
                </a:lnTo>
                <a:lnTo>
                  <a:pt x="3550" y="15914"/>
                </a:lnTo>
                <a:lnTo>
                  <a:pt x="3526" y="15897"/>
                </a:lnTo>
                <a:lnTo>
                  <a:pt x="3503" y="15879"/>
                </a:lnTo>
                <a:lnTo>
                  <a:pt x="3482" y="15860"/>
                </a:lnTo>
                <a:lnTo>
                  <a:pt x="3461" y="15841"/>
                </a:lnTo>
                <a:lnTo>
                  <a:pt x="3442" y="15820"/>
                </a:lnTo>
                <a:lnTo>
                  <a:pt x="3424" y="15798"/>
                </a:lnTo>
                <a:lnTo>
                  <a:pt x="3407" y="15776"/>
                </a:lnTo>
                <a:lnTo>
                  <a:pt x="3391" y="15752"/>
                </a:lnTo>
                <a:lnTo>
                  <a:pt x="3376" y="15728"/>
                </a:lnTo>
                <a:lnTo>
                  <a:pt x="3362" y="15703"/>
                </a:lnTo>
                <a:lnTo>
                  <a:pt x="3349" y="15677"/>
                </a:lnTo>
                <a:lnTo>
                  <a:pt x="3337" y="15651"/>
                </a:lnTo>
                <a:lnTo>
                  <a:pt x="3327" y="15623"/>
                </a:lnTo>
                <a:lnTo>
                  <a:pt x="3317" y="15595"/>
                </a:lnTo>
                <a:lnTo>
                  <a:pt x="3308" y="15565"/>
                </a:lnTo>
                <a:lnTo>
                  <a:pt x="3301" y="15535"/>
                </a:lnTo>
                <a:lnTo>
                  <a:pt x="3295" y="15504"/>
                </a:lnTo>
                <a:close/>
                <a:moveTo>
                  <a:pt x="3170" y="14434"/>
                </a:moveTo>
                <a:lnTo>
                  <a:pt x="3170" y="14471"/>
                </a:lnTo>
                <a:lnTo>
                  <a:pt x="3168" y="14508"/>
                </a:lnTo>
                <a:lnTo>
                  <a:pt x="3164" y="14543"/>
                </a:lnTo>
                <a:lnTo>
                  <a:pt x="3160" y="14578"/>
                </a:lnTo>
                <a:lnTo>
                  <a:pt x="3154" y="14612"/>
                </a:lnTo>
                <a:lnTo>
                  <a:pt x="3146" y="14646"/>
                </a:lnTo>
                <a:lnTo>
                  <a:pt x="3138" y="14679"/>
                </a:lnTo>
                <a:lnTo>
                  <a:pt x="3128" y="14711"/>
                </a:lnTo>
                <a:lnTo>
                  <a:pt x="3116" y="14742"/>
                </a:lnTo>
                <a:lnTo>
                  <a:pt x="3104" y="14773"/>
                </a:lnTo>
                <a:lnTo>
                  <a:pt x="3090" y="14802"/>
                </a:lnTo>
                <a:lnTo>
                  <a:pt x="3075" y="14831"/>
                </a:lnTo>
                <a:lnTo>
                  <a:pt x="3058" y="14858"/>
                </a:lnTo>
                <a:lnTo>
                  <a:pt x="3040" y="14884"/>
                </a:lnTo>
                <a:lnTo>
                  <a:pt x="3021" y="14910"/>
                </a:lnTo>
                <a:lnTo>
                  <a:pt x="3001" y="14935"/>
                </a:lnTo>
                <a:lnTo>
                  <a:pt x="2980" y="14958"/>
                </a:lnTo>
                <a:lnTo>
                  <a:pt x="2957" y="14980"/>
                </a:lnTo>
                <a:lnTo>
                  <a:pt x="2932" y="15001"/>
                </a:lnTo>
                <a:lnTo>
                  <a:pt x="2907" y="15020"/>
                </a:lnTo>
                <a:lnTo>
                  <a:pt x="2879" y="15038"/>
                </a:lnTo>
                <a:lnTo>
                  <a:pt x="2851" y="15055"/>
                </a:lnTo>
                <a:lnTo>
                  <a:pt x="2821" y="15070"/>
                </a:lnTo>
                <a:lnTo>
                  <a:pt x="2790" y="15084"/>
                </a:lnTo>
                <a:lnTo>
                  <a:pt x="2773" y="15091"/>
                </a:lnTo>
                <a:lnTo>
                  <a:pt x="2757" y="15097"/>
                </a:lnTo>
                <a:lnTo>
                  <a:pt x="2740" y="15103"/>
                </a:lnTo>
                <a:lnTo>
                  <a:pt x="2723" y="15108"/>
                </a:lnTo>
                <a:lnTo>
                  <a:pt x="2688" y="15117"/>
                </a:lnTo>
                <a:lnTo>
                  <a:pt x="2651" y="15125"/>
                </a:lnTo>
                <a:lnTo>
                  <a:pt x="2613" y="15131"/>
                </a:lnTo>
                <a:lnTo>
                  <a:pt x="2574" y="15135"/>
                </a:lnTo>
                <a:lnTo>
                  <a:pt x="2533" y="15138"/>
                </a:lnTo>
                <a:lnTo>
                  <a:pt x="2491" y="15138"/>
                </a:lnTo>
                <a:lnTo>
                  <a:pt x="2156" y="15138"/>
                </a:lnTo>
                <a:lnTo>
                  <a:pt x="2156" y="16016"/>
                </a:lnTo>
                <a:lnTo>
                  <a:pt x="1782" y="16016"/>
                </a:lnTo>
                <a:lnTo>
                  <a:pt x="1782" y="13728"/>
                </a:lnTo>
                <a:lnTo>
                  <a:pt x="2472" y="13728"/>
                </a:lnTo>
                <a:lnTo>
                  <a:pt x="2511" y="13729"/>
                </a:lnTo>
                <a:lnTo>
                  <a:pt x="2550" y="13731"/>
                </a:lnTo>
                <a:lnTo>
                  <a:pt x="2587" y="13734"/>
                </a:lnTo>
                <a:lnTo>
                  <a:pt x="2624" y="13739"/>
                </a:lnTo>
                <a:lnTo>
                  <a:pt x="2660" y="13745"/>
                </a:lnTo>
                <a:lnTo>
                  <a:pt x="2694" y="13752"/>
                </a:lnTo>
                <a:lnTo>
                  <a:pt x="2728" y="13761"/>
                </a:lnTo>
                <a:lnTo>
                  <a:pt x="2760" y="13771"/>
                </a:lnTo>
                <a:lnTo>
                  <a:pt x="2792" y="13782"/>
                </a:lnTo>
                <a:lnTo>
                  <a:pt x="2822" y="13795"/>
                </a:lnTo>
                <a:lnTo>
                  <a:pt x="2851" y="13809"/>
                </a:lnTo>
                <a:lnTo>
                  <a:pt x="2879" y="13825"/>
                </a:lnTo>
                <a:lnTo>
                  <a:pt x="2906" y="13842"/>
                </a:lnTo>
                <a:lnTo>
                  <a:pt x="2932" y="13860"/>
                </a:lnTo>
                <a:lnTo>
                  <a:pt x="2956" y="13879"/>
                </a:lnTo>
                <a:lnTo>
                  <a:pt x="2980" y="13900"/>
                </a:lnTo>
                <a:lnTo>
                  <a:pt x="3002" y="13923"/>
                </a:lnTo>
                <a:lnTo>
                  <a:pt x="3023" y="13947"/>
                </a:lnTo>
                <a:lnTo>
                  <a:pt x="3043" y="13972"/>
                </a:lnTo>
                <a:lnTo>
                  <a:pt x="3061" y="13999"/>
                </a:lnTo>
                <a:lnTo>
                  <a:pt x="3078" y="14027"/>
                </a:lnTo>
                <a:lnTo>
                  <a:pt x="3094" y="14058"/>
                </a:lnTo>
                <a:lnTo>
                  <a:pt x="3108" y="14089"/>
                </a:lnTo>
                <a:lnTo>
                  <a:pt x="3121" y="14121"/>
                </a:lnTo>
                <a:lnTo>
                  <a:pt x="3133" y="14155"/>
                </a:lnTo>
                <a:lnTo>
                  <a:pt x="3143" y="14191"/>
                </a:lnTo>
                <a:lnTo>
                  <a:pt x="3151" y="14228"/>
                </a:lnTo>
                <a:lnTo>
                  <a:pt x="3158" y="14266"/>
                </a:lnTo>
                <a:lnTo>
                  <a:pt x="3163" y="14306"/>
                </a:lnTo>
                <a:lnTo>
                  <a:pt x="3167" y="14347"/>
                </a:lnTo>
                <a:lnTo>
                  <a:pt x="3169" y="14390"/>
                </a:lnTo>
                <a:lnTo>
                  <a:pt x="3170" y="14434"/>
                </a:lnTo>
                <a:close/>
                <a:moveTo>
                  <a:pt x="2799" y="14426"/>
                </a:moveTo>
                <a:lnTo>
                  <a:pt x="2799" y="14405"/>
                </a:lnTo>
                <a:lnTo>
                  <a:pt x="2798" y="14385"/>
                </a:lnTo>
                <a:lnTo>
                  <a:pt x="2797" y="14365"/>
                </a:lnTo>
                <a:lnTo>
                  <a:pt x="2794" y="14346"/>
                </a:lnTo>
                <a:lnTo>
                  <a:pt x="2791" y="14328"/>
                </a:lnTo>
                <a:lnTo>
                  <a:pt x="2788" y="14310"/>
                </a:lnTo>
                <a:lnTo>
                  <a:pt x="2784" y="14293"/>
                </a:lnTo>
                <a:lnTo>
                  <a:pt x="2779" y="14276"/>
                </a:lnTo>
                <a:lnTo>
                  <a:pt x="2774" y="14261"/>
                </a:lnTo>
                <a:lnTo>
                  <a:pt x="2768" y="14245"/>
                </a:lnTo>
                <a:lnTo>
                  <a:pt x="2761" y="14231"/>
                </a:lnTo>
                <a:lnTo>
                  <a:pt x="2753" y="14217"/>
                </a:lnTo>
                <a:lnTo>
                  <a:pt x="2745" y="14203"/>
                </a:lnTo>
                <a:lnTo>
                  <a:pt x="2737" y="14190"/>
                </a:lnTo>
                <a:lnTo>
                  <a:pt x="2727" y="14178"/>
                </a:lnTo>
                <a:lnTo>
                  <a:pt x="2718" y="14167"/>
                </a:lnTo>
                <a:lnTo>
                  <a:pt x="2707" y="14156"/>
                </a:lnTo>
                <a:lnTo>
                  <a:pt x="2696" y="14146"/>
                </a:lnTo>
                <a:lnTo>
                  <a:pt x="2684" y="14136"/>
                </a:lnTo>
                <a:lnTo>
                  <a:pt x="2671" y="14127"/>
                </a:lnTo>
                <a:lnTo>
                  <a:pt x="2658" y="14119"/>
                </a:lnTo>
                <a:lnTo>
                  <a:pt x="2644" y="14112"/>
                </a:lnTo>
                <a:lnTo>
                  <a:pt x="2629" y="14105"/>
                </a:lnTo>
                <a:lnTo>
                  <a:pt x="2614" y="14099"/>
                </a:lnTo>
                <a:lnTo>
                  <a:pt x="2598" y="14094"/>
                </a:lnTo>
                <a:lnTo>
                  <a:pt x="2582" y="14090"/>
                </a:lnTo>
                <a:lnTo>
                  <a:pt x="2564" y="14086"/>
                </a:lnTo>
                <a:lnTo>
                  <a:pt x="2547" y="14083"/>
                </a:lnTo>
                <a:lnTo>
                  <a:pt x="2528" y="14080"/>
                </a:lnTo>
                <a:lnTo>
                  <a:pt x="2509" y="14078"/>
                </a:lnTo>
                <a:lnTo>
                  <a:pt x="2489" y="14077"/>
                </a:lnTo>
                <a:lnTo>
                  <a:pt x="2468" y="14077"/>
                </a:lnTo>
                <a:lnTo>
                  <a:pt x="2156" y="14077"/>
                </a:lnTo>
                <a:lnTo>
                  <a:pt x="2156" y="14783"/>
                </a:lnTo>
                <a:lnTo>
                  <a:pt x="2472" y="14783"/>
                </a:lnTo>
                <a:lnTo>
                  <a:pt x="2492" y="14783"/>
                </a:lnTo>
                <a:lnTo>
                  <a:pt x="2512" y="14782"/>
                </a:lnTo>
                <a:lnTo>
                  <a:pt x="2531" y="14780"/>
                </a:lnTo>
                <a:lnTo>
                  <a:pt x="2550" y="14777"/>
                </a:lnTo>
                <a:lnTo>
                  <a:pt x="2568" y="14774"/>
                </a:lnTo>
                <a:lnTo>
                  <a:pt x="2585" y="14770"/>
                </a:lnTo>
                <a:lnTo>
                  <a:pt x="2601" y="14765"/>
                </a:lnTo>
                <a:lnTo>
                  <a:pt x="2617" y="14759"/>
                </a:lnTo>
                <a:lnTo>
                  <a:pt x="2632" y="14753"/>
                </a:lnTo>
                <a:lnTo>
                  <a:pt x="2647" y="14746"/>
                </a:lnTo>
                <a:lnTo>
                  <a:pt x="2660" y="14738"/>
                </a:lnTo>
                <a:lnTo>
                  <a:pt x="2674" y="14729"/>
                </a:lnTo>
                <a:lnTo>
                  <a:pt x="2686" y="14720"/>
                </a:lnTo>
                <a:lnTo>
                  <a:pt x="2698" y="14709"/>
                </a:lnTo>
                <a:lnTo>
                  <a:pt x="2709" y="14699"/>
                </a:lnTo>
                <a:lnTo>
                  <a:pt x="2719" y="14687"/>
                </a:lnTo>
                <a:lnTo>
                  <a:pt x="2729" y="14675"/>
                </a:lnTo>
                <a:lnTo>
                  <a:pt x="2738" y="14662"/>
                </a:lnTo>
                <a:lnTo>
                  <a:pt x="2746" y="14648"/>
                </a:lnTo>
                <a:lnTo>
                  <a:pt x="2754" y="14634"/>
                </a:lnTo>
                <a:lnTo>
                  <a:pt x="2761" y="14620"/>
                </a:lnTo>
                <a:lnTo>
                  <a:pt x="2768" y="14605"/>
                </a:lnTo>
                <a:lnTo>
                  <a:pt x="2774" y="14590"/>
                </a:lnTo>
                <a:lnTo>
                  <a:pt x="2779" y="14574"/>
                </a:lnTo>
                <a:lnTo>
                  <a:pt x="2784" y="14557"/>
                </a:lnTo>
                <a:lnTo>
                  <a:pt x="2788" y="14540"/>
                </a:lnTo>
                <a:lnTo>
                  <a:pt x="2792" y="14523"/>
                </a:lnTo>
                <a:lnTo>
                  <a:pt x="2794" y="14505"/>
                </a:lnTo>
                <a:lnTo>
                  <a:pt x="2797" y="14486"/>
                </a:lnTo>
                <a:lnTo>
                  <a:pt x="2798" y="14466"/>
                </a:lnTo>
                <a:lnTo>
                  <a:pt x="2799" y="14446"/>
                </a:lnTo>
                <a:lnTo>
                  <a:pt x="2799" y="14426"/>
                </a:lnTo>
                <a:close/>
                <a:moveTo>
                  <a:pt x="3162" y="10815"/>
                </a:moveTo>
                <a:lnTo>
                  <a:pt x="3162" y="12756"/>
                </a:lnTo>
                <a:lnTo>
                  <a:pt x="2788" y="12756"/>
                </a:lnTo>
                <a:lnTo>
                  <a:pt x="2788" y="10467"/>
                </a:lnTo>
                <a:lnTo>
                  <a:pt x="4045" y="10467"/>
                </a:lnTo>
                <a:lnTo>
                  <a:pt x="4045" y="10815"/>
                </a:lnTo>
                <a:lnTo>
                  <a:pt x="3162" y="10815"/>
                </a:lnTo>
                <a:close/>
                <a:moveTo>
                  <a:pt x="5296" y="12756"/>
                </a:moveTo>
                <a:lnTo>
                  <a:pt x="5296" y="10812"/>
                </a:lnTo>
                <a:lnTo>
                  <a:pt x="4675" y="10812"/>
                </a:lnTo>
                <a:lnTo>
                  <a:pt x="4675" y="12756"/>
                </a:lnTo>
                <a:lnTo>
                  <a:pt x="4301" y="12756"/>
                </a:lnTo>
                <a:lnTo>
                  <a:pt x="4301" y="10467"/>
                </a:lnTo>
                <a:lnTo>
                  <a:pt x="5670" y="10467"/>
                </a:lnTo>
                <a:lnTo>
                  <a:pt x="5670" y="12756"/>
                </a:lnTo>
                <a:lnTo>
                  <a:pt x="5296" y="12756"/>
                </a:lnTo>
                <a:close/>
                <a:moveTo>
                  <a:pt x="7101" y="12756"/>
                </a:moveTo>
                <a:lnTo>
                  <a:pt x="7101" y="11765"/>
                </a:lnTo>
                <a:lnTo>
                  <a:pt x="6457" y="11765"/>
                </a:lnTo>
                <a:lnTo>
                  <a:pt x="6457" y="12756"/>
                </a:lnTo>
                <a:lnTo>
                  <a:pt x="6080" y="12756"/>
                </a:lnTo>
                <a:lnTo>
                  <a:pt x="6080" y="10467"/>
                </a:lnTo>
                <a:lnTo>
                  <a:pt x="6457" y="10467"/>
                </a:lnTo>
                <a:lnTo>
                  <a:pt x="6457" y="11427"/>
                </a:lnTo>
                <a:lnTo>
                  <a:pt x="7101" y="11427"/>
                </a:lnTo>
                <a:lnTo>
                  <a:pt x="7101" y="10467"/>
                </a:lnTo>
                <a:lnTo>
                  <a:pt x="7475" y="10467"/>
                </a:lnTo>
                <a:lnTo>
                  <a:pt x="7475" y="12756"/>
                </a:lnTo>
                <a:lnTo>
                  <a:pt x="7101" y="12756"/>
                </a:lnTo>
                <a:close/>
                <a:moveTo>
                  <a:pt x="6257" y="9771"/>
                </a:moveTo>
                <a:lnTo>
                  <a:pt x="5811" y="9771"/>
                </a:lnTo>
                <a:lnTo>
                  <a:pt x="5811" y="7244"/>
                </a:lnTo>
                <a:lnTo>
                  <a:pt x="5581" y="7244"/>
                </a:lnTo>
                <a:lnTo>
                  <a:pt x="5581" y="4485"/>
                </a:lnTo>
                <a:lnTo>
                  <a:pt x="5582" y="4467"/>
                </a:lnTo>
                <a:lnTo>
                  <a:pt x="5585" y="4449"/>
                </a:lnTo>
                <a:lnTo>
                  <a:pt x="5589" y="4431"/>
                </a:lnTo>
                <a:lnTo>
                  <a:pt x="5596" y="4415"/>
                </a:lnTo>
                <a:lnTo>
                  <a:pt x="5603" y="4399"/>
                </a:lnTo>
                <a:lnTo>
                  <a:pt x="5613" y="4383"/>
                </a:lnTo>
                <a:lnTo>
                  <a:pt x="5623" y="4369"/>
                </a:lnTo>
                <a:lnTo>
                  <a:pt x="5635" y="4356"/>
                </a:lnTo>
                <a:lnTo>
                  <a:pt x="5648" y="4344"/>
                </a:lnTo>
                <a:lnTo>
                  <a:pt x="5663" y="4333"/>
                </a:lnTo>
                <a:lnTo>
                  <a:pt x="5678" y="4324"/>
                </a:lnTo>
                <a:lnTo>
                  <a:pt x="5694" y="4316"/>
                </a:lnTo>
                <a:lnTo>
                  <a:pt x="5710" y="4309"/>
                </a:lnTo>
                <a:lnTo>
                  <a:pt x="5728" y="4305"/>
                </a:lnTo>
                <a:lnTo>
                  <a:pt x="5745" y="4302"/>
                </a:lnTo>
                <a:lnTo>
                  <a:pt x="5764" y="4301"/>
                </a:lnTo>
                <a:lnTo>
                  <a:pt x="6990" y="4301"/>
                </a:lnTo>
                <a:lnTo>
                  <a:pt x="7008" y="4302"/>
                </a:lnTo>
                <a:lnTo>
                  <a:pt x="7026" y="4305"/>
                </a:lnTo>
                <a:lnTo>
                  <a:pt x="7043" y="4309"/>
                </a:lnTo>
                <a:lnTo>
                  <a:pt x="7059" y="4316"/>
                </a:lnTo>
                <a:lnTo>
                  <a:pt x="7075" y="4324"/>
                </a:lnTo>
                <a:lnTo>
                  <a:pt x="7089" y="4333"/>
                </a:lnTo>
                <a:lnTo>
                  <a:pt x="7103" y="4344"/>
                </a:lnTo>
                <a:lnTo>
                  <a:pt x="7115" y="4356"/>
                </a:lnTo>
                <a:lnTo>
                  <a:pt x="7126" y="4369"/>
                </a:lnTo>
                <a:lnTo>
                  <a:pt x="7137" y="4383"/>
                </a:lnTo>
                <a:lnTo>
                  <a:pt x="7145" y="4399"/>
                </a:lnTo>
                <a:lnTo>
                  <a:pt x="7153" y="4415"/>
                </a:lnTo>
                <a:lnTo>
                  <a:pt x="7158" y="4431"/>
                </a:lnTo>
                <a:lnTo>
                  <a:pt x="7163" y="4449"/>
                </a:lnTo>
                <a:lnTo>
                  <a:pt x="7165" y="4467"/>
                </a:lnTo>
                <a:lnTo>
                  <a:pt x="7166" y="4485"/>
                </a:lnTo>
                <a:lnTo>
                  <a:pt x="7166" y="4978"/>
                </a:lnTo>
                <a:lnTo>
                  <a:pt x="7120" y="4980"/>
                </a:lnTo>
                <a:lnTo>
                  <a:pt x="7074" y="4983"/>
                </a:lnTo>
                <a:lnTo>
                  <a:pt x="7029" y="4989"/>
                </a:lnTo>
                <a:lnTo>
                  <a:pt x="6984" y="4997"/>
                </a:lnTo>
                <a:lnTo>
                  <a:pt x="6940" y="5008"/>
                </a:lnTo>
                <a:lnTo>
                  <a:pt x="6898" y="5020"/>
                </a:lnTo>
                <a:lnTo>
                  <a:pt x="6855" y="5035"/>
                </a:lnTo>
                <a:lnTo>
                  <a:pt x="6814" y="5051"/>
                </a:lnTo>
                <a:lnTo>
                  <a:pt x="6774" y="5070"/>
                </a:lnTo>
                <a:lnTo>
                  <a:pt x="6735" y="5090"/>
                </a:lnTo>
                <a:lnTo>
                  <a:pt x="6697" y="5112"/>
                </a:lnTo>
                <a:lnTo>
                  <a:pt x="6660" y="5137"/>
                </a:lnTo>
                <a:lnTo>
                  <a:pt x="6623" y="5162"/>
                </a:lnTo>
                <a:lnTo>
                  <a:pt x="6589" y="5190"/>
                </a:lnTo>
                <a:lnTo>
                  <a:pt x="6556" y="5219"/>
                </a:lnTo>
                <a:lnTo>
                  <a:pt x="6524" y="5249"/>
                </a:lnTo>
                <a:lnTo>
                  <a:pt x="6494" y="5281"/>
                </a:lnTo>
                <a:lnTo>
                  <a:pt x="6466" y="5314"/>
                </a:lnTo>
                <a:lnTo>
                  <a:pt x="6439" y="5348"/>
                </a:lnTo>
                <a:lnTo>
                  <a:pt x="6413" y="5384"/>
                </a:lnTo>
                <a:lnTo>
                  <a:pt x="6389" y="5421"/>
                </a:lnTo>
                <a:lnTo>
                  <a:pt x="6367" y="5459"/>
                </a:lnTo>
                <a:lnTo>
                  <a:pt x="6347" y="5498"/>
                </a:lnTo>
                <a:lnTo>
                  <a:pt x="6329" y="5539"/>
                </a:lnTo>
                <a:lnTo>
                  <a:pt x="6313" y="5581"/>
                </a:lnTo>
                <a:lnTo>
                  <a:pt x="6298" y="5623"/>
                </a:lnTo>
                <a:lnTo>
                  <a:pt x="6286" y="5666"/>
                </a:lnTo>
                <a:lnTo>
                  <a:pt x="6276" y="5710"/>
                </a:lnTo>
                <a:lnTo>
                  <a:pt x="6268" y="5754"/>
                </a:lnTo>
                <a:lnTo>
                  <a:pt x="6262" y="5800"/>
                </a:lnTo>
                <a:lnTo>
                  <a:pt x="6258" y="5846"/>
                </a:lnTo>
                <a:lnTo>
                  <a:pt x="6257" y="5892"/>
                </a:lnTo>
                <a:lnTo>
                  <a:pt x="6257" y="977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solidFill>
                <a:srgbClr val="004077"/>
              </a:solidFill>
            </a:endParaRPr>
          </a:p>
        </p:txBody>
      </p:sp>
      <p:sp>
        <p:nvSpPr>
          <p:cNvPr id="88" name="TextBox 87"/>
          <p:cNvSpPr txBox="1"/>
          <p:nvPr/>
        </p:nvSpPr>
        <p:spPr>
          <a:xfrm>
            <a:off x="2591780" y="1268413"/>
            <a:ext cx="200632" cy="2084259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wordArtVert" wrap="square" lIns="0" rIns="0" rtlCol="0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FFFFFF"/>
                </a:solidFill>
              </a:rPr>
              <a:t>ПРОЦЕССИНГ</a:t>
            </a:r>
          </a:p>
        </p:txBody>
      </p:sp>
      <p:cxnSp>
        <p:nvCxnSpPr>
          <p:cNvPr id="89" name="Прямая соединительная линия 88"/>
          <p:cNvCxnSpPr/>
          <p:nvPr/>
        </p:nvCxnSpPr>
        <p:spPr>
          <a:xfrm flipV="1">
            <a:off x="3704328" y="2996952"/>
            <a:ext cx="3576" cy="218902"/>
          </a:xfrm>
          <a:prstGeom prst="line">
            <a:avLst/>
          </a:prstGeom>
          <a:ln w="317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Скругленный прямоугольник 89"/>
          <p:cNvSpPr/>
          <p:nvPr/>
        </p:nvSpPr>
        <p:spPr>
          <a:xfrm>
            <a:off x="323528" y="1268760"/>
            <a:ext cx="756084" cy="903265"/>
          </a:xfrm>
          <a:prstGeom prst="round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323528" y="2417723"/>
            <a:ext cx="756084" cy="903265"/>
          </a:xfrm>
          <a:prstGeom prst="round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1403648" y="2417723"/>
            <a:ext cx="756084" cy="903265"/>
          </a:xfrm>
          <a:prstGeom prst="round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1403648" y="1268760"/>
            <a:ext cx="756084" cy="903265"/>
          </a:xfrm>
          <a:prstGeom prst="roundRect">
            <a:avLst/>
          </a:prstGeom>
          <a:noFill/>
          <a:ln w="222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smtClean="0">
              <a:solidFill>
                <a:srgbClr val="3C3C3C"/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644008" y="4818836"/>
            <a:ext cx="4355976" cy="15286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600"/>
              </a:lnSpc>
            </a:pPr>
            <a:r>
              <a:rPr lang="ru-RU" sz="1600" b="1" dirty="0">
                <a:solidFill>
                  <a:srgbClr val="F7A600"/>
                </a:solidFill>
              </a:rPr>
              <a:t>Кто должен выступать Заявителем </a:t>
            </a:r>
            <a:r>
              <a:rPr lang="ru-RU" sz="1600" b="1" dirty="0" smtClean="0">
                <a:solidFill>
                  <a:srgbClr val="F7A600"/>
                </a:solidFill>
              </a:rPr>
              <a:t/>
            </a:r>
            <a:br>
              <a:rPr lang="ru-RU" sz="1600" b="1" dirty="0" smtClean="0">
                <a:solidFill>
                  <a:srgbClr val="F7A600"/>
                </a:solidFill>
              </a:rPr>
            </a:br>
            <a:r>
              <a:rPr lang="ru-RU" sz="1600" b="1" dirty="0" smtClean="0">
                <a:solidFill>
                  <a:srgbClr val="004077"/>
                </a:solidFill>
              </a:rPr>
              <a:t>при </a:t>
            </a:r>
            <a:r>
              <a:rPr lang="ru-RU" sz="1600" b="1" dirty="0">
                <a:solidFill>
                  <a:srgbClr val="004077"/>
                </a:solidFill>
              </a:rPr>
              <a:t>декларировании, в случае реализации продукции из битумных хранилищ (терминалов), в которые может поступать продукция, </a:t>
            </a:r>
            <a:r>
              <a:rPr lang="ru-RU" sz="1600" b="1" dirty="0">
                <a:solidFill>
                  <a:srgbClr val="F7A600"/>
                </a:solidFill>
              </a:rPr>
              <a:t>выпущенная</a:t>
            </a:r>
            <a:r>
              <a:rPr lang="ru-RU" sz="1600" b="1" dirty="0">
                <a:solidFill>
                  <a:srgbClr val="004077"/>
                </a:solidFill>
              </a:rPr>
              <a:t> </a:t>
            </a:r>
            <a:r>
              <a:rPr lang="ru-RU" sz="1600" b="1" dirty="0">
                <a:solidFill>
                  <a:srgbClr val="F7A600"/>
                </a:solidFill>
              </a:rPr>
              <a:t>разными нефтеперерабатывающими заводами?</a:t>
            </a:r>
          </a:p>
        </p:txBody>
      </p:sp>
      <p:sp>
        <p:nvSpPr>
          <p:cNvPr id="95" name="TextBox 9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899814" y="4570095"/>
            <a:ext cx="1080120" cy="225318"/>
          </a:xfrm>
          <a:prstGeom prst="rect">
            <a:avLst/>
          </a:prstGeom>
          <a:solidFill>
            <a:schemeClr val="accent1"/>
          </a:solidFill>
        </p:spPr>
        <p:txBody>
          <a:bodyPr wrap="square" lIns="0" rIns="0" rtlCol="0">
            <a:spAutoFit/>
          </a:bodyPr>
          <a:lstStyle/>
          <a:p>
            <a:pPr algn="ctr">
              <a:lnSpc>
                <a:spcPts val="1000"/>
              </a:lnSpc>
            </a:pPr>
            <a:r>
              <a:rPr lang="ru-RU" sz="13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Терминал</a:t>
            </a:r>
          </a:p>
        </p:txBody>
      </p:sp>
    </p:spTree>
    <p:extLst>
      <p:ext uri="{BB962C8B-B14F-4D97-AF65-F5344CB8AC3E}">
        <p14:creationId xmlns:p14="http://schemas.microsoft.com/office/powerpoint/2010/main" val="211048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87338" y="116421"/>
            <a:ext cx="8562975" cy="817033"/>
          </a:xfrm>
        </p:spPr>
        <p:txBody>
          <a:bodyPr/>
          <a:lstStyle/>
          <a:p>
            <a:r>
              <a:rPr lang="ru-RU" sz="2000" dirty="0"/>
              <a:t>В рамках борьбы с контрафактным битумом на рынке и повышения открытости в вопросах качества </a:t>
            </a:r>
            <a:r>
              <a:rPr lang="ru-RU" sz="2000" dirty="0" smtClean="0"/>
              <a:t>Компания предложила </a:t>
            </a:r>
            <a:r>
              <a:rPr lang="ru-RU" sz="2000" dirty="0"/>
              <a:t>новый сервис</a:t>
            </a:r>
          </a:p>
        </p:txBody>
      </p:sp>
      <p:grpSp>
        <p:nvGrpSpPr>
          <p:cNvPr id="16" name="Группа 15"/>
          <p:cNvGrpSpPr/>
          <p:nvPr/>
        </p:nvGrpSpPr>
        <p:grpSpPr>
          <a:xfrm>
            <a:off x="287524" y="2420888"/>
            <a:ext cx="3126568" cy="3650070"/>
            <a:chOff x="326372" y="1639366"/>
            <a:chExt cx="2841472" cy="2908571"/>
          </a:xfrm>
        </p:grpSpPr>
        <p:pic>
          <p:nvPicPr>
            <p:cNvPr id="8" name="Picture 3"/>
            <p:cNvPicPr>
              <a:picLocks noChangeAspect="1" noChangeArrowheads="1"/>
            </p:cNvPicPr>
            <p:nvPr>
              <p:custDataLst>
                <p:tags r:id="rId9"/>
              </p:custDataLst>
            </p:nvPr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843"/>
            <a:stretch/>
          </p:blipFill>
          <p:spPr bwMode="auto">
            <a:xfrm>
              <a:off x="326372" y="1639366"/>
              <a:ext cx="2841472" cy="290857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Рисунок 8"/>
            <p:cNvPicPr preferRelativeResize="0">
              <a:picLocks noChangeAspect="1"/>
            </p:cNvPicPr>
            <p:nvPr>
              <p:custDataLst>
                <p:tags r:id="rId10"/>
              </p:custDataLst>
            </p:nvPr>
          </p:nvPicPr>
          <p:blipFill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6590" y="1994363"/>
              <a:ext cx="1115184" cy="2005906"/>
            </a:xfrm>
            <a:prstGeom prst="rect">
              <a:avLst/>
            </a:prstGeom>
            <a:ln>
              <a:solidFill>
                <a:schemeClr val="accent4"/>
              </a:solidFill>
            </a:ln>
          </p:spPr>
        </p:pic>
      </p:grpSp>
      <p:pic>
        <p:nvPicPr>
          <p:cNvPr id="10" name="Рисунок 9"/>
          <p:cNvPicPr preferRelativeResize="0">
            <a:picLocks noChangeAspect="1"/>
          </p:cNvPicPr>
          <p:nvPr>
            <p:custDataLst>
              <p:tags r:id="rId1"/>
            </p:custDataLst>
          </p:nvPr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7944" y="2384884"/>
            <a:ext cx="2143910" cy="3890165"/>
          </a:xfrm>
          <a:prstGeom prst="rect">
            <a:avLst/>
          </a:prstGeom>
          <a:ln>
            <a:solidFill>
              <a:schemeClr val="accent4"/>
            </a:solidFill>
          </a:ln>
        </p:spPr>
      </p:pic>
      <p:pic>
        <p:nvPicPr>
          <p:cNvPr id="11" name="Рисунок 10"/>
          <p:cNvPicPr preferRelativeResize="0">
            <a:picLocks noChangeAspect="1"/>
          </p:cNvPicPr>
          <p:nvPr>
            <p:custDataLst>
              <p:tags r:id="rId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224" y="2372883"/>
            <a:ext cx="2160240" cy="3884744"/>
          </a:xfrm>
          <a:prstGeom prst="rect">
            <a:avLst/>
          </a:prstGeom>
          <a:ln>
            <a:solidFill>
              <a:schemeClr val="accent4"/>
            </a:solidFill>
          </a:ln>
        </p:spPr>
      </p:pic>
      <p:sp>
        <p:nvSpPr>
          <p:cNvPr id="12" name="TextBox 11"/>
          <p:cNvSpPr txBox="1"/>
          <p:nvPr>
            <p:custDataLst>
              <p:tags r:id="rId3"/>
            </p:custDataLst>
          </p:nvPr>
        </p:nvSpPr>
        <p:spPr>
          <a:xfrm>
            <a:off x="395536" y="1887408"/>
            <a:ext cx="2088233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 smtClean="0">
                <a:solidFill>
                  <a:schemeClr val="accent6"/>
                </a:solidFill>
              </a:rPr>
              <a:t>1. </a:t>
            </a:r>
            <a:r>
              <a:rPr lang="ru-RU" sz="1200" b="1" dirty="0" smtClean="0">
                <a:solidFill>
                  <a:schemeClr val="accent2"/>
                </a:solidFill>
              </a:rPr>
              <a:t>Ввод исходных данных</a:t>
            </a:r>
          </a:p>
        </p:txBody>
      </p:sp>
      <p:sp>
        <p:nvSpPr>
          <p:cNvPr id="13" name="TextBox 12"/>
          <p:cNvSpPr txBox="1"/>
          <p:nvPr>
            <p:custDataLst>
              <p:tags r:id="rId4"/>
            </p:custDataLst>
          </p:nvPr>
        </p:nvSpPr>
        <p:spPr>
          <a:xfrm>
            <a:off x="3959932" y="1892829"/>
            <a:ext cx="4895388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2000" b="1" dirty="0">
                <a:solidFill>
                  <a:schemeClr val="accent6"/>
                </a:solidFill>
              </a:rPr>
              <a:t>2. </a:t>
            </a:r>
            <a:r>
              <a:rPr lang="ru-RU" sz="1200" b="1" dirty="0">
                <a:solidFill>
                  <a:schemeClr val="accent2"/>
                </a:solidFill>
              </a:rPr>
              <a:t>Получение  актуальной информации по отгрузке продукции</a:t>
            </a:r>
          </a:p>
        </p:txBody>
      </p:sp>
      <p:sp>
        <p:nvSpPr>
          <p:cNvPr id="14" name="trian14_1_solid"/>
          <p:cNvSpPr/>
          <p:nvPr>
            <p:custDataLst>
              <p:tags r:id="rId5"/>
            </p:custDataLst>
          </p:nvPr>
        </p:nvSpPr>
        <p:spPr>
          <a:xfrm>
            <a:off x="3452940" y="2900942"/>
            <a:ext cx="470988" cy="2124887"/>
          </a:xfrm>
          <a:prstGeom prst="homePlate">
            <a:avLst>
              <a:gd name="adj" fmla="val 96563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200" dirty="0">
              <a:solidFill>
                <a:prstClr val="white"/>
              </a:solidFill>
            </a:endParaRPr>
          </a:p>
        </p:txBody>
      </p:sp>
      <p:sp>
        <p:nvSpPr>
          <p:cNvPr id="17" name="TextBox 16"/>
          <p:cNvSpPr txBox="1"/>
          <p:nvPr>
            <p:custDataLst>
              <p:tags r:id="rId6"/>
            </p:custDataLst>
          </p:nvPr>
        </p:nvSpPr>
        <p:spPr>
          <a:xfrm>
            <a:off x="285996" y="1135065"/>
            <a:ext cx="8569324" cy="63094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lnSpc>
                <a:spcPts val="1200"/>
              </a:lnSpc>
              <a:spcBef>
                <a:spcPts val="300"/>
              </a:spcBef>
            </a:pPr>
            <a:r>
              <a:rPr lang="ru-RU" sz="1200" b="1" dirty="0" smtClean="0">
                <a:solidFill>
                  <a:schemeClr val="tx2"/>
                </a:solidFill>
              </a:rPr>
              <a:t>Основные задачи </a:t>
            </a:r>
            <a:r>
              <a:rPr lang="ru-RU" sz="1200" b="1" dirty="0" smtClean="0">
                <a:solidFill>
                  <a:schemeClr val="accent3"/>
                </a:solidFill>
              </a:rPr>
              <a:t>комплексного мобильного приложения «Паспортизация»</a:t>
            </a:r>
            <a:r>
              <a:rPr lang="ru-RU" sz="1200" b="1" dirty="0" smtClean="0">
                <a:solidFill>
                  <a:schemeClr val="tx2"/>
                </a:solidFill>
              </a:rPr>
              <a:t>, запущенного с 1 января 2016 г.:</a:t>
            </a:r>
          </a:p>
          <a:p>
            <a:pPr marL="444500" indent="-261938">
              <a:lnSpc>
                <a:spcPts val="12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200" b="1" dirty="0" smtClean="0">
                <a:solidFill>
                  <a:schemeClr val="tx2"/>
                </a:solidFill>
              </a:rPr>
              <a:t>отгрузке битумной продукции </a:t>
            </a:r>
            <a:r>
              <a:rPr lang="ru-RU" sz="1200" dirty="0" smtClean="0">
                <a:solidFill>
                  <a:schemeClr val="tx2"/>
                </a:solidFill>
              </a:rPr>
              <a:t>в режиме </a:t>
            </a:r>
            <a:r>
              <a:rPr lang="ru-RU" sz="1200" b="1" u="sng" dirty="0" smtClean="0">
                <a:solidFill>
                  <a:schemeClr val="accent2"/>
                </a:solidFill>
              </a:rPr>
              <a:t>онлайн</a:t>
            </a:r>
            <a:r>
              <a:rPr lang="ru-RU" sz="1200" dirty="0" smtClean="0">
                <a:solidFill>
                  <a:schemeClr val="tx2"/>
                </a:solidFill>
              </a:rPr>
              <a:t>.</a:t>
            </a:r>
          </a:p>
          <a:p>
            <a:pPr marL="444500" indent="-261938">
              <a:lnSpc>
                <a:spcPts val="1200"/>
              </a:lnSpc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2"/>
                </a:solidFill>
              </a:rPr>
              <a:t>Актуальная информация по </a:t>
            </a:r>
            <a:r>
              <a:rPr lang="ru-RU" sz="1200" b="1" dirty="0" smtClean="0">
                <a:solidFill>
                  <a:schemeClr val="tx2"/>
                </a:solidFill>
              </a:rPr>
              <a:t>качеству партии, скан-копии паспорта качества</a:t>
            </a:r>
            <a:r>
              <a:rPr lang="ru-RU" sz="1200" dirty="0" smtClean="0">
                <a:solidFill>
                  <a:schemeClr val="tx2"/>
                </a:solidFill>
              </a:rPr>
              <a:t>.</a:t>
            </a:r>
          </a:p>
        </p:txBody>
      </p:sp>
      <p:pic>
        <p:nvPicPr>
          <p:cNvPr id="18" name="Рисунок 17"/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9712" y="5877273"/>
            <a:ext cx="900184" cy="394711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19" cstate="print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3195" y="5886015"/>
            <a:ext cx="900287" cy="387701"/>
          </a:xfrm>
          <a:prstGeom prst="rect">
            <a:avLst/>
          </a:prstGeom>
        </p:spPr>
      </p:pic>
      <p:sp>
        <p:nvSpPr>
          <p:cNvPr id="20" name="Скругленный прямоугольник 19"/>
          <p:cNvSpPr/>
          <p:nvPr/>
        </p:nvSpPr>
        <p:spPr>
          <a:xfrm>
            <a:off x="285997" y="1976322"/>
            <a:ext cx="8570667" cy="4334732"/>
          </a:xfrm>
          <a:prstGeom prst="roundRect">
            <a:avLst>
              <a:gd name="adj" fmla="val 4824"/>
            </a:avLst>
          </a:prstGeom>
          <a:noFill/>
          <a:ln w="12700">
            <a:solidFill>
              <a:schemeClr val="accent4">
                <a:lumMod val="9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800"/>
              </a:spcBef>
            </a:pPr>
            <a:endParaRPr lang="ru-RU" sz="2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7435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87338" y="116419"/>
            <a:ext cx="8562975" cy="817033"/>
          </a:xfrm>
        </p:spPr>
        <p:txBody>
          <a:bodyPr/>
          <a:lstStyle/>
          <a:p>
            <a:r>
              <a:rPr lang="ru-RU" sz="2400" dirty="0" smtClean="0"/>
              <a:t>Деятельность ГПН-БМ </a:t>
            </a:r>
            <a:r>
              <a:rPr lang="ru-RU" sz="2400" dirty="0"/>
              <a:t>способствует качественному развитию дорожной отрасли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0"/>
          </p:nvPr>
        </p:nvSpPr>
        <p:spPr>
          <a:xfrm>
            <a:off x="287342" y="1124744"/>
            <a:ext cx="4248654" cy="5041899"/>
          </a:xfrm>
        </p:spPr>
        <p:txBody>
          <a:bodyPr/>
          <a:lstStyle/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endParaRPr lang="ru-RU" sz="1400" dirty="0" smtClean="0">
              <a:solidFill>
                <a:schemeClr val="accent3"/>
              </a:solidFill>
            </a:endParaRP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b="0" dirty="0"/>
              <a:t>Осуществление </a:t>
            </a:r>
            <a:r>
              <a:rPr lang="ru-RU" sz="1400" dirty="0">
                <a:solidFill>
                  <a:schemeClr val="accent3"/>
                </a:solidFill>
              </a:rPr>
              <a:t>комплексных поставок битумных материалов </a:t>
            </a:r>
            <a:r>
              <a:rPr lang="ru-RU" sz="1400" b="0" dirty="0"/>
              <a:t>способствующих увеличению сроков службы дорожных покрытий</a:t>
            </a: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accent3"/>
                </a:solidFill>
              </a:rPr>
              <a:t>Разработка </a:t>
            </a:r>
            <a:r>
              <a:rPr lang="ru-RU" sz="1400" dirty="0">
                <a:solidFill>
                  <a:schemeClr val="accent3"/>
                </a:solidFill>
              </a:rPr>
              <a:t>продуктов </a:t>
            </a:r>
            <a:r>
              <a:rPr lang="ru-RU" sz="1400" b="0" dirty="0"/>
              <a:t>отвечающих условиям </a:t>
            </a:r>
            <a:r>
              <a:rPr lang="ru-RU" sz="1400" b="0" dirty="0" smtClean="0"/>
              <a:t>эксплуатации, </a:t>
            </a:r>
            <a:r>
              <a:rPr lang="ru-RU" sz="1400" b="0" dirty="0"/>
              <a:t>с учетом климатических особенностей</a:t>
            </a: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dirty="0" smtClean="0">
                <a:solidFill>
                  <a:schemeClr val="accent3"/>
                </a:solidFill>
              </a:rPr>
              <a:t>Прозрачность </a:t>
            </a:r>
            <a:r>
              <a:rPr lang="ru-RU" sz="1400" dirty="0">
                <a:solidFill>
                  <a:schemeClr val="accent3"/>
                </a:solidFill>
              </a:rPr>
              <a:t>поставок </a:t>
            </a:r>
            <a:r>
              <a:rPr lang="ru-RU" sz="1400" b="0" dirty="0"/>
              <a:t>битумных материалов от завода до потребителя (модуль </a:t>
            </a:r>
            <a:r>
              <a:rPr lang="ru-RU" sz="1400" b="0" dirty="0" smtClean="0"/>
              <a:t>паспортизация</a:t>
            </a:r>
            <a:r>
              <a:rPr lang="ru-RU" sz="1400" b="0" dirty="0"/>
              <a:t>)</a:t>
            </a: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b="0" dirty="0" smtClean="0"/>
              <a:t>Возможность оказания </a:t>
            </a:r>
            <a:r>
              <a:rPr lang="ru-RU" sz="1400" dirty="0">
                <a:solidFill>
                  <a:schemeClr val="accent3"/>
                </a:solidFill>
              </a:rPr>
              <a:t>технологической поддержки подрядных организаций </a:t>
            </a:r>
            <a:r>
              <a:rPr lang="ru-RU" sz="1400" b="0" dirty="0"/>
              <a:t>по подбору состава </a:t>
            </a:r>
            <a:r>
              <a:rPr lang="ru-RU" sz="1400" b="0" dirty="0" smtClean="0"/>
              <a:t>асфальтобетона (в </a:t>
            </a:r>
            <a:r>
              <a:rPr lang="ru-RU" sz="1400" b="0" dirty="0" err="1" smtClean="0"/>
              <a:t>т.ч</a:t>
            </a:r>
            <a:r>
              <a:rPr lang="ru-RU" sz="1400" b="0" dirty="0" smtClean="0"/>
              <a:t>. по ПНСТ), </a:t>
            </a:r>
            <a:r>
              <a:rPr lang="ru-RU" sz="1400" b="0" dirty="0"/>
              <a:t>разработке регламентов выполнения работ, а также </a:t>
            </a:r>
            <a:r>
              <a:rPr lang="ru-RU" sz="1400" dirty="0">
                <a:solidFill>
                  <a:schemeClr val="accent3"/>
                </a:solidFill>
              </a:rPr>
              <a:t>техническое сопровождение строительства </a:t>
            </a:r>
            <a:r>
              <a:rPr lang="ru-RU" sz="1400" b="0" dirty="0"/>
              <a:t>и ремонта автомобильных дорог</a:t>
            </a: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b="0" dirty="0" smtClean="0"/>
              <a:t>Повышение </a:t>
            </a:r>
            <a:r>
              <a:rPr lang="ru-RU" sz="1400" b="0" dirty="0"/>
              <a:t>квалификации </a:t>
            </a:r>
            <a:r>
              <a:rPr lang="ru-RU" sz="1400" b="0" dirty="0" smtClean="0"/>
              <a:t>специалистов для </a:t>
            </a:r>
            <a:r>
              <a:rPr lang="ru-RU" sz="1400" b="0" dirty="0"/>
              <a:t>формирования </a:t>
            </a:r>
            <a:r>
              <a:rPr lang="ru-RU" sz="1400" dirty="0">
                <a:solidFill>
                  <a:schemeClr val="accent3"/>
                </a:solidFill>
              </a:rPr>
              <a:t>высокопрофессиональной </a:t>
            </a:r>
            <a:r>
              <a:rPr lang="ru-RU" sz="1400" dirty="0" smtClean="0">
                <a:solidFill>
                  <a:schemeClr val="accent3"/>
                </a:solidFill>
              </a:rPr>
              <a:t>среды</a:t>
            </a:r>
          </a:p>
          <a:p>
            <a:pPr marL="182563" indent="-182563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-RU" sz="1400" b="0" dirty="0" smtClean="0"/>
              <a:t>Использование </a:t>
            </a:r>
            <a:r>
              <a:rPr lang="ru-RU" sz="1400" dirty="0" smtClean="0">
                <a:solidFill>
                  <a:schemeClr val="accent3"/>
                </a:solidFill>
              </a:rPr>
              <a:t>лучших межотраслевых методик и практик дорожного строительства</a:t>
            </a:r>
          </a:p>
          <a:p>
            <a:pPr marL="171450" indent="-171450">
              <a:lnSpc>
                <a:spcPts val="1400"/>
              </a:lnSpc>
              <a:spcBef>
                <a:spcPts val="1200"/>
              </a:spcBef>
              <a:buFont typeface="Wingdings" panose="05000000000000000000" pitchFamily="2" charset="2"/>
              <a:buChar char="Ø"/>
            </a:pPr>
            <a:endParaRPr lang="ru-RU" sz="1300" b="0" dirty="0"/>
          </a:p>
        </p:txBody>
      </p:sp>
      <p:pic>
        <p:nvPicPr>
          <p:cNvPr id="6" name="Объект 5" descr="Вырезка экрана"/>
          <p:cNvPicPr>
            <a:picLocks noGrp="1" noChangeAspect="1"/>
          </p:cNvPicPr>
          <p:nvPr>
            <p:ph sz="quarter" idx="11"/>
          </p:nvPr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8878" r="16168"/>
          <a:stretch/>
        </p:blipFill>
        <p:spPr>
          <a:xfrm>
            <a:off x="4643438" y="1300918"/>
            <a:ext cx="4213038" cy="500886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643438" y="4965173"/>
            <a:ext cx="4213226" cy="646331"/>
          </a:xfrm>
          <a:prstGeom prst="rect">
            <a:avLst/>
          </a:prstGeom>
          <a:solidFill>
            <a:schemeClr val="accent1">
              <a:alpha val="65000"/>
            </a:schemeClr>
          </a:solidFill>
        </p:spPr>
        <p:txBody>
          <a:bodyPr wrap="square" lIns="0" rIns="0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FFFFFF"/>
                </a:solidFill>
              </a:rPr>
              <a:t>«Мы создаем битумные материалы и вместе строим надежные дороги»</a:t>
            </a:r>
          </a:p>
        </p:txBody>
      </p:sp>
    </p:spTree>
    <p:extLst>
      <p:ext uri="{BB962C8B-B14F-4D97-AF65-F5344CB8AC3E}">
        <p14:creationId xmlns:p14="http://schemas.microsoft.com/office/powerpoint/2010/main" val="3239419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OR" val="powerlexis_panel_for_gpn"/>
  <p:tag name="TYPE" val="speech"/>
  <p:tag name="LANG" val="rus"/>
  <p:tag name="THINKCELLUNDODONOTDELETE" val="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dif4GKD0mY8ZQV88ci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SxJymQnEixbwcSz4aA3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j88JRpp0arNeGJoMu5h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uWgoIJqikmzB13Sv9PNr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nT8B8Zf0GofQiIBmbFO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XkpkS_UEyBymZ86raT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Yit8Y2c0SKLcDJ6QCy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OMzSIF.ka7_HCrc9uTS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Jf02Xw0S_7GByN1dAY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.pmhG00OYtbNZeqZq1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Enterpris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OMzSIF.ka7_HCrc9uTS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Jf02Xw0S_7GByN1dA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Q.pmhG00OYtbNZeqZq1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kOMzSIF.ka7_HCrc9uT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xdySDzwUCE2IDGNMJs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e6LgQPhkSwUEIJ85fwb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RC_3IJgUU2A7sppcAsUB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gwr12t2kGFbCqMbNRsk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Jwd2UYlE.mFvvv9h7Q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8VIr34gIUiCKSK8GJJa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Unit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6k.lUvDU28QZGw1pbGo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bu2_jC5USi3pdUeGRPP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CBGtr6o0SS7dj31hRe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eL18_rB1Em1IwcDaBnqO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uthor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dA.jW4IUqJDyY4VRQmS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JrYTuYykup6OKLHYJF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HtzzDu5ka3r_JjRHyxE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speech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800"/>
          </a:spcBef>
          <a:defRPr sz="2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gpn_plazma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 algn="ctr">
          <a:spcBef>
            <a:spcPts val="800"/>
          </a:spcBef>
          <a:defRPr sz="2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spcBef>
            <a:spcPts val="800"/>
          </a:spcBef>
          <a:defRPr sz="2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speech</Template>
  <TotalTime>11434</TotalTime>
  <Words>819</Words>
  <Application>Microsoft Office PowerPoint</Application>
  <PresentationFormat>Экран (4:3)</PresentationFormat>
  <Paragraphs>156</Paragraphs>
  <Slides>10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gpn_speech</vt:lpstr>
      <vt:lpstr>12_gpn_report</vt:lpstr>
      <vt:lpstr>gpn_plazma</vt:lpstr>
      <vt:lpstr>think-cell Slide</vt:lpstr>
      <vt:lpstr>Выпуск в обращение современных битумных материалов на активах Компании</vt:lpstr>
      <vt:lpstr>Глобальное изменение подхода к битумным вяжущим</vt:lpstr>
      <vt:lpstr>Открытие в 2016 г. НИЦ по битумным материалам</vt:lpstr>
      <vt:lpstr>Уникальный состав лаборатории обеспечивает полный цикл исследований вяжущих и асфальтобетонов</vt:lpstr>
      <vt:lpstr>Важнейшие задачи научно-исследовательского центра </vt:lpstr>
      <vt:lpstr> Общество производит и реализует комплексный ассортимент современных битумных материалов</vt:lpstr>
      <vt:lpstr>Декларирование битумов - актуальные вопросы.</vt:lpstr>
      <vt:lpstr>В рамках борьбы с контрафактным битумом на рынке и повышения открытости в вопросах качества Компания предложила новый сервис</vt:lpstr>
      <vt:lpstr>Деятельность ГПН-БМ способствует качественному развитию дорожной отрасли</vt:lpstr>
      <vt:lpstr>Контакты</vt:lpstr>
    </vt:vector>
  </TitlesOfParts>
  <Company>PowerLex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ina</dc:creator>
  <cp:lastModifiedBy>OrlovDV</cp:lastModifiedBy>
  <cp:revision>225</cp:revision>
  <cp:lastPrinted>2016-11-30T14:15:15Z</cp:lastPrinted>
  <dcterms:created xsi:type="dcterms:W3CDTF">2013-07-30T10:25:23Z</dcterms:created>
  <dcterms:modified xsi:type="dcterms:W3CDTF">2016-12-01T10:58:10Z</dcterms:modified>
</cp:coreProperties>
</file>